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0" r:id="rId4"/>
    <p:sldMasterId id="2147483979" r:id="rId5"/>
  </p:sldMasterIdLst>
  <p:notesMasterIdLst>
    <p:notesMasterId r:id="rId18"/>
  </p:notesMasterIdLst>
  <p:sldIdLst>
    <p:sldId id="259" r:id="rId6"/>
    <p:sldId id="3316" r:id="rId7"/>
    <p:sldId id="3315" r:id="rId8"/>
    <p:sldId id="3317" r:id="rId9"/>
    <p:sldId id="3319" r:id="rId10"/>
    <p:sldId id="3318" r:id="rId11"/>
    <p:sldId id="257" r:id="rId12"/>
    <p:sldId id="256" r:id="rId13"/>
    <p:sldId id="3308" r:id="rId14"/>
    <p:sldId id="3310" r:id="rId15"/>
    <p:sldId id="3312" r:id="rId16"/>
    <p:sldId id="3314" r:id="rId17"/>
  </p:sldIdLst>
  <p:sldSz cx="24377650" cy="13716000"/>
  <p:notesSz cx="6858000" cy="9144000"/>
  <p:custDataLst>
    <p:tags r:id="rId19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3" orient="horz" pos="480" userDrawn="1">
          <p15:clr>
            <a:srgbClr val="A4A3A4"/>
          </p15:clr>
        </p15:guide>
        <p15:guide id="54" orient="horz" pos="8160" userDrawn="1">
          <p15:clr>
            <a:srgbClr val="A4A3A4"/>
          </p15:clr>
        </p15:guide>
        <p15:guide id="55" pos="14398" userDrawn="1">
          <p15:clr>
            <a:srgbClr val="A4A3A4"/>
          </p15:clr>
        </p15:guide>
        <p15:guide id="56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2381D2"/>
    <a:srgbClr val="2889D3"/>
    <a:srgbClr val="F5927C"/>
    <a:srgbClr val="F57A7B"/>
    <a:srgbClr val="DEF0FF"/>
    <a:srgbClr val="A8AFF8"/>
    <a:srgbClr val="D5B231"/>
    <a:srgbClr val="043CAC"/>
    <a:srgbClr val="505FF0"/>
    <a:srgbClr val="5178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0D4984-29AC-4C32-9337-655E12A3DCAB}" v="1" dt="2020-06-14T06:45:23.012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09" autoAdjust="0"/>
    <p:restoredTop sz="95439" autoAdjust="0"/>
  </p:normalViewPr>
  <p:slideViewPr>
    <p:cSldViewPr snapToGrid="0" snapToObjects="1">
      <p:cViewPr varScale="1">
        <p:scale>
          <a:sx n="31" d="100"/>
          <a:sy n="31" d="100"/>
        </p:scale>
        <p:origin x="76" y="-276"/>
      </p:cViewPr>
      <p:guideLst>
        <p:guide orient="horz" pos="480"/>
        <p:guide orient="horz" pos="8160"/>
        <p:guide pos="14398"/>
        <p:guide pos="958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sival Ballest�  Prado" userId="S::persival.balleste@coronathon.com.br::e329923e-b9c5-4aec-86ea-2117a5b23adf" providerId="AD" clId="Web-{E30D4984-29AC-4C32-9337-655E12A3DCAB}"/>
    <pc:docChg chg="delSld">
      <pc:chgData name="Persival Ballest�  Prado" userId="S::persival.balleste@coronathon.com.br::e329923e-b9c5-4aec-86ea-2117a5b23adf" providerId="AD" clId="Web-{E30D4984-29AC-4C32-9337-655E12A3DCAB}" dt="2020-06-14T06:45:23.012" v="0"/>
      <pc:docMkLst>
        <pc:docMk/>
      </pc:docMkLst>
      <pc:sldChg chg="del">
        <pc:chgData name="Persival Ballest�  Prado" userId="S::persival.balleste@coronathon.com.br::e329923e-b9c5-4aec-86ea-2117a5b23adf" providerId="AD" clId="Web-{E30D4984-29AC-4C32-9337-655E12A3DCAB}" dt="2020-06-14T06:45:23.012" v="0"/>
        <pc:sldMkLst>
          <pc:docMk/>
          <pc:sldMk cId="171816699" sldId="330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6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6604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1794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1F8FF6-BDDC-3548-8F8B-AD364078841B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9B81BF20-1902-6840-8681-30142C8AA569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63D237B-F33D-5B42-9241-63A24C9F2E8A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AA11960E-2320-0140-BF4C-4CFED8C4C6D4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67253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E9E3DA0-B9A0-4A49-8EB2-184F44ECD34E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609F920B-3A92-324A-B5E4-647AA9322CCF}" type="slidenum">
              <a:rPr lang="en-US" altLang="en-US"/>
              <a:pPr/>
              <a:t>10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BCA65270-D154-FC40-9624-FFBF6A5C767B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C1DCE271-350D-D14F-B4EE-14EC3E0B1C00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09080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43024E2-FE2C-FC4F-BD83-2B2E370DA5B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B846CA31-5483-3F4D-BDDB-B2B549F806D1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5121" name="Text Box 1">
            <a:extLst>
              <a:ext uri="{FF2B5EF4-FFF2-40B4-BE49-F238E27FC236}">
                <a16:creationId xmlns:a16="http://schemas.microsoft.com/office/drawing/2014/main" id="{C1020DD7-8789-7B4A-8BF8-BC355671C41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5122" name="Text Box 2">
            <a:extLst>
              <a:ext uri="{FF2B5EF4-FFF2-40B4-BE49-F238E27FC236}">
                <a16:creationId xmlns:a16="http://schemas.microsoft.com/office/drawing/2014/main" id="{E56F7337-F25F-9547-A98D-2F47EC744EE0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05705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151DEC-9DFC-624F-84C4-69715C6AF389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6A7D092-7D10-A24B-AE8F-9570198F48A1}" type="slidenum">
              <a:rPr lang="en-US" altLang="en-US"/>
              <a:pPr/>
              <a:t>12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04D98B6-9C5E-EA4A-A364-E3858030D8C9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35E0305B-720F-784C-B871-A318C13FCBAE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6492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26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2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32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3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59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0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1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482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86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8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75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DA0AA0E0-6104-40E8-8934-8A542321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004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11AFC74-C064-4FDC-8A45-1137BF87341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600" b="1" i="0" baseline="0" dirty="0">
              <a:latin typeface="Fira Sans" panose="020B0503050000020004"/>
              <a:ea typeface="+mj-ea"/>
              <a:cs typeface="+mj-cs"/>
              <a:sym typeface="Fira Sans" panose="020B05030500000200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E8C5F1-B83D-344B-9AF9-42D755A77CDC}"/>
              </a:ext>
            </a:extLst>
          </p:cNvPr>
          <p:cNvSpPr/>
          <p:nvPr userDrawn="1"/>
        </p:nvSpPr>
        <p:spPr>
          <a:xfrm>
            <a:off x="22174494" y="12373805"/>
            <a:ext cx="817586" cy="81758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14FEE86-28D8-2B49-A496-80235725B73B}"/>
              </a:ext>
            </a:extLst>
          </p:cNvPr>
          <p:cNvSpPr/>
          <p:nvPr userDrawn="1"/>
        </p:nvSpPr>
        <p:spPr>
          <a:xfrm>
            <a:off x="22236348" y="12435659"/>
            <a:ext cx="693877" cy="6938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6FEFB-1B47-144A-92EC-F20F29E731C4}"/>
              </a:ext>
            </a:extLst>
          </p:cNvPr>
          <p:cNvSpPr txBox="1"/>
          <p:nvPr userDrawn="1"/>
        </p:nvSpPr>
        <p:spPr>
          <a:xfrm>
            <a:off x="22307409" y="12551764"/>
            <a:ext cx="551754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fld id="{260E2A6B-A809-4840-BF14-8648BC0BDF87}" type="slidenum">
              <a:rPr lang="id-ID" sz="2400" b="0" i="0" smtClean="0">
                <a:solidFill>
                  <a:schemeClr val="accent1"/>
                </a:solidFill>
                <a:latin typeface="Fira Sans" panose="020B0503050000020004" pitchFamily="34" charset="0"/>
                <a:ea typeface="Roboto" panose="02000000000000000000" pitchFamily="2" charset="0"/>
                <a:cs typeface="Open Sans" charset="0"/>
              </a:rPr>
              <a:pPr algn="ctr"/>
              <a:t>‹nº›</a:t>
            </a:fld>
            <a:endParaRPr lang="id-ID" sz="2800" b="0" i="0" dirty="0">
              <a:solidFill>
                <a:schemeClr val="accent1"/>
              </a:solidFill>
              <a:latin typeface="Fira Sans" panose="020B0503050000020004" pitchFamily="34" charset="0"/>
              <a:ea typeface="Roboto" panose="02000000000000000000" pitchFamily="2" charset="0"/>
              <a:cs typeface="Open Sans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chemeClr val="tx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6A8DAC6-1F29-4E0F-A766-A70EB7380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59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460E92C-BF41-4D91-8CFC-B466B7BF711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87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869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061359"/>
          </a:xfrm>
          <a:prstGeom prst="rect">
            <a:avLst/>
          </a:prstGeom>
          <a:solidFill>
            <a:srgbClr val="043C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r>
              <a:rPr lang="pt-BR" sz="3599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</p:txBody>
      </p:sp>
      <p:grpSp>
        <p:nvGrpSpPr>
          <p:cNvPr id="16" name="Agrupar 15"/>
          <p:cNvGrpSpPr/>
          <p:nvPr/>
        </p:nvGrpSpPr>
        <p:grpSpPr>
          <a:xfrm>
            <a:off x="20991499" y="580367"/>
            <a:ext cx="3040834" cy="1114434"/>
            <a:chOff x="10206269" y="175334"/>
            <a:chExt cx="1813027" cy="664457"/>
          </a:xfrm>
        </p:grpSpPr>
        <p:sp>
          <p:nvSpPr>
            <p:cNvPr id="6" name="Elipse 5"/>
            <p:cNvSpPr/>
            <p:nvPr/>
          </p:nvSpPr>
          <p:spPr>
            <a:xfrm>
              <a:off x="11436416" y="371967"/>
              <a:ext cx="467825" cy="46782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343"/>
              <a:endParaRPr lang="pt-BR" sz="23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" name="Agrupar 7"/>
            <p:cNvGrpSpPr/>
            <p:nvPr/>
          </p:nvGrpSpPr>
          <p:grpSpPr>
            <a:xfrm>
              <a:off x="10872165" y="371917"/>
              <a:ext cx="467825" cy="467822"/>
              <a:chOff x="8518786" y="2003913"/>
              <a:chExt cx="151623" cy="151622"/>
            </a:xfrm>
          </p:grpSpPr>
          <p:sp>
            <p:nvSpPr>
              <p:cNvPr id="9" name="Elipse 8"/>
              <p:cNvSpPr/>
              <p:nvPr/>
            </p:nvSpPr>
            <p:spPr>
              <a:xfrm>
                <a:off x="8518786" y="2003913"/>
                <a:ext cx="151623" cy="151622"/>
              </a:xfrm>
              <a:prstGeom prst="ellipse">
                <a:avLst/>
              </a:prstGeom>
              <a:solidFill>
                <a:srgbClr val="043C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23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0" name="Retângulo 9"/>
              <p:cNvSpPr/>
              <p:nvPr/>
            </p:nvSpPr>
            <p:spPr>
              <a:xfrm>
                <a:off x="8558284" y="2063308"/>
                <a:ext cx="72627" cy="41665"/>
              </a:xfrm>
              <a:prstGeom prst="rect">
                <a:avLst/>
              </a:prstGeom>
              <a:noFill/>
              <a:ln w="25400" cap="sq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35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" name="Agrupar 10"/>
            <p:cNvGrpSpPr/>
            <p:nvPr/>
          </p:nvGrpSpPr>
          <p:grpSpPr>
            <a:xfrm>
              <a:off x="10206269" y="175334"/>
              <a:ext cx="690357" cy="664405"/>
              <a:chOff x="8302967" y="1940200"/>
              <a:chExt cx="223746" cy="215335"/>
            </a:xfrm>
          </p:grpSpPr>
          <p:sp>
            <p:nvSpPr>
              <p:cNvPr id="12" name="Elipse 11"/>
              <p:cNvSpPr/>
              <p:nvPr/>
            </p:nvSpPr>
            <p:spPr>
              <a:xfrm>
                <a:off x="8337811" y="2003913"/>
                <a:ext cx="151623" cy="151622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28343"/>
                <a:endParaRPr lang="pt-BR" sz="23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CaixaDeTexto 12"/>
              <p:cNvSpPr txBox="1"/>
              <p:nvPr/>
            </p:nvSpPr>
            <p:spPr>
              <a:xfrm>
                <a:off x="8302967" y="1940200"/>
                <a:ext cx="223746" cy="184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828343"/>
                <a:r>
                  <a:rPr lang="pt-BR" sz="5599" b="1" dirty="0">
                    <a:solidFill>
                      <a:prstClr val="white"/>
                    </a:solidFill>
                    <a:latin typeface="Calibri" panose="020F0502020204030204"/>
                  </a:rPr>
                  <a:t>_</a:t>
                </a:r>
              </a:p>
            </p:txBody>
          </p:sp>
        </p:grpSp>
        <p:sp>
          <p:nvSpPr>
            <p:cNvPr id="15" name="CaixaDeTexto 14"/>
            <p:cNvSpPr txBox="1"/>
            <p:nvPr/>
          </p:nvSpPr>
          <p:spPr>
            <a:xfrm>
              <a:off x="11328939" y="378532"/>
              <a:ext cx="690357" cy="4219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828343"/>
              <a:r>
                <a:rPr lang="pt-BR" sz="3999" dirty="0">
                  <a:solidFill>
                    <a:prstClr val="white"/>
                  </a:solidFill>
                  <a:latin typeface="Calibri" panose="020F0502020204030204"/>
                </a:rPr>
                <a:t>X</a:t>
              </a:r>
            </a:p>
          </p:txBody>
        </p:sp>
      </p:grpSp>
      <p:sp>
        <p:nvSpPr>
          <p:cNvPr id="17" name="Triângulo Retângulo 16"/>
          <p:cNvSpPr/>
          <p:nvPr/>
        </p:nvSpPr>
        <p:spPr>
          <a:xfrm flipH="1">
            <a:off x="1461147" y="10814553"/>
            <a:ext cx="894711" cy="894711"/>
          </a:xfrm>
          <a:prstGeom prst="rtTriangle">
            <a:avLst/>
          </a:prstGeom>
          <a:solidFill>
            <a:srgbClr val="ECC5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2879610" y="6268873"/>
            <a:ext cx="0" cy="7160279"/>
          </a:xfrm>
          <a:prstGeom prst="line">
            <a:avLst/>
          </a:prstGeom>
          <a:ln w="38100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031970" y="5143937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6398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" name="Retângulo 20"/>
          <p:cNvSpPr/>
          <p:nvPr/>
        </p:nvSpPr>
        <p:spPr>
          <a:xfrm rot="2700000">
            <a:off x="2309605" y="5581687"/>
            <a:ext cx="459112" cy="459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tângulo 21"/>
          <p:cNvSpPr/>
          <p:nvPr/>
        </p:nvSpPr>
        <p:spPr>
          <a:xfrm rot="2700000">
            <a:off x="3195627" y="6630126"/>
            <a:ext cx="222888" cy="22288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693677" y="4754874"/>
            <a:ext cx="1170127" cy="830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4799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665390" y="7388774"/>
            <a:ext cx="1170127" cy="523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2799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1979337" y="8206842"/>
            <a:ext cx="1170127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199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6" name="Forma Livre: Forma 25"/>
          <p:cNvSpPr/>
          <p:nvPr/>
        </p:nvSpPr>
        <p:spPr>
          <a:xfrm>
            <a:off x="2174393" y="9893970"/>
            <a:ext cx="171405" cy="757993"/>
          </a:xfrm>
          <a:custGeom>
            <a:avLst/>
            <a:gdLst>
              <a:gd name="connsiteX0" fmla="*/ 80010 w 85725"/>
              <a:gd name="connsiteY0" fmla="*/ 0 h 379095"/>
              <a:gd name="connsiteX1" fmla="*/ 0 w 85725"/>
              <a:gd name="connsiteY1" fmla="*/ 55245 h 379095"/>
              <a:gd name="connsiteX2" fmla="*/ 83820 w 85725"/>
              <a:gd name="connsiteY2" fmla="*/ 112395 h 379095"/>
              <a:gd name="connsiteX3" fmla="*/ 5715 w 85725"/>
              <a:gd name="connsiteY3" fmla="*/ 169545 h 379095"/>
              <a:gd name="connsiteX4" fmla="*/ 85725 w 85725"/>
              <a:gd name="connsiteY4" fmla="*/ 219075 h 379095"/>
              <a:gd name="connsiteX5" fmla="*/ 3810 w 85725"/>
              <a:gd name="connsiteY5" fmla="*/ 274320 h 379095"/>
              <a:gd name="connsiteX6" fmla="*/ 81915 w 85725"/>
              <a:gd name="connsiteY6" fmla="*/ 321945 h 379095"/>
              <a:gd name="connsiteX7" fmla="*/ 5715 w 85725"/>
              <a:gd name="connsiteY7" fmla="*/ 379095 h 37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725" h="379095">
                <a:moveTo>
                  <a:pt x="80010" y="0"/>
                </a:moveTo>
                <a:lnTo>
                  <a:pt x="0" y="55245"/>
                </a:lnTo>
                <a:lnTo>
                  <a:pt x="83820" y="112395"/>
                </a:lnTo>
                <a:lnTo>
                  <a:pt x="5715" y="169545"/>
                </a:lnTo>
                <a:lnTo>
                  <a:pt x="85725" y="219075"/>
                </a:lnTo>
                <a:lnTo>
                  <a:pt x="3810" y="274320"/>
                </a:lnTo>
                <a:lnTo>
                  <a:pt x="81915" y="321945"/>
                </a:lnTo>
                <a:lnTo>
                  <a:pt x="5715" y="379095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298325" y="5296013"/>
            <a:ext cx="16771579" cy="2613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343">
              <a:lnSpc>
                <a:spcPct val="120000"/>
              </a:lnSpc>
            </a:pPr>
            <a:r>
              <a:rPr lang="pt-BR" sz="6398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MPLATE PARA </a:t>
            </a:r>
          </a:p>
          <a:p>
            <a:pPr defTabSz="1828343">
              <a:lnSpc>
                <a:spcPct val="120000"/>
              </a:lnSpc>
            </a:pPr>
            <a:r>
              <a:rPr lang="pt-BR" sz="7998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RESENTAÇÕES DE </a:t>
            </a:r>
            <a:r>
              <a:rPr lang="pt-BR" sz="7998" b="1" dirty="0">
                <a:solidFill>
                  <a:srgbClr val="ECC52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CNOLOGIA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804475" y="3123165"/>
            <a:ext cx="1170127" cy="156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9598" dirty="0">
                <a:solidFill>
                  <a:srgbClr val="ECC520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30" name="Retângulo 29"/>
          <p:cNvSpPr/>
          <p:nvPr/>
        </p:nvSpPr>
        <p:spPr>
          <a:xfrm rot="2700000">
            <a:off x="3144944" y="2984822"/>
            <a:ext cx="639463" cy="639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/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24" name="Agrupar 123"/>
          <p:cNvGrpSpPr/>
          <p:nvPr/>
        </p:nvGrpSpPr>
        <p:grpSpPr>
          <a:xfrm>
            <a:off x="5697164" y="10230096"/>
            <a:ext cx="1991393" cy="1252616"/>
            <a:chOff x="2849324" y="5115487"/>
            <a:chExt cx="995956" cy="626471"/>
          </a:xfrm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3205390" y="5319838"/>
              <a:ext cx="181646" cy="184742"/>
            </a:xfrm>
            <a:custGeom>
              <a:avLst/>
              <a:gdLst>
                <a:gd name="T0" fmla="*/ 6 w 66"/>
                <a:gd name="T1" fmla="*/ 67 h 67"/>
                <a:gd name="T2" fmla="*/ 3 w 66"/>
                <a:gd name="T3" fmla="*/ 66 h 67"/>
                <a:gd name="T4" fmla="*/ 0 w 66"/>
                <a:gd name="T5" fmla="*/ 61 h 67"/>
                <a:gd name="T6" fmla="*/ 0 w 66"/>
                <a:gd name="T7" fmla="*/ 6 h 67"/>
                <a:gd name="T8" fmla="*/ 3 w 66"/>
                <a:gd name="T9" fmla="*/ 1 h 67"/>
                <a:gd name="T10" fmla="*/ 8 w 66"/>
                <a:gd name="T11" fmla="*/ 1 h 67"/>
                <a:gd name="T12" fmla="*/ 63 w 66"/>
                <a:gd name="T13" fmla="*/ 28 h 67"/>
                <a:gd name="T14" fmla="*/ 66 w 66"/>
                <a:gd name="T15" fmla="*/ 34 h 67"/>
                <a:gd name="T16" fmla="*/ 63 w 66"/>
                <a:gd name="T17" fmla="*/ 39 h 67"/>
                <a:gd name="T18" fmla="*/ 8 w 66"/>
                <a:gd name="T19" fmla="*/ 66 h 67"/>
                <a:gd name="T20" fmla="*/ 6 w 66"/>
                <a:gd name="T21" fmla="*/ 67 h 67"/>
                <a:gd name="T22" fmla="*/ 12 w 66"/>
                <a:gd name="T23" fmla="*/ 16 h 67"/>
                <a:gd name="T24" fmla="*/ 12 w 66"/>
                <a:gd name="T25" fmla="*/ 51 h 67"/>
                <a:gd name="T26" fmla="*/ 47 w 66"/>
                <a:gd name="T27" fmla="*/ 34 h 67"/>
                <a:gd name="T28" fmla="*/ 12 w 66"/>
                <a:gd name="T29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7">
                  <a:moveTo>
                    <a:pt x="6" y="67"/>
                  </a:moveTo>
                  <a:cubicBezTo>
                    <a:pt x="5" y="67"/>
                    <a:pt x="4" y="66"/>
                    <a:pt x="3" y="66"/>
                  </a:cubicBezTo>
                  <a:cubicBezTo>
                    <a:pt x="1" y="65"/>
                    <a:pt x="0" y="63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9"/>
                    <a:pt x="66" y="31"/>
                    <a:pt x="66" y="34"/>
                  </a:cubicBezTo>
                  <a:cubicBezTo>
                    <a:pt x="66" y="36"/>
                    <a:pt x="65" y="38"/>
                    <a:pt x="63" y="3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7"/>
                    <a:pt x="7" y="67"/>
                    <a:pt x="6" y="67"/>
                  </a:cubicBezTo>
                  <a:close/>
                  <a:moveTo>
                    <a:pt x="12" y="16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47" y="34"/>
                    <a:pt x="47" y="34"/>
                    <a:pt x="47" y="34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2849324" y="5115487"/>
              <a:ext cx="852497" cy="519136"/>
            </a:xfrm>
            <a:custGeom>
              <a:avLst/>
              <a:gdLst>
                <a:gd name="T0" fmla="*/ 303 w 309"/>
                <a:gd name="T1" fmla="*/ 188 h 188"/>
                <a:gd name="T2" fmla="*/ 6 w 309"/>
                <a:gd name="T3" fmla="*/ 188 h 188"/>
                <a:gd name="T4" fmla="*/ 0 w 309"/>
                <a:gd name="T5" fmla="*/ 182 h 188"/>
                <a:gd name="T6" fmla="*/ 0 w 309"/>
                <a:gd name="T7" fmla="*/ 17 h 188"/>
                <a:gd name="T8" fmla="*/ 17 w 309"/>
                <a:gd name="T9" fmla="*/ 0 h 188"/>
                <a:gd name="T10" fmla="*/ 293 w 309"/>
                <a:gd name="T11" fmla="*/ 0 h 188"/>
                <a:gd name="T12" fmla="*/ 309 w 309"/>
                <a:gd name="T13" fmla="*/ 17 h 188"/>
                <a:gd name="T14" fmla="*/ 309 w 309"/>
                <a:gd name="T15" fmla="*/ 182 h 188"/>
                <a:gd name="T16" fmla="*/ 303 w 309"/>
                <a:gd name="T17" fmla="*/ 188 h 188"/>
                <a:gd name="T18" fmla="*/ 12 w 309"/>
                <a:gd name="T19" fmla="*/ 176 h 188"/>
                <a:gd name="T20" fmla="*/ 297 w 309"/>
                <a:gd name="T21" fmla="*/ 176 h 188"/>
                <a:gd name="T22" fmla="*/ 297 w 309"/>
                <a:gd name="T23" fmla="*/ 17 h 188"/>
                <a:gd name="T24" fmla="*/ 293 w 309"/>
                <a:gd name="T25" fmla="*/ 12 h 188"/>
                <a:gd name="T26" fmla="*/ 17 w 309"/>
                <a:gd name="T27" fmla="*/ 12 h 188"/>
                <a:gd name="T28" fmla="*/ 12 w 309"/>
                <a:gd name="T29" fmla="*/ 17 h 188"/>
                <a:gd name="T30" fmla="*/ 12 w 309"/>
                <a:gd name="T31" fmla="*/ 17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88">
                  <a:moveTo>
                    <a:pt x="303" y="188"/>
                  </a:moveTo>
                  <a:cubicBezTo>
                    <a:pt x="6" y="188"/>
                    <a:pt x="6" y="188"/>
                    <a:pt x="6" y="188"/>
                  </a:cubicBezTo>
                  <a:cubicBezTo>
                    <a:pt x="3" y="188"/>
                    <a:pt x="0" y="186"/>
                    <a:pt x="0" y="18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302" y="0"/>
                    <a:pt x="309" y="8"/>
                    <a:pt x="309" y="17"/>
                  </a:cubicBezTo>
                  <a:cubicBezTo>
                    <a:pt x="309" y="182"/>
                    <a:pt x="309" y="182"/>
                    <a:pt x="309" y="182"/>
                  </a:cubicBezTo>
                  <a:cubicBezTo>
                    <a:pt x="309" y="186"/>
                    <a:pt x="307" y="188"/>
                    <a:pt x="303" y="188"/>
                  </a:cubicBezTo>
                  <a:close/>
                  <a:moveTo>
                    <a:pt x="12" y="176"/>
                  </a:moveTo>
                  <a:cubicBezTo>
                    <a:pt x="297" y="176"/>
                    <a:pt x="297" y="176"/>
                    <a:pt x="297" y="176"/>
                  </a:cubicBezTo>
                  <a:cubicBezTo>
                    <a:pt x="297" y="17"/>
                    <a:pt x="297" y="17"/>
                    <a:pt x="297" y="17"/>
                  </a:cubicBezTo>
                  <a:cubicBezTo>
                    <a:pt x="297" y="14"/>
                    <a:pt x="295" y="12"/>
                    <a:pt x="293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2" y="14"/>
                    <a:pt x="12" y="17"/>
                  </a:cubicBezTo>
                  <a:lnTo>
                    <a:pt x="12" y="1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2940147" y="5601595"/>
              <a:ext cx="905133" cy="140363"/>
            </a:xfrm>
            <a:custGeom>
              <a:avLst/>
              <a:gdLst>
                <a:gd name="T0" fmla="*/ 322 w 328"/>
                <a:gd name="T1" fmla="*/ 51 h 51"/>
                <a:gd name="T2" fmla="*/ 6 w 328"/>
                <a:gd name="T3" fmla="*/ 51 h 51"/>
                <a:gd name="T4" fmla="*/ 0 w 328"/>
                <a:gd name="T5" fmla="*/ 45 h 51"/>
                <a:gd name="T6" fmla="*/ 0 w 328"/>
                <a:gd name="T7" fmla="*/ 6 h 51"/>
                <a:gd name="T8" fmla="*/ 6 w 328"/>
                <a:gd name="T9" fmla="*/ 0 h 51"/>
                <a:gd name="T10" fmla="*/ 322 w 328"/>
                <a:gd name="T11" fmla="*/ 0 h 51"/>
                <a:gd name="T12" fmla="*/ 328 w 328"/>
                <a:gd name="T13" fmla="*/ 6 h 51"/>
                <a:gd name="T14" fmla="*/ 328 w 328"/>
                <a:gd name="T15" fmla="*/ 45 h 51"/>
                <a:gd name="T16" fmla="*/ 322 w 328"/>
                <a:gd name="T17" fmla="*/ 51 h 51"/>
                <a:gd name="T18" fmla="*/ 12 w 328"/>
                <a:gd name="T19" fmla="*/ 39 h 51"/>
                <a:gd name="T20" fmla="*/ 316 w 328"/>
                <a:gd name="T21" fmla="*/ 39 h 51"/>
                <a:gd name="T22" fmla="*/ 316 w 328"/>
                <a:gd name="T23" fmla="*/ 12 h 51"/>
                <a:gd name="T24" fmla="*/ 12 w 328"/>
                <a:gd name="T25" fmla="*/ 12 h 51"/>
                <a:gd name="T26" fmla="*/ 12 w 328"/>
                <a:gd name="T27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8" h="51">
                  <a:moveTo>
                    <a:pt x="322" y="51"/>
                  </a:move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8"/>
                    <a:pt x="0" y="4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5" y="0"/>
                    <a:pt x="328" y="3"/>
                    <a:pt x="328" y="6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28" y="48"/>
                    <a:pt x="325" y="51"/>
                    <a:pt x="322" y="51"/>
                  </a:cubicBezTo>
                  <a:close/>
                  <a:moveTo>
                    <a:pt x="12" y="39"/>
                  </a:moveTo>
                  <a:cubicBezTo>
                    <a:pt x="316" y="39"/>
                    <a:pt x="316" y="39"/>
                    <a:pt x="316" y="39"/>
                  </a:cubicBezTo>
                  <a:cubicBezTo>
                    <a:pt x="316" y="12"/>
                    <a:pt x="316" y="12"/>
                    <a:pt x="31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>
              <a:off x="3004135" y="5656296"/>
              <a:ext cx="771995" cy="34059"/>
            </a:xfrm>
            <a:custGeom>
              <a:avLst/>
              <a:gdLst>
                <a:gd name="T0" fmla="*/ 274 w 280"/>
                <a:gd name="T1" fmla="*/ 12 h 12"/>
                <a:gd name="T2" fmla="*/ 6 w 280"/>
                <a:gd name="T3" fmla="*/ 12 h 12"/>
                <a:gd name="T4" fmla="*/ 0 w 280"/>
                <a:gd name="T5" fmla="*/ 6 h 12"/>
                <a:gd name="T6" fmla="*/ 6 w 280"/>
                <a:gd name="T7" fmla="*/ 0 h 12"/>
                <a:gd name="T8" fmla="*/ 274 w 280"/>
                <a:gd name="T9" fmla="*/ 0 h 12"/>
                <a:gd name="T10" fmla="*/ 280 w 280"/>
                <a:gd name="T11" fmla="*/ 6 h 12"/>
                <a:gd name="T12" fmla="*/ 274 w 2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12">
                  <a:moveTo>
                    <a:pt x="2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8" y="0"/>
                    <a:pt x="280" y="2"/>
                    <a:pt x="280" y="6"/>
                  </a:cubicBezTo>
                  <a:cubicBezTo>
                    <a:pt x="280" y="9"/>
                    <a:pt x="278" y="12"/>
                    <a:pt x="27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2" name="Agrupar 121"/>
          <p:cNvGrpSpPr/>
          <p:nvPr/>
        </p:nvGrpSpPr>
        <p:grpSpPr>
          <a:xfrm>
            <a:off x="8544958" y="11528112"/>
            <a:ext cx="877040" cy="883228"/>
            <a:chOff x="4273592" y="5764664"/>
            <a:chExt cx="438634" cy="441729"/>
          </a:xfrm>
        </p:grpSpPr>
        <p:sp>
          <p:nvSpPr>
            <p:cNvPr id="38" name="Freeform 9"/>
            <p:cNvSpPr>
              <a:spLocks noEditPoints="1"/>
            </p:cNvSpPr>
            <p:nvPr/>
          </p:nvSpPr>
          <p:spPr bwMode="auto">
            <a:xfrm>
              <a:off x="4273592" y="5764664"/>
              <a:ext cx="438634" cy="392190"/>
            </a:xfrm>
            <a:custGeom>
              <a:avLst/>
              <a:gdLst>
                <a:gd name="T0" fmla="*/ 31 w 159"/>
                <a:gd name="T1" fmla="*/ 142 h 142"/>
                <a:gd name="T2" fmla="*/ 27 w 159"/>
                <a:gd name="T3" fmla="*/ 140 h 142"/>
                <a:gd name="T4" fmla="*/ 0 w 159"/>
                <a:gd name="T5" fmla="*/ 80 h 142"/>
                <a:gd name="T6" fmla="*/ 79 w 159"/>
                <a:gd name="T7" fmla="*/ 0 h 142"/>
                <a:gd name="T8" fmla="*/ 159 w 159"/>
                <a:gd name="T9" fmla="*/ 80 h 142"/>
                <a:gd name="T10" fmla="*/ 133 w 159"/>
                <a:gd name="T11" fmla="*/ 139 h 142"/>
                <a:gd name="T12" fmla="*/ 125 w 159"/>
                <a:gd name="T13" fmla="*/ 139 h 142"/>
                <a:gd name="T14" fmla="*/ 99 w 159"/>
                <a:gd name="T15" fmla="*/ 123 h 142"/>
                <a:gd name="T16" fmla="*/ 87 w 159"/>
                <a:gd name="T17" fmla="*/ 108 h 142"/>
                <a:gd name="T18" fmla="*/ 89 w 159"/>
                <a:gd name="T19" fmla="*/ 102 h 142"/>
                <a:gd name="T20" fmla="*/ 99 w 159"/>
                <a:gd name="T21" fmla="*/ 87 h 142"/>
                <a:gd name="T22" fmla="*/ 99 w 159"/>
                <a:gd name="T23" fmla="*/ 56 h 142"/>
                <a:gd name="T24" fmla="*/ 94 w 159"/>
                <a:gd name="T25" fmla="*/ 40 h 142"/>
                <a:gd name="T26" fmla="*/ 81 w 159"/>
                <a:gd name="T27" fmla="*/ 36 h 142"/>
                <a:gd name="T28" fmla="*/ 67 w 159"/>
                <a:gd name="T29" fmla="*/ 40 h 142"/>
                <a:gd name="T30" fmla="*/ 62 w 159"/>
                <a:gd name="T31" fmla="*/ 55 h 142"/>
                <a:gd name="T32" fmla="*/ 62 w 159"/>
                <a:gd name="T33" fmla="*/ 87 h 142"/>
                <a:gd name="T34" fmla="*/ 72 w 159"/>
                <a:gd name="T35" fmla="*/ 102 h 142"/>
                <a:gd name="T36" fmla="*/ 74 w 159"/>
                <a:gd name="T37" fmla="*/ 108 h 142"/>
                <a:gd name="T38" fmla="*/ 62 w 159"/>
                <a:gd name="T39" fmla="*/ 123 h 142"/>
                <a:gd name="T40" fmla="*/ 35 w 159"/>
                <a:gd name="T41" fmla="*/ 140 h 142"/>
                <a:gd name="T42" fmla="*/ 31 w 159"/>
                <a:gd name="T43" fmla="*/ 142 h 142"/>
                <a:gd name="T44" fmla="*/ 79 w 159"/>
                <a:gd name="T45" fmla="*/ 12 h 142"/>
                <a:gd name="T46" fmla="*/ 12 w 159"/>
                <a:gd name="T47" fmla="*/ 80 h 142"/>
                <a:gd name="T48" fmla="*/ 31 w 159"/>
                <a:gd name="T49" fmla="*/ 128 h 142"/>
                <a:gd name="T50" fmla="*/ 57 w 159"/>
                <a:gd name="T51" fmla="*/ 112 h 142"/>
                <a:gd name="T52" fmla="*/ 62 w 159"/>
                <a:gd name="T53" fmla="*/ 109 h 142"/>
                <a:gd name="T54" fmla="*/ 50 w 159"/>
                <a:gd name="T55" fmla="*/ 87 h 142"/>
                <a:gd name="T56" fmla="*/ 50 w 159"/>
                <a:gd name="T57" fmla="*/ 56 h 142"/>
                <a:gd name="T58" fmla="*/ 58 w 159"/>
                <a:gd name="T59" fmla="*/ 32 h 142"/>
                <a:gd name="T60" fmla="*/ 81 w 159"/>
                <a:gd name="T61" fmla="*/ 24 h 142"/>
                <a:gd name="T62" fmla="*/ 103 w 159"/>
                <a:gd name="T63" fmla="*/ 32 h 142"/>
                <a:gd name="T64" fmla="*/ 111 w 159"/>
                <a:gd name="T65" fmla="*/ 56 h 142"/>
                <a:gd name="T66" fmla="*/ 111 w 159"/>
                <a:gd name="T67" fmla="*/ 87 h 142"/>
                <a:gd name="T68" fmla="*/ 100 w 159"/>
                <a:gd name="T69" fmla="*/ 109 h 142"/>
                <a:gd name="T70" fmla="*/ 104 w 159"/>
                <a:gd name="T71" fmla="*/ 112 h 142"/>
                <a:gd name="T72" fmla="*/ 129 w 159"/>
                <a:gd name="T73" fmla="*/ 126 h 142"/>
                <a:gd name="T74" fmla="*/ 147 w 159"/>
                <a:gd name="T75" fmla="*/ 80 h 142"/>
                <a:gd name="T76" fmla="*/ 79 w 159"/>
                <a:gd name="T77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9" h="142">
                  <a:moveTo>
                    <a:pt x="31" y="142"/>
                  </a:moveTo>
                  <a:cubicBezTo>
                    <a:pt x="29" y="142"/>
                    <a:pt x="28" y="141"/>
                    <a:pt x="27" y="140"/>
                  </a:cubicBezTo>
                  <a:cubicBezTo>
                    <a:pt x="10" y="125"/>
                    <a:pt x="0" y="103"/>
                    <a:pt x="0" y="80"/>
                  </a:cubicBezTo>
                  <a:cubicBezTo>
                    <a:pt x="0" y="36"/>
                    <a:pt x="35" y="0"/>
                    <a:pt x="79" y="0"/>
                  </a:cubicBezTo>
                  <a:cubicBezTo>
                    <a:pt x="123" y="0"/>
                    <a:pt x="159" y="36"/>
                    <a:pt x="159" y="80"/>
                  </a:cubicBezTo>
                  <a:cubicBezTo>
                    <a:pt x="159" y="102"/>
                    <a:pt x="150" y="124"/>
                    <a:pt x="133" y="139"/>
                  </a:cubicBezTo>
                  <a:cubicBezTo>
                    <a:pt x="131" y="141"/>
                    <a:pt x="127" y="141"/>
                    <a:pt x="125" y="139"/>
                  </a:cubicBezTo>
                  <a:cubicBezTo>
                    <a:pt x="117" y="131"/>
                    <a:pt x="103" y="125"/>
                    <a:pt x="99" y="123"/>
                  </a:cubicBezTo>
                  <a:cubicBezTo>
                    <a:pt x="92" y="120"/>
                    <a:pt x="88" y="115"/>
                    <a:pt x="87" y="108"/>
                  </a:cubicBezTo>
                  <a:cubicBezTo>
                    <a:pt x="86" y="106"/>
                    <a:pt x="87" y="103"/>
                    <a:pt x="89" y="102"/>
                  </a:cubicBezTo>
                  <a:cubicBezTo>
                    <a:pt x="95" y="98"/>
                    <a:pt x="99" y="91"/>
                    <a:pt x="99" y="87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5"/>
                    <a:pt x="100" y="46"/>
                    <a:pt x="94" y="40"/>
                  </a:cubicBezTo>
                  <a:cubicBezTo>
                    <a:pt x="91" y="37"/>
                    <a:pt x="87" y="36"/>
                    <a:pt x="81" y="36"/>
                  </a:cubicBezTo>
                  <a:cubicBezTo>
                    <a:pt x="75" y="36"/>
                    <a:pt x="70" y="37"/>
                    <a:pt x="67" y="40"/>
                  </a:cubicBezTo>
                  <a:cubicBezTo>
                    <a:pt x="62" y="46"/>
                    <a:pt x="62" y="55"/>
                    <a:pt x="62" y="55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91"/>
                    <a:pt x="66" y="98"/>
                    <a:pt x="72" y="102"/>
                  </a:cubicBezTo>
                  <a:cubicBezTo>
                    <a:pt x="74" y="103"/>
                    <a:pt x="75" y="106"/>
                    <a:pt x="74" y="108"/>
                  </a:cubicBezTo>
                  <a:cubicBezTo>
                    <a:pt x="73" y="115"/>
                    <a:pt x="69" y="120"/>
                    <a:pt x="62" y="123"/>
                  </a:cubicBezTo>
                  <a:cubicBezTo>
                    <a:pt x="50" y="129"/>
                    <a:pt x="41" y="135"/>
                    <a:pt x="35" y="140"/>
                  </a:cubicBezTo>
                  <a:cubicBezTo>
                    <a:pt x="34" y="141"/>
                    <a:pt x="32" y="142"/>
                    <a:pt x="31" y="142"/>
                  </a:cubicBezTo>
                  <a:close/>
                  <a:moveTo>
                    <a:pt x="79" y="12"/>
                  </a:moveTo>
                  <a:cubicBezTo>
                    <a:pt x="42" y="12"/>
                    <a:pt x="12" y="43"/>
                    <a:pt x="12" y="80"/>
                  </a:cubicBezTo>
                  <a:cubicBezTo>
                    <a:pt x="12" y="98"/>
                    <a:pt x="19" y="115"/>
                    <a:pt x="31" y="128"/>
                  </a:cubicBezTo>
                  <a:cubicBezTo>
                    <a:pt x="37" y="122"/>
                    <a:pt x="46" y="117"/>
                    <a:pt x="57" y="112"/>
                  </a:cubicBezTo>
                  <a:cubicBezTo>
                    <a:pt x="59" y="112"/>
                    <a:pt x="61" y="110"/>
                    <a:pt x="62" y="109"/>
                  </a:cubicBezTo>
                  <a:cubicBezTo>
                    <a:pt x="55" y="103"/>
                    <a:pt x="50" y="94"/>
                    <a:pt x="50" y="8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49" y="42"/>
                    <a:pt x="58" y="32"/>
                  </a:cubicBezTo>
                  <a:cubicBezTo>
                    <a:pt x="64" y="26"/>
                    <a:pt x="71" y="24"/>
                    <a:pt x="81" y="24"/>
                  </a:cubicBezTo>
                  <a:cubicBezTo>
                    <a:pt x="90" y="24"/>
                    <a:pt x="97" y="26"/>
                    <a:pt x="103" y="32"/>
                  </a:cubicBezTo>
                  <a:cubicBezTo>
                    <a:pt x="112" y="42"/>
                    <a:pt x="111" y="55"/>
                    <a:pt x="111" y="56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94"/>
                    <a:pt x="107" y="103"/>
                    <a:pt x="100" y="109"/>
                  </a:cubicBezTo>
                  <a:cubicBezTo>
                    <a:pt x="101" y="110"/>
                    <a:pt x="102" y="112"/>
                    <a:pt x="104" y="112"/>
                  </a:cubicBezTo>
                  <a:cubicBezTo>
                    <a:pt x="108" y="114"/>
                    <a:pt x="119" y="119"/>
                    <a:pt x="129" y="126"/>
                  </a:cubicBezTo>
                  <a:cubicBezTo>
                    <a:pt x="140" y="114"/>
                    <a:pt x="147" y="97"/>
                    <a:pt x="147" y="80"/>
                  </a:cubicBezTo>
                  <a:cubicBezTo>
                    <a:pt x="147" y="43"/>
                    <a:pt x="117" y="12"/>
                    <a:pt x="7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4341709" y="5830717"/>
              <a:ext cx="303431" cy="375676"/>
            </a:xfrm>
            <a:custGeom>
              <a:avLst/>
              <a:gdLst>
                <a:gd name="T0" fmla="*/ 54 w 110"/>
                <a:gd name="T1" fmla="*/ 136 h 136"/>
                <a:gd name="T2" fmla="*/ 2 w 110"/>
                <a:gd name="T3" fmla="*/ 116 h 136"/>
                <a:gd name="T4" fmla="*/ 0 w 110"/>
                <a:gd name="T5" fmla="*/ 112 h 136"/>
                <a:gd name="T6" fmla="*/ 2 w 110"/>
                <a:gd name="T7" fmla="*/ 108 h 136"/>
                <a:gd name="T8" fmla="*/ 32 w 110"/>
                <a:gd name="T9" fmla="*/ 88 h 136"/>
                <a:gd name="T10" fmla="*/ 37 w 110"/>
                <a:gd name="T11" fmla="*/ 85 h 136"/>
                <a:gd name="T12" fmla="*/ 25 w 110"/>
                <a:gd name="T13" fmla="*/ 63 h 136"/>
                <a:gd name="T14" fmla="*/ 25 w 110"/>
                <a:gd name="T15" fmla="*/ 32 h 136"/>
                <a:gd name="T16" fmla="*/ 33 w 110"/>
                <a:gd name="T17" fmla="*/ 8 h 136"/>
                <a:gd name="T18" fmla="*/ 56 w 110"/>
                <a:gd name="T19" fmla="*/ 0 h 136"/>
                <a:gd name="T20" fmla="*/ 78 w 110"/>
                <a:gd name="T21" fmla="*/ 8 h 136"/>
                <a:gd name="T22" fmla="*/ 86 w 110"/>
                <a:gd name="T23" fmla="*/ 32 h 136"/>
                <a:gd name="T24" fmla="*/ 86 w 110"/>
                <a:gd name="T25" fmla="*/ 63 h 136"/>
                <a:gd name="T26" fmla="*/ 75 w 110"/>
                <a:gd name="T27" fmla="*/ 85 h 136"/>
                <a:gd name="T28" fmla="*/ 79 w 110"/>
                <a:gd name="T29" fmla="*/ 88 h 136"/>
                <a:gd name="T30" fmla="*/ 108 w 110"/>
                <a:gd name="T31" fmla="*/ 106 h 136"/>
                <a:gd name="T32" fmla="*/ 110 w 110"/>
                <a:gd name="T33" fmla="*/ 111 h 136"/>
                <a:gd name="T34" fmla="*/ 108 w 110"/>
                <a:gd name="T35" fmla="*/ 115 h 136"/>
                <a:gd name="T36" fmla="*/ 54 w 110"/>
                <a:gd name="T37" fmla="*/ 136 h 136"/>
                <a:gd name="T38" fmla="*/ 15 w 110"/>
                <a:gd name="T39" fmla="*/ 112 h 136"/>
                <a:gd name="T40" fmla="*/ 54 w 110"/>
                <a:gd name="T41" fmla="*/ 124 h 136"/>
                <a:gd name="T42" fmla="*/ 95 w 110"/>
                <a:gd name="T43" fmla="*/ 111 h 136"/>
                <a:gd name="T44" fmla="*/ 74 w 110"/>
                <a:gd name="T45" fmla="*/ 99 h 136"/>
                <a:gd name="T46" fmla="*/ 62 w 110"/>
                <a:gd name="T47" fmla="*/ 84 h 136"/>
                <a:gd name="T48" fmla="*/ 64 w 110"/>
                <a:gd name="T49" fmla="*/ 78 h 136"/>
                <a:gd name="T50" fmla="*/ 74 w 110"/>
                <a:gd name="T51" fmla="*/ 63 h 136"/>
                <a:gd name="T52" fmla="*/ 74 w 110"/>
                <a:gd name="T53" fmla="*/ 32 h 136"/>
                <a:gd name="T54" fmla="*/ 69 w 110"/>
                <a:gd name="T55" fmla="*/ 16 h 136"/>
                <a:gd name="T56" fmla="*/ 56 w 110"/>
                <a:gd name="T57" fmla="*/ 12 h 136"/>
                <a:gd name="T58" fmla="*/ 42 w 110"/>
                <a:gd name="T59" fmla="*/ 16 h 136"/>
                <a:gd name="T60" fmla="*/ 37 w 110"/>
                <a:gd name="T61" fmla="*/ 31 h 136"/>
                <a:gd name="T62" fmla="*/ 37 w 110"/>
                <a:gd name="T63" fmla="*/ 63 h 136"/>
                <a:gd name="T64" fmla="*/ 47 w 110"/>
                <a:gd name="T65" fmla="*/ 78 h 136"/>
                <a:gd name="T66" fmla="*/ 49 w 110"/>
                <a:gd name="T67" fmla="*/ 84 h 136"/>
                <a:gd name="T68" fmla="*/ 37 w 110"/>
                <a:gd name="T69" fmla="*/ 99 h 136"/>
                <a:gd name="T70" fmla="*/ 15 w 110"/>
                <a:gd name="T7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54" y="136"/>
                  </a:moveTo>
                  <a:cubicBezTo>
                    <a:pt x="35" y="136"/>
                    <a:pt x="16" y="129"/>
                    <a:pt x="2" y="116"/>
                  </a:cubicBezTo>
                  <a:cubicBezTo>
                    <a:pt x="1" y="115"/>
                    <a:pt x="0" y="114"/>
                    <a:pt x="0" y="112"/>
                  </a:cubicBezTo>
                  <a:cubicBezTo>
                    <a:pt x="0" y="110"/>
                    <a:pt x="0" y="109"/>
                    <a:pt x="2" y="108"/>
                  </a:cubicBezTo>
                  <a:cubicBezTo>
                    <a:pt x="8" y="101"/>
                    <a:pt x="18" y="95"/>
                    <a:pt x="32" y="88"/>
                  </a:cubicBezTo>
                  <a:cubicBezTo>
                    <a:pt x="34" y="88"/>
                    <a:pt x="36" y="86"/>
                    <a:pt x="37" y="85"/>
                  </a:cubicBezTo>
                  <a:cubicBezTo>
                    <a:pt x="30" y="79"/>
                    <a:pt x="25" y="70"/>
                    <a:pt x="25" y="63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4" y="18"/>
                    <a:pt x="33" y="8"/>
                  </a:cubicBezTo>
                  <a:cubicBezTo>
                    <a:pt x="39" y="2"/>
                    <a:pt x="46" y="0"/>
                    <a:pt x="56" y="0"/>
                  </a:cubicBezTo>
                  <a:cubicBezTo>
                    <a:pt x="65" y="0"/>
                    <a:pt x="72" y="2"/>
                    <a:pt x="78" y="8"/>
                  </a:cubicBezTo>
                  <a:cubicBezTo>
                    <a:pt x="87" y="18"/>
                    <a:pt x="86" y="31"/>
                    <a:pt x="86" y="3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70"/>
                    <a:pt x="82" y="79"/>
                    <a:pt x="75" y="85"/>
                  </a:cubicBezTo>
                  <a:cubicBezTo>
                    <a:pt x="76" y="86"/>
                    <a:pt x="77" y="88"/>
                    <a:pt x="79" y="88"/>
                  </a:cubicBezTo>
                  <a:cubicBezTo>
                    <a:pt x="84" y="91"/>
                    <a:pt x="98" y="97"/>
                    <a:pt x="108" y="106"/>
                  </a:cubicBezTo>
                  <a:cubicBezTo>
                    <a:pt x="109" y="107"/>
                    <a:pt x="110" y="109"/>
                    <a:pt x="110" y="111"/>
                  </a:cubicBezTo>
                  <a:cubicBezTo>
                    <a:pt x="110" y="112"/>
                    <a:pt x="109" y="114"/>
                    <a:pt x="108" y="115"/>
                  </a:cubicBezTo>
                  <a:cubicBezTo>
                    <a:pt x="93" y="128"/>
                    <a:pt x="74" y="136"/>
                    <a:pt x="54" y="136"/>
                  </a:cubicBezTo>
                  <a:close/>
                  <a:moveTo>
                    <a:pt x="15" y="112"/>
                  </a:moveTo>
                  <a:cubicBezTo>
                    <a:pt x="27" y="120"/>
                    <a:pt x="40" y="124"/>
                    <a:pt x="54" y="124"/>
                  </a:cubicBezTo>
                  <a:cubicBezTo>
                    <a:pt x="69" y="124"/>
                    <a:pt x="83" y="119"/>
                    <a:pt x="95" y="111"/>
                  </a:cubicBezTo>
                  <a:cubicBezTo>
                    <a:pt x="87" y="105"/>
                    <a:pt x="77" y="101"/>
                    <a:pt x="74" y="99"/>
                  </a:cubicBezTo>
                  <a:cubicBezTo>
                    <a:pt x="67" y="96"/>
                    <a:pt x="63" y="91"/>
                    <a:pt x="62" y="84"/>
                  </a:cubicBezTo>
                  <a:cubicBezTo>
                    <a:pt x="61" y="82"/>
                    <a:pt x="62" y="79"/>
                    <a:pt x="64" y="78"/>
                  </a:cubicBezTo>
                  <a:cubicBezTo>
                    <a:pt x="70" y="74"/>
                    <a:pt x="74" y="67"/>
                    <a:pt x="74" y="63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5" y="22"/>
                    <a:pt x="69" y="16"/>
                  </a:cubicBezTo>
                  <a:cubicBezTo>
                    <a:pt x="66" y="13"/>
                    <a:pt x="62" y="12"/>
                    <a:pt x="56" y="12"/>
                  </a:cubicBezTo>
                  <a:cubicBezTo>
                    <a:pt x="50" y="12"/>
                    <a:pt x="45" y="13"/>
                    <a:pt x="42" y="16"/>
                  </a:cubicBezTo>
                  <a:cubicBezTo>
                    <a:pt x="37" y="22"/>
                    <a:pt x="37" y="31"/>
                    <a:pt x="37" y="31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7"/>
                    <a:pt x="41" y="74"/>
                    <a:pt x="47" y="78"/>
                  </a:cubicBezTo>
                  <a:cubicBezTo>
                    <a:pt x="49" y="79"/>
                    <a:pt x="50" y="82"/>
                    <a:pt x="49" y="84"/>
                  </a:cubicBezTo>
                  <a:cubicBezTo>
                    <a:pt x="48" y="91"/>
                    <a:pt x="44" y="96"/>
                    <a:pt x="37" y="99"/>
                  </a:cubicBezTo>
                  <a:cubicBezTo>
                    <a:pt x="28" y="103"/>
                    <a:pt x="21" y="108"/>
                    <a:pt x="15" y="1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19" name="Agrupar 118"/>
          <p:cNvGrpSpPr/>
          <p:nvPr/>
        </p:nvGrpSpPr>
        <p:grpSpPr>
          <a:xfrm>
            <a:off x="4477564" y="8628728"/>
            <a:ext cx="945138" cy="1403260"/>
            <a:chOff x="2239365" y="4314594"/>
            <a:chExt cx="472692" cy="701813"/>
          </a:xfrm>
        </p:grpSpPr>
        <p:sp>
          <p:nvSpPr>
            <p:cNvPr id="40" name="Freeform 11"/>
            <p:cNvSpPr>
              <a:spLocks noEditPoints="1"/>
            </p:cNvSpPr>
            <p:nvPr/>
          </p:nvSpPr>
          <p:spPr bwMode="auto">
            <a:xfrm>
              <a:off x="2526283" y="4314594"/>
              <a:ext cx="185774" cy="187838"/>
            </a:xfrm>
            <a:custGeom>
              <a:avLst/>
              <a:gdLst>
                <a:gd name="T0" fmla="*/ 61 w 67"/>
                <a:gd name="T1" fmla="*/ 68 h 68"/>
                <a:gd name="T2" fmla="*/ 6 w 67"/>
                <a:gd name="T3" fmla="*/ 68 h 68"/>
                <a:gd name="T4" fmla="*/ 0 w 67"/>
                <a:gd name="T5" fmla="*/ 62 h 68"/>
                <a:gd name="T6" fmla="*/ 0 w 67"/>
                <a:gd name="T7" fmla="*/ 6 h 68"/>
                <a:gd name="T8" fmla="*/ 3 w 67"/>
                <a:gd name="T9" fmla="*/ 1 h 68"/>
                <a:gd name="T10" fmla="*/ 10 w 67"/>
                <a:gd name="T11" fmla="*/ 2 h 68"/>
                <a:gd name="T12" fmla="*/ 65 w 67"/>
                <a:gd name="T13" fmla="*/ 57 h 68"/>
                <a:gd name="T14" fmla="*/ 67 w 67"/>
                <a:gd name="T15" fmla="*/ 64 h 68"/>
                <a:gd name="T16" fmla="*/ 61 w 67"/>
                <a:gd name="T17" fmla="*/ 68 h 68"/>
                <a:gd name="T18" fmla="*/ 12 w 67"/>
                <a:gd name="T19" fmla="*/ 56 h 68"/>
                <a:gd name="T20" fmla="*/ 47 w 67"/>
                <a:gd name="T21" fmla="*/ 56 h 68"/>
                <a:gd name="T22" fmla="*/ 12 w 67"/>
                <a:gd name="T23" fmla="*/ 21 h 68"/>
                <a:gd name="T24" fmla="*/ 12 w 67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8">
                  <a:moveTo>
                    <a:pt x="61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2" y="68"/>
                    <a:pt x="0" y="65"/>
                    <a:pt x="0" y="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6" y="66"/>
                    <a:pt x="63" y="68"/>
                    <a:pt x="61" y="68"/>
                  </a:cubicBezTo>
                  <a:close/>
                  <a:moveTo>
                    <a:pt x="12" y="56"/>
                  </a:moveTo>
                  <a:cubicBezTo>
                    <a:pt x="47" y="56"/>
                    <a:pt x="47" y="56"/>
                    <a:pt x="47" y="56"/>
                  </a:cubicBezTo>
                  <a:cubicBezTo>
                    <a:pt x="12" y="21"/>
                    <a:pt x="12" y="21"/>
                    <a:pt x="12" y="21"/>
                  </a:cubicBezTo>
                  <a:lnTo>
                    <a:pt x="12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239365" y="4314594"/>
              <a:ext cx="472692" cy="582092"/>
            </a:xfrm>
            <a:custGeom>
              <a:avLst/>
              <a:gdLst>
                <a:gd name="T0" fmla="*/ 165 w 171"/>
                <a:gd name="T1" fmla="*/ 211 h 211"/>
                <a:gd name="T2" fmla="*/ 136 w 171"/>
                <a:gd name="T3" fmla="*/ 211 h 211"/>
                <a:gd name="T4" fmla="*/ 130 w 171"/>
                <a:gd name="T5" fmla="*/ 205 h 211"/>
                <a:gd name="T6" fmla="*/ 136 w 171"/>
                <a:gd name="T7" fmla="*/ 199 h 211"/>
                <a:gd name="T8" fmla="*/ 159 w 171"/>
                <a:gd name="T9" fmla="*/ 199 h 211"/>
                <a:gd name="T10" fmla="*/ 159 w 171"/>
                <a:gd name="T11" fmla="*/ 64 h 211"/>
                <a:gd name="T12" fmla="*/ 107 w 171"/>
                <a:gd name="T13" fmla="*/ 12 h 211"/>
                <a:gd name="T14" fmla="*/ 12 w 171"/>
                <a:gd name="T15" fmla="*/ 12 h 211"/>
                <a:gd name="T16" fmla="*/ 12 w 171"/>
                <a:gd name="T17" fmla="*/ 199 h 211"/>
                <a:gd name="T18" fmla="*/ 29 w 171"/>
                <a:gd name="T19" fmla="*/ 199 h 211"/>
                <a:gd name="T20" fmla="*/ 35 w 171"/>
                <a:gd name="T21" fmla="*/ 205 h 211"/>
                <a:gd name="T22" fmla="*/ 29 w 171"/>
                <a:gd name="T23" fmla="*/ 211 h 211"/>
                <a:gd name="T24" fmla="*/ 6 w 171"/>
                <a:gd name="T25" fmla="*/ 211 h 211"/>
                <a:gd name="T26" fmla="*/ 0 w 171"/>
                <a:gd name="T27" fmla="*/ 205 h 211"/>
                <a:gd name="T28" fmla="*/ 0 w 171"/>
                <a:gd name="T29" fmla="*/ 6 h 211"/>
                <a:gd name="T30" fmla="*/ 6 w 171"/>
                <a:gd name="T31" fmla="*/ 0 h 211"/>
                <a:gd name="T32" fmla="*/ 110 w 171"/>
                <a:gd name="T33" fmla="*/ 0 h 211"/>
                <a:gd name="T34" fmla="*/ 114 w 171"/>
                <a:gd name="T35" fmla="*/ 2 h 211"/>
                <a:gd name="T36" fmla="*/ 169 w 171"/>
                <a:gd name="T37" fmla="*/ 57 h 211"/>
                <a:gd name="T38" fmla="*/ 171 w 171"/>
                <a:gd name="T39" fmla="*/ 62 h 211"/>
                <a:gd name="T40" fmla="*/ 171 w 171"/>
                <a:gd name="T41" fmla="*/ 205 h 211"/>
                <a:gd name="T42" fmla="*/ 165 w 171"/>
                <a:gd name="T4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1" h="211">
                  <a:moveTo>
                    <a:pt x="165" y="211"/>
                  </a:moveTo>
                  <a:cubicBezTo>
                    <a:pt x="136" y="211"/>
                    <a:pt x="136" y="211"/>
                    <a:pt x="136" y="211"/>
                  </a:cubicBezTo>
                  <a:cubicBezTo>
                    <a:pt x="132" y="211"/>
                    <a:pt x="130" y="209"/>
                    <a:pt x="130" y="205"/>
                  </a:cubicBezTo>
                  <a:cubicBezTo>
                    <a:pt x="130" y="202"/>
                    <a:pt x="132" y="199"/>
                    <a:pt x="136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9"/>
                    <a:pt x="12" y="199"/>
                    <a:pt x="12" y="19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32" y="199"/>
                    <a:pt x="35" y="202"/>
                    <a:pt x="35" y="205"/>
                  </a:cubicBezTo>
                  <a:cubicBezTo>
                    <a:pt x="35" y="209"/>
                    <a:pt x="32" y="211"/>
                    <a:pt x="29" y="211"/>
                  </a:cubicBezTo>
                  <a:cubicBezTo>
                    <a:pt x="6" y="211"/>
                    <a:pt x="6" y="211"/>
                    <a:pt x="6" y="211"/>
                  </a:cubicBezTo>
                  <a:cubicBezTo>
                    <a:pt x="3" y="211"/>
                    <a:pt x="0" y="209"/>
                    <a:pt x="0" y="20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3" y="1"/>
                    <a:pt x="114" y="2"/>
                  </a:cubicBezTo>
                  <a:cubicBezTo>
                    <a:pt x="169" y="57"/>
                    <a:pt x="169" y="57"/>
                    <a:pt x="169" y="57"/>
                  </a:cubicBezTo>
                  <a:cubicBezTo>
                    <a:pt x="170" y="59"/>
                    <a:pt x="171" y="60"/>
                    <a:pt x="171" y="62"/>
                  </a:cubicBezTo>
                  <a:cubicBezTo>
                    <a:pt x="171" y="205"/>
                    <a:pt x="171" y="205"/>
                    <a:pt x="171" y="205"/>
                  </a:cubicBezTo>
                  <a:cubicBezTo>
                    <a:pt x="171" y="209"/>
                    <a:pt x="168" y="211"/>
                    <a:pt x="165" y="2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2385920" y="4911135"/>
              <a:ext cx="182678" cy="105272"/>
            </a:xfrm>
            <a:custGeom>
              <a:avLst/>
              <a:gdLst>
                <a:gd name="T0" fmla="*/ 33 w 66"/>
                <a:gd name="T1" fmla="*/ 38 h 38"/>
                <a:gd name="T2" fmla="*/ 29 w 66"/>
                <a:gd name="T3" fmla="*/ 37 h 38"/>
                <a:gd name="T4" fmla="*/ 2 w 66"/>
                <a:gd name="T5" fmla="*/ 11 h 38"/>
                <a:gd name="T6" fmla="*/ 2 w 66"/>
                <a:gd name="T7" fmla="*/ 2 h 38"/>
                <a:gd name="T8" fmla="*/ 10 w 66"/>
                <a:gd name="T9" fmla="*/ 2 h 38"/>
                <a:gd name="T10" fmla="*/ 33 w 66"/>
                <a:gd name="T11" fmla="*/ 24 h 38"/>
                <a:gd name="T12" fmla="*/ 55 w 66"/>
                <a:gd name="T13" fmla="*/ 2 h 38"/>
                <a:gd name="T14" fmla="*/ 63 w 66"/>
                <a:gd name="T15" fmla="*/ 2 h 38"/>
                <a:gd name="T16" fmla="*/ 63 w 66"/>
                <a:gd name="T17" fmla="*/ 11 h 38"/>
                <a:gd name="T18" fmla="*/ 37 w 66"/>
                <a:gd name="T19" fmla="*/ 37 h 38"/>
                <a:gd name="T20" fmla="*/ 33 w 6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38">
                  <a:moveTo>
                    <a:pt x="33" y="38"/>
                  </a:moveTo>
                  <a:cubicBezTo>
                    <a:pt x="32" y="38"/>
                    <a:pt x="30" y="38"/>
                    <a:pt x="29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7" y="0"/>
                    <a:pt x="61" y="0"/>
                    <a:pt x="63" y="2"/>
                  </a:cubicBezTo>
                  <a:cubicBezTo>
                    <a:pt x="66" y="4"/>
                    <a:pt x="66" y="8"/>
                    <a:pt x="63" y="11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8"/>
                    <a:pt x="35" y="38"/>
                    <a:pt x="33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2460230" y="4609768"/>
              <a:ext cx="33027" cy="406639"/>
            </a:xfrm>
            <a:custGeom>
              <a:avLst/>
              <a:gdLst>
                <a:gd name="T0" fmla="*/ 6 w 12"/>
                <a:gd name="T1" fmla="*/ 147 h 147"/>
                <a:gd name="T2" fmla="*/ 0 w 12"/>
                <a:gd name="T3" fmla="*/ 141 h 147"/>
                <a:gd name="T4" fmla="*/ 0 w 12"/>
                <a:gd name="T5" fmla="*/ 6 h 147"/>
                <a:gd name="T6" fmla="*/ 6 w 12"/>
                <a:gd name="T7" fmla="*/ 0 h 147"/>
                <a:gd name="T8" fmla="*/ 12 w 12"/>
                <a:gd name="T9" fmla="*/ 6 h 147"/>
                <a:gd name="T10" fmla="*/ 12 w 12"/>
                <a:gd name="T11" fmla="*/ 141 h 147"/>
                <a:gd name="T12" fmla="*/ 6 w 12"/>
                <a:gd name="T1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7">
                  <a:moveTo>
                    <a:pt x="6" y="147"/>
                  </a:moveTo>
                  <a:cubicBezTo>
                    <a:pt x="3" y="147"/>
                    <a:pt x="0" y="145"/>
                    <a:pt x="0" y="1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5"/>
                    <a:pt x="9" y="147"/>
                    <a:pt x="6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auto">
            <a:xfrm>
              <a:off x="2410690" y="4609768"/>
              <a:ext cx="140363" cy="33027"/>
            </a:xfrm>
            <a:custGeom>
              <a:avLst/>
              <a:gdLst>
                <a:gd name="T0" fmla="*/ 45 w 51"/>
                <a:gd name="T1" fmla="*/ 12 h 12"/>
                <a:gd name="T2" fmla="*/ 6 w 51"/>
                <a:gd name="T3" fmla="*/ 12 h 12"/>
                <a:gd name="T4" fmla="*/ 0 w 51"/>
                <a:gd name="T5" fmla="*/ 6 h 12"/>
                <a:gd name="T6" fmla="*/ 6 w 51"/>
                <a:gd name="T7" fmla="*/ 0 h 12"/>
                <a:gd name="T8" fmla="*/ 45 w 51"/>
                <a:gd name="T9" fmla="*/ 0 h 12"/>
                <a:gd name="T10" fmla="*/ 51 w 51"/>
                <a:gd name="T11" fmla="*/ 6 h 12"/>
                <a:gd name="T12" fmla="*/ 45 w 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12">
                  <a:moveTo>
                    <a:pt x="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1" y="3"/>
                    <a:pt x="51" y="6"/>
                  </a:cubicBezTo>
                  <a:cubicBezTo>
                    <a:pt x="51" y="10"/>
                    <a:pt x="48" y="12"/>
                    <a:pt x="45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5" name="Freeform 16"/>
          <p:cNvSpPr>
            <a:spLocks noEditPoints="1"/>
          </p:cNvSpPr>
          <p:nvPr/>
        </p:nvSpPr>
        <p:spPr bwMode="auto">
          <a:xfrm>
            <a:off x="4974896" y="10622185"/>
            <a:ext cx="379705" cy="385897"/>
          </a:xfrm>
          <a:custGeom>
            <a:avLst/>
            <a:gdLst>
              <a:gd name="T0" fmla="*/ 35 w 69"/>
              <a:gd name="T1" fmla="*/ 70 h 70"/>
              <a:gd name="T2" fmla="*/ 0 w 69"/>
              <a:gd name="T3" fmla="*/ 35 h 70"/>
              <a:gd name="T4" fmla="*/ 35 w 69"/>
              <a:gd name="T5" fmla="*/ 0 h 70"/>
              <a:gd name="T6" fmla="*/ 69 w 69"/>
              <a:gd name="T7" fmla="*/ 35 h 70"/>
              <a:gd name="T8" fmla="*/ 35 w 69"/>
              <a:gd name="T9" fmla="*/ 70 h 70"/>
              <a:gd name="T10" fmla="*/ 35 w 69"/>
              <a:gd name="T11" fmla="*/ 12 h 70"/>
              <a:gd name="T12" fmla="*/ 12 w 69"/>
              <a:gd name="T13" fmla="*/ 35 h 70"/>
              <a:gd name="T14" fmla="*/ 35 w 69"/>
              <a:gd name="T15" fmla="*/ 58 h 70"/>
              <a:gd name="T16" fmla="*/ 57 w 69"/>
              <a:gd name="T17" fmla="*/ 35 h 70"/>
              <a:gd name="T18" fmla="*/ 35 w 69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70">
                <a:moveTo>
                  <a:pt x="35" y="70"/>
                </a:moveTo>
                <a:cubicBezTo>
                  <a:pt x="15" y="70"/>
                  <a:pt x="0" y="54"/>
                  <a:pt x="0" y="35"/>
                </a:cubicBezTo>
                <a:cubicBezTo>
                  <a:pt x="0" y="16"/>
                  <a:pt x="15" y="0"/>
                  <a:pt x="35" y="0"/>
                </a:cubicBezTo>
                <a:cubicBezTo>
                  <a:pt x="54" y="0"/>
                  <a:pt x="69" y="16"/>
                  <a:pt x="69" y="35"/>
                </a:cubicBezTo>
                <a:cubicBezTo>
                  <a:pt x="69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7" y="58"/>
                  <a:pt x="57" y="48"/>
                  <a:pt x="57" y="35"/>
                </a:cubicBezTo>
                <a:cubicBezTo>
                  <a:pt x="57" y="22"/>
                  <a:pt x="47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Freeform 17"/>
          <p:cNvSpPr>
            <a:spLocks noEditPoints="1"/>
          </p:cNvSpPr>
          <p:nvPr/>
        </p:nvSpPr>
        <p:spPr bwMode="auto">
          <a:xfrm>
            <a:off x="6435941" y="11814956"/>
            <a:ext cx="387961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5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5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3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8" y="58"/>
                  <a:pt x="58" y="48"/>
                  <a:pt x="58" y="35"/>
                </a:cubicBezTo>
                <a:cubicBezTo>
                  <a:pt x="58" y="23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auto">
          <a:xfrm>
            <a:off x="6237832" y="9020816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Freeform 20"/>
          <p:cNvSpPr>
            <a:spLocks noEditPoints="1"/>
          </p:cNvSpPr>
          <p:nvPr/>
        </p:nvSpPr>
        <p:spPr bwMode="auto">
          <a:xfrm>
            <a:off x="8185889" y="10362168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18" name="Agrupar 117"/>
          <p:cNvGrpSpPr/>
          <p:nvPr/>
        </p:nvGrpSpPr>
        <p:grpSpPr>
          <a:xfrm>
            <a:off x="3811016" y="9060024"/>
            <a:ext cx="392088" cy="385897"/>
            <a:chOff x="1906004" y="4530298"/>
            <a:chExt cx="196095" cy="192999"/>
          </a:xfrm>
        </p:grpSpPr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1909100" y="4532362"/>
              <a:ext cx="71214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 22"/>
            <p:cNvSpPr>
              <a:spLocks/>
            </p:cNvSpPr>
            <p:nvPr/>
          </p:nvSpPr>
          <p:spPr bwMode="auto">
            <a:xfrm>
              <a:off x="2032949" y="4654147"/>
              <a:ext cx="69150" cy="69150"/>
            </a:xfrm>
            <a:custGeom>
              <a:avLst/>
              <a:gdLst>
                <a:gd name="T0" fmla="*/ 19 w 25"/>
                <a:gd name="T1" fmla="*/ 25 h 25"/>
                <a:gd name="T2" fmla="*/ 15 w 25"/>
                <a:gd name="T3" fmla="*/ 24 h 25"/>
                <a:gd name="T4" fmla="*/ 2 w 25"/>
                <a:gd name="T5" fmla="*/ 11 h 25"/>
                <a:gd name="T6" fmla="*/ 2 w 25"/>
                <a:gd name="T7" fmla="*/ 2 h 25"/>
                <a:gd name="T8" fmla="*/ 10 w 25"/>
                <a:gd name="T9" fmla="*/ 2 h 25"/>
                <a:gd name="T10" fmla="*/ 23 w 25"/>
                <a:gd name="T11" fmla="*/ 15 h 25"/>
                <a:gd name="T12" fmla="*/ 23 w 25"/>
                <a:gd name="T13" fmla="*/ 24 h 25"/>
                <a:gd name="T14" fmla="*/ 19 w 25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19" y="25"/>
                  </a:moveTo>
                  <a:cubicBezTo>
                    <a:pt x="17" y="25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8"/>
                    <a:pt x="25" y="21"/>
                    <a:pt x="23" y="24"/>
                  </a:cubicBezTo>
                  <a:cubicBezTo>
                    <a:pt x="22" y="25"/>
                    <a:pt x="20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23"/>
            <p:cNvSpPr>
              <a:spLocks/>
            </p:cNvSpPr>
            <p:nvPr/>
          </p:nvSpPr>
          <p:spPr bwMode="auto">
            <a:xfrm>
              <a:off x="1906004" y="4651051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5"/>
                    <a:pt x="26" y="8"/>
                    <a:pt x="24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2027789" y="4530298"/>
              <a:ext cx="71214" cy="68117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7903171" y="11567320"/>
            <a:ext cx="392090" cy="392088"/>
            <a:chOff x="3952615" y="5784273"/>
            <a:chExt cx="196096" cy="196095"/>
          </a:xfrm>
        </p:grpSpPr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3955712" y="5786338"/>
              <a:ext cx="72245" cy="72245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1 w 26"/>
                <a:gd name="T9" fmla="*/ 3 h 26"/>
                <a:gd name="T10" fmla="*/ 24 w 26"/>
                <a:gd name="T11" fmla="*/ 15 h 26"/>
                <a:gd name="T12" fmla="*/ 24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8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auto">
            <a:xfrm>
              <a:off x="4077497" y="5908123"/>
              <a:ext cx="71214" cy="72245"/>
            </a:xfrm>
            <a:custGeom>
              <a:avLst/>
              <a:gdLst>
                <a:gd name="T0" fmla="*/ 20 w 26"/>
                <a:gd name="T1" fmla="*/ 26 h 26"/>
                <a:gd name="T2" fmla="*/ 15 w 26"/>
                <a:gd name="T3" fmla="*/ 24 h 26"/>
                <a:gd name="T4" fmla="*/ 3 w 26"/>
                <a:gd name="T5" fmla="*/ 11 h 26"/>
                <a:gd name="T6" fmla="*/ 3 w 26"/>
                <a:gd name="T7" fmla="*/ 3 h 26"/>
                <a:gd name="T8" fmla="*/ 11 w 26"/>
                <a:gd name="T9" fmla="*/ 3 h 26"/>
                <a:gd name="T10" fmla="*/ 24 w 26"/>
                <a:gd name="T11" fmla="*/ 16 h 26"/>
                <a:gd name="T12" fmla="*/ 24 w 26"/>
                <a:gd name="T13" fmla="*/ 24 h 26"/>
                <a:gd name="T14" fmla="*/ 20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20" y="26"/>
                  </a:moveTo>
                  <a:cubicBezTo>
                    <a:pt x="18" y="26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2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6" name="Freeform 27"/>
            <p:cNvSpPr>
              <a:spLocks/>
            </p:cNvSpPr>
            <p:nvPr/>
          </p:nvSpPr>
          <p:spPr bwMode="auto">
            <a:xfrm>
              <a:off x="3952615" y="5905026"/>
              <a:ext cx="72245" cy="72245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5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1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auto">
            <a:xfrm>
              <a:off x="4074400" y="5784273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4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4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4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4" y="2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17" name="Agrupar 116"/>
          <p:cNvGrpSpPr/>
          <p:nvPr/>
        </p:nvGrpSpPr>
        <p:grpSpPr>
          <a:xfrm>
            <a:off x="4555981" y="11307492"/>
            <a:ext cx="392086" cy="387961"/>
            <a:chOff x="2278584" y="5725445"/>
            <a:chExt cx="196094" cy="194031"/>
          </a:xfrm>
        </p:grpSpPr>
        <p:sp>
          <p:nvSpPr>
            <p:cNvPr id="58" name="Freeform 29"/>
            <p:cNvSpPr>
              <a:spLocks/>
            </p:cNvSpPr>
            <p:nvPr/>
          </p:nvSpPr>
          <p:spPr bwMode="auto">
            <a:xfrm>
              <a:off x="2280648" y="5728541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 30"/>
            <p:cNvSpPr>
              <a:spLocks/>
            </p:cNvSpPr>
            <p:nvPr/>
          </p:nvSpPr>
          <p:spPr bwMode="auto">
            <a:xfrm>
              <a:off x="2402433" y="5850326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4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4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4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278584" y="5847230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3 w 26"/>
                <a:gd name="T9" fmla="*/ 2 h 25"/>
                <a:gd name="T10" fmla="*/ 23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3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3" y="2"/>
                  </a:cubicBezTo>
                  <a:cubicBezTo>
                    <a:pt x="26" y="4"/>
                    <a:pt x="26" y="8"/>
                    <a:pt x="23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2399337" y="5725445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1" name="Agrupar 120"/>
          <p:cNvGrpSpPr/>
          <p:nvPr/>
        </p:nvGrpSpPr>
        <p:grpSpPr>
          <a:xfrm>
            <a:off x="9056736" y="10589164"/>
            <a:ext cx="398278" cy="392090"/>
            <a:chOff x="4529547" y="5295068"/>
            <a:chExt cx="199191" cy="196096"/>
          </a:xfrm>
        </p:grpSpPr>
        <p:sp>
          <p:nvSpPr>
            <p:cNvPr id="62" name="Freeform 33"/>
            <p:cNvSpPr>
              <a:spLocks/>
            </p:cNvSpPr>
            <p:nvPr/>
          </p:nvSpPr>
          <p:spPr bwMode="auto">
            <a:xfrm>
              <a:off x="4535740" y="5298164"/>
              <a:ext cx="71214" cy="71214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0 w 26"/>
                <a:gd name="T9" fmla="*/ 3 h 26"/>
                <a:gd name="T10" fmla="*/ 23 w 26"/>
                <a:gd name="T11" fmla="*/ 16 h 26"/>
                <a:gd name="T12" fmla="*/ 23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7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8"/>
                    <a:pt x="26" y="22"/>
                    <a:pt x="23" y="24"/>
                  </a:cubicBezTo>
                  <a:cubicBezTo>
                    <a:pt x="22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34"/>
            <p:cNvSpPr>
              <a:spLocks/>
            </p:cNvSpPr>
            <p:nvPr/>
          </p:nvSpPr>
          <p:spPr bwMode="auto">
            <a:xfrm>
              <a:off x="4656493" y="5422014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0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529547" y="5416854"/>
              <a:ext cx="72245" cy="71214"/>
            </a:xfrm>
            <a:custGeom>
              <a:avLst/>
              <a:gdLst>
                <a:gd name="T0" fmla="*/ 7 w 26"/>
                <a:gd name="T1" fmla="*/ 26 h 26"/>
                <a:gd name="T2" fmla="*/ 3 w 26"/>
                <a:gd name="T3" fmla="*/ 24 h 26"/>
                <a:gd name="T4" fmla="*/ 3 w 26"/>
                <a:gd name="T5" fmla="*/ 15 h 26"/>
                <a:gd name="T6" fmla="*/ 15 w 26"/>
                <a:gd name="T7" fmla="*/ 3 h 26"/>
                <a:gd name="T8" fmla="*/ 24 w 26"/>
                <a:gd name="T9" fmla="*/ 3 h 26"/>
                <a:gd name="T10" fmla="*/ 24 w 26"/>
                <a:gd name="T11" fmla="*/ 11 h 26"/>
                <a:gd name="T12" fmla="*/ 11 w 26"/>
                <a:gd name="T13" fmla="*/ 24 h 26"/>
                <a:gd name="T14" fmla="*/ 7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7" y="26"/>
                  </a:moveTo>
                  <a:cubicBezTo>
                    <a:pt x="5" y="26"/>
                    <a:pt x="4" y="25"/>
                    <a:pt x="3" y="24"/>
                  </a:cubicBezTo>
                  <a:cubicBezTo>
                    <a:pt x="0" y="22"/>
                    <a:pt x="0" y="18"/>
                    <a:pt x="3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8" y="0"/>
                    <a:pt x="22" y="0"/>
                    <a:pt x="24" y="3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9" y="26"/>
                    <a:pt x="7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654428" y="5295068"/>
              <a:ext cx="68117" cy="71214"/>
            </a:xfrm>
            <a:custGeom>
              <a:avLst/>
              <a:gdLst>
                <a:gd name="T0" fmla="*/ 6 w 25"/>
                <a:gd name="T1" fmla="*/ 26 h 26"/>
                <a:gd name="T2" fmla="*/ 2 w 25"/>
                <a:gd name="T3" fmla="*/ 24 h 26"/>
                <a:gd name="T4" fmla="*/ 2 w 25"/>
                <a:gd name="T5" fmla="*/ 15 h 26"/>
                <a:gd name="T6" fmla="*/ 15 w 25"/>
                <a:gd name="T7" fmla="*/ 3 h 26"/>
                <a:gd name="T8" fmla="*/ 23 w 25"/>
                <a:gd name="T9" fmla="*/ 3 h 26"/>
                <a:gd name="T10" fmla="*/ 23 w 25"/>
                <a:gd name="T11" fmla="*/ 11 h 26"/>
                <a:gd name="T12" fmla="*/ 10 w 25"/>
                <a:gd name="T13" fmla="*/ 24 h 26"/>
                <a:gd name="T14" fmla="*/ 6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5" y="5"/>
                    <a:pt x="25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20" name="Agrupar 119"/>
          <p:cNvGrpSpPr/>
          <p:nvPr/>
        </p:nvGrpSpPr>
        <p:grpSpPr>
          <a:xfrm>
            <a:off x="6834216" y="9501637"/>
            <a:ext cx="396217" cy="392090"/>
            <a:chOff x="3417998" y="4751163"/>
            <a:chExt cx="198160" cy="196096"/>
          </a:xfrm>
        </p:grpSpPr>
        <p:sp>
          <p:nvSpPr>
            <p:cNvPr id="70" name="Freeform 41"/>
            <p:cNvSpPr>
              <a:spLocks/>
            </p:cNvSpPr>
            <p:nvPr/>
          </p:nvSpPr>
          <p:spPr bwMode="auto">
            <a:xfrm>
              <a:off x="3423159" y="4756323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42"/>
            <p:cNvSpPr>
              <a:spLocks/>
            </p:cNvSpPr>
            <p:nvPr/>
          </p:nvSpPr>
          <p:spPr bwMode="auto">
            <a:xfrm>
              <a:off x="3544944" y="4878109"/>
              <a:ext cx="71214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5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43"/>
            <p:cNvSpPr>
              <a:spLocks/>
            </p:cNvSpPr>
            <p:nvPr/>
          </p:nvSpPr>
          <p:spPr bwMode="auto">
            <a:xfrm>
              <a:off x="3417998" y="4875012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6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6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9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44"/>
            <p:cNvSpPr>
              <a:spLocks/>
            </p:cNvSpPr>
            <p:nvPr/>
          </p:nvSpPr>
          <p:spPr bwMode="auto">
            <a:xfrm>
              <a:off x="3541848" y="4751163"/>
              <a:ext cx="72245" cy="71214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6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0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2"/>
                    <a:pt x="0" y="18"/>
                    <a:pt x="2" y="16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35" name="Agrupar 134"/>
          <p:cNvGrpSpPr/>
          <p:nvPr/>
        </p:nvGrpSpPr>
        <p:grpSpPr>
          <a:xfrm>
            <a:off x="4389539" y="2703653"/>
            <a:ext cx="917997" cy="652828"/>
            <a:chOff x="6351" y="1588"/>
            <a:chExt cx="1082675" cy="769938"/>
          </a:xfrm>
          <a:solidFill>
            <a:schemeClr val="bg1"/>
          </a:solidFill>
        </p:grpSpPr>
        <p:sp>
          <p:nvSpPr>
            <p:cNvPr id="128" name="Freeform 48"/>
            <p:cNvSpPr>
              <a:spLocks/>
            </p:cNvSpPr>
            <p:nvPr/>
          </p:nvSpPr>
          <p:spPr bwMode="auto">
            <a:xfrm>
              <a:off x="6351" y="1588"/>
              <a:ext cx="338138" cy="339725"/>
            </a:xfrm>
            <a:custGeom>
              <a:avLst/>
              <a:gdLst>
                <a:gd name="T0" fmla="*/ 72 w 79"/>
                <a:gd name="T1" fmla="*/ 78 h 79"/>
                <a:gd name="T2" fmla="*/ 67 w 79"/>
                <a:gd name="T3" fmla="*/ 75 h 79"/>
                <a:gd name="T4" fmla="*/ 40 w 79"/>
                <a:gd name="T5" fmla="*/ 19 h 79"/>
                <a:gd name="T6" fmla="*/ 12 w 79"/>
                <a:gd name="T7" fmla="*/ 75 h 79"/>
                <a:gd name="T8" fmla="*/ 4 w 79"/>
                <a:gd name="T9" fmla="*/ 77 h 79"/>
                <a:gd name="T10" fmla="*/ 1 w 79"/>
                <a:gd name="T11" fmla="*/ 69 h 79"/>
                <a:gd name="T12" fmla="*/ 35 w 79"/>
                <a:gd name="T13" fmla="*/ 3 h 79"/>
                <a:gd name="T14" fmla="*/ 40 w 79"/>
                <a:gd name="T15" fmla="*/ 0 h 79"/>
                <a:gd name="T16" fmla="*/ 40 w 79"/>
                <a:gd name="T17" fmla="*/ 0 h 79"/>
                <a:gd name="T18" fmla="*/ 46 w 79"/>
                <a:gd name="T19" fmla="*/ 3 h 79"/>
                <a:gd name="T20" fmla="*/ 78 w 79"/>
                <a:gd name="T21" fmla="*/ 70 h 79"/>
                <a:gd name="T22" fmla="*/ 75 w 79"/>
                <a:gd name="T23" fmla="*/ 78 h 79"/>
                <a:gd name="T24" fmla="*/ 72 w 79"/>
                <a:gd name="T25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79">
                  <a:moveTo>
                    <a:pt x="72" y="78"/>
                  </a:moveTo>
                  <a:cubicBezTo>
                    <a:pt x="70" y="78"/>
                    <a:pt x="68" y="77"/>
                    <a:pt x="67" y="75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8"/>
                    <a:pt x="7" y="79"/>
                    <a:pt x="4" y="77"/>
                  </a:cubicBezTo>
                  <a:cubicBezTo>
                    <a:pt x="1" y="76"/>
                    <a:pt x="0" y="72"/>
                    <a:pt x="1" y="69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1"/>
                    <a:pt x="38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5" y="1"/>
                    <a:pt x="46" y="3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9" y="73"/>
                    <a:pt x="78" y="76"/>
                    <a:pt x="75" y="78"/>
                  </a:cubicBezTo>
                  <a:cubicBezTo>
                    <a:pt x="74" y="78"/>
                    <a:pt x="73" y="78"/>
                    <a:pt x="7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reeform 49"/>
            <p:cNvSpPr>
              <a:spLocks/>
            </p:cNvSpPr>
            <p:nvPr/>
          </p:nvSpPr>
          <p:spPr bwMode="auto">
            <a:xfrm>
              <a:off x="57151" y="185738"/>
              <a:ext cx="234950" cy="52388"/>
            </a:xfrm>
            <a:custGeom>
              <a:avLst/>
              <a:gdLst>
                <a:gd name="T0" fmla="*/ 49 w 55"/>
                <a:gd name="T1" fmla="*/ 12 h 12"/>
                <a:gd name="T2" fmla="*/ 6 w 55"/>
                <a:gd name="T3" fmla="*/ 12 h 12"/>
                <a:gd name="T4" fmla="*/ 0 w 55"/>
                <a:gd name="T5" fmla="*/ 6 h 12"/>
                <a:gd name="T6" fmla="*/ 6 w 55"/>
                <a:gd name="T7" fmla="*/ 0 h 12"/>
                <a:gd name="T8" fmla="*/ 49 w 55"/>
                <a:gd name="T9" fmla="*/ 0 h 12"/>
                <a:gd name="T10" fmla="*/ 55 w 55"/>
                <a:gd name="T11" fmla="*/ 6 h 12"/>
                <a:gd name="T12" fmla="*/ 49 w 5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">
                  <a:moveTo>
                    <a:pt x="4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6"/>
                  </a:cubicBezTo>
                  <a:cubicBezTo>
                    <a:pt x="55" y="9"/>
                    <a:pt x="52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reeform 50"/>
            <p:cNvSpPr>
              <a:spLocks/>
            </p:cNvSpPr>
            <p:nvPr/>
          </p:nvSpPr>
          <p:spPr bwMode="auto">
            <a:xfrm>
              <a:off x="460376" y="22226"/>
              <a:ext cx="628650" cy="52388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reeform 51"/>
            <p:cNvSpPr>
              <a:spLocks/>
            </p:cNvSpPr>
            <p:nvPr/>
          </p:nvSpPr>
          <p:spPr bwMode="auto">
            <a:xfrm>
              <a:off x="460376" y="255588"/>
              <a:ext cx="628650" cy="50800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reeform 52"/>
            <p:cNvSpPr>
              <a:spLocks/>
            </p:cNvSpPr>
            <p:nvPr/>
          </p:nvSpPr>
          <p:spPr bwMode="auto">
            <a:xfrm>
              <a:off x="14288" y="487363"/>
              <a:ext cx="1074738" cy="52388"/>
            </a:xfrm>
            <a:custGeom>
              <a:avLst/>
              <a:gdLst>
                <a:gd name="T0" fmla="*/ 245 w 251"/>
                <a:gd name="T1" fmla="*/ 12 h 12"/>
                <a:gd name="T2" fmla="*/ 6 w 251"/>
                <a:gd name="T3" fmla="*/ 12 h 12"/>
                <a:gd name="T4" fmla="*/ 0 w 251"/>
                <a:gd name="T5" fmla="*/ 6 h 12"/>
                <a:gd name="T6" fmla="*/ 6 w 251"/>
                <a:gd name="T7" fmla="*/ 0 h 12"/>
                <a:gd name="T8" fmla="*/ 245 w 251"/>
                <a:gd name="T9" fmla="*/ 0 h 12"/>
                <a:gd name="T10" fmla="*/ 251 w 251"/>
                <a:gd name="T11" fmla="*/ 6 h 12"/>
                <a:gd name="T12" fmla="*/ 245 w 2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12">
                  <a:moveTo>
                    <a:pt x="2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9" y="0"/>
                    <a:pt x="251" y="3"/>
                    <a:pt x="251" y="6"/>
                  </a:cubicBezTo>
                  <a:cubicBezTo>
                    <a:pt x="251" y="9"/>
                    <a:pt x="249" y="12"/>
                    <a:pt x="24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reeform 53"/>
            <p:cNvSpPr>
              <a:spLocks/>
            </p:cNvSpPr>
            <p:nvPr/>
          </p:nvSpPr>
          <p:spPr bwMode="auto">
            <a:xfrm>
              <a:off x="14288" y="720726"/>
              <a:ext cx="642938" cy="50800"/>
            </a:xfrm>
            <a:custGeom>
              <a:avLst/>
              <a:gdLst>
                <a:gd name="T0" fmla="*/ 144 w 150"/>
                <a:gd name="T1" fmla="*/ 12 h 12"/>
                <a:gd name="T2" fmla="*/ 6 w 150"/>
                <a:gd name="T3" fmla="*/ 12 h 12"/>
                <a:gd name="T4" fmla="*/ 0 w 150"/>
                <a:gd name="T5" fmla="*/ 6 h 12"/>
                <a:gd name="T6" fmla="*/ 6 w 150"/>
                <a:gd name="T7" fmla="*/ 0 h 12"/>
                <a:gd name="T8" fmla="*/ 144 w 150"/>
                <a:gd name="T9" fmla="*/ 0 h 12"/>
                <a:gd name="T10" fmla="*/ 150 w 150"/>
                <a:gd name="T11" fmla="*/ 6 h 12"/>
                <a:gd name="T12" fmla="*/ 144 w 15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">
                  <a:moveTo>
                    <a:pt x="14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0"/>
                    <a:pt x="150" y="3"/>
                    <a:pt x="150" y="6"/>
                  </a:cubicBezTo>
                  <a:cubicBezTo>
                    <a:pt x="150" y="9"/>
                    <a:pt x="14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4" name="Freeform 54"/>
            <p:cNvSpPr>
              <a:spLocks/>
            </p:cNvSpPr>
            <p:nvPr/>
          </p:nvSpPr>
          <p:spPr bwMode="auto">
            <a:xfrm>
              <a:off x="785813" y="720726"/>
              <a:ext cx="303213" cy="50800"/>
            </a:xfrm>
            <a:custGeom>
              <a:avLst/>
              <a:gdLst>
                <a:gd name="T0" fmla="*/ 65 w 71"/>
                <a:gd name="T1" fmla="*/ 12 h 12"/>
                <a:gd name="T2" fmla="*/ 6 w 71"/>
                <a:gd name="T3" fmla="*/ 12 h 12"/>
                <a:gd name="T4" fmla="*/ 0 w 71"/>
                <a:gd name="T5" fmla="*/ 6 h 12"/>
                <a:gd name="T6" fmla="*/ 6 w 71"/>
                <a:gd name="T7" fmla="*/ 0 h 12"/>
                <a:gd name="T8" fmla="*/ 65 w 71"/>
                <a:gd name="T9" fmla="*/ 0 h 12"/>
                <a:gd name="T10" fmla="*/ 71 w 71"/>
                <a:gd name="T11" fmla="*/ 6 h 12"/>
                <a:gd name="T12" fmla="*/ 65 w 7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2">
                  <a:moveTo>
                    <a:pt x="6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1" y="3"/>
                    <a:pt x="71" y="6"/>
                  </a:cubicBezTo>
                  <a:cubicBezTo>
                    <a:pt x="71" y="9"/>
                    <a:pt x="69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43" name="Freeform 62"/>
          <p:cNvSpPr>
            <a:spLocks noEditPoints="1"/>
          </p:cNvSpPr>
          <p:nvPr/>
        </p:nvSpPr>
        <p:spPr bwMode="auto">
          <a:xfrm>
            <a:off x="13017643" y="4765297"/>
            <a:ext cx="1493231" cy="1613516"/>
          </a:xfrm>
          <a:custGeom>
            <a:avLst/>
            <a:gdLst>
              <a:gd name="T0" fmla="*/ 26 w 458"/>
              <a:gd name="T1" fmla="*/ 460 h 495"/>
              <a:gd name="T2" fmla="*/ 70 w 458"/>
              <a:gd name="T3" fmla="*/ 440 h 495"/>
              <a:gd name="T4" fmla="*/ 0 w 458"/>
              <a:gd name="T5" fmla="*/ 282 h 495"/>
              <a:gd name="T6" fmla="*/ 132 w 458"/>
              <a:gd name="T7" fmla="*/ 0 h 495"/>
              <a:gd name="T8" fmla="*/ 147 w 458"/>
              <a:gd name="T9" fmla="*/ 297 h 495"/>
              <a:gd name="T10" fmla="*/ 96 w 458"/>
              <a:gd name="T11" fmla="*/ 448 h 495"/>
              <a:gd name="T12" fmla="*/ 309 w 458"/>
              <a:gd name="T13" fmla="*/ 440 h 495"/>
              <a:gd name="T14" fmla="*/ 219 w 458"/>
              <a:gd name="T15" fmla="*/ 354 h 495"/>
              <a:gd name="T16" fmla="*/ 202 w 458"/>
              <a:gd name="T17" fmla="*/ 326 h 495"/>
              <a:gd name="T18" fmla="*/ 172 w 458"/>
              <a:gd name="T19" fmla="*/ 136 h 495"/>
              <a:gd name="T20" fmla="*/ 427 w 458"/>
              <a:gd name="T21" fmla="*/ 106 h 495"/>
              <a:gd name="T22" fmla="*/ 449 w 458"/>
              <a:gd name="T23" fmla="*/ 317 h 495"/>
              <a:gd name="T24" fmla="*/ 388 w 458"/>
              <a:gd name="T25" fmla="*/ 347 h 495"/>
              <a:gd name="T26" fmla="*/ 404 w 458"/>
              <a:gd name="T27" fmla="*/ 392 h 495"/>
              <a:gd name="T28" fmla="*/ 335 w 458"/>
              <a:gd name="T29" fmla="*/ 448 h 495"/>
              <a:gd name="T30" fmla="*/ 440 w 458"/>
              <a:gd name="T31" fmla="*/ 473 h 495"/>
              <a:gd name="T32" fmla="*/ 315 w 458"/>
              <a:gd name="T33" fmla="*/ 495 h 495"/>
              <a:gd name="T34" fmla="*/ 96 w 458"/>
              <a:gd name="T35" fmla="*/ 487 h 495"/>
              <a:gd name="T36" fmla="*/ 49 w 458"/>
              <a:gd name="T37" fmla="*/ 473 h 495"/>
              <a:gd name="T38" fmla="*/ 300 w 458"/>
              <a:gd name="T39" fmla="*/ 467 h 495"/>
              <a:gd name="T40" fmla="*/ 330 w 458"/>
              <a:gd name="T41" fmla="*/ 467 h 495"/>
              <a:gd name="T42" fmla="*/ 388 w 458"/>
              <a:gd name="T43" fmla="*/ 360 h 495"/>
              <a:gd name="T44" fmla="*/ 232 w 458"/>
              <a:gd name="T45" fmla="*/ 360 h 495"/>
              <a:gd name="T46" fmla="*/ 375 w 458"/>
              <a:gd name="T47" fmla="*/ 326 h 495"/>
              <a:gd name="T48" fmla="*/ 229 w 458"/>
              <a:gd name="T49" fmla="*/ 226 h 495"/>
              <a:gd name="T50" fmla="*/ 219 w 458"/>
              <a:gd name="T51" fmla="*/ 217 h 495"/>
              <a:gd name="T52" fmla="*/ 255 w 458"/>
              <a:gd name="T53" fmla="*/ 157 h 495"/>
              <a:gd name="T54" fmla="*/ 214 w 458"/>
              <a:gd name="T55" fmla="*/ 189 h 495"/>
              <a:gd name="T56" fmla="*/ 197 w 458"/>
              <a:gd name="T57" fmla="*/ 132 h 495"/>
              <a:gd name="T58" fmla="*/ 432 w 458"/>
              <a:gd name="T59" fmla="*/ 132 h 495"/>
              <a:gd name="T60" fmla="*/ 445 w 458"/>
              <a:gd name="T61" fmla="*/ 136 h 495"/>
              <a:gd name="T62" fmla="*/ 190 w 458"/>
              <a:gd name="T63" fmla="*/ 124 h 495"/>
              <a:gd name="T64" fmla="*/ 192 w 458"/>
              <a:gd name="T65" fmla="*/ 254 h 495"/>
              <a:gd name="T66" fmla="*/ 423 w 458"/>
              <a:gd name="T67" fmla="*/ 142 h 495"/>
              <a:gd name="T68" fmla="*/ 205 w 458"/>
              <a:gd name="T69" fmla="*/ 146 h 495"/>
              <a:gd name="T70" fmla="*/ 302 w 458"/>
              <a:gd name="T71" fmla="*/ 278 h 495"/>
              <a:gd name="T72" fmla="*/ 302 w 458"/>
              <a:gd name="T73" fmla="*/ 303 h 495"/>
              <a:gd name="T74" fmla="*/ 333 w 458"/>
              <a:gd name="T75" fmla="*/ 291 h 495"/>
              <a:gd name="T76" fmla="*/ 315 w 458"/>
              <a:gd name="T77" fmla="*/ 286 h 495"/>
              <a:gd name="T78" fmla="*/ 315 w 458"/>
              <a:gd name="T79" fmla="*/ 296 h 495"/>
              <a:gd name="T80" fmla="*/ 318 w 458"/>
              <a:gd name="T81" fmla="*/ 287 h 495"/>
              <a:gd name="T82" fmla="*/ 190 w 458"/>
              <a:gd name="T83" fmla="*/ 308 h 495"/>
              <a:gd name="T84" fmla="*/ 440 w 458"/>
              <a:gd name="T85" fmla="*/ 308 h 495"/>
              <a:gd name="T86" fmla="*/ 140 w 458"/>
              <a:gd name="T87" fmla="*/ 168 h 495"/>
              <a:gd name="T88" fmla="*/ 140 w 458"/>
              <a:gd name="T89" fmla="*/ 181 h 495"/>
              <a:gd name="T90" fmla="*/ 21 w 458"/>
              <a:gd name="T91" fmla="*/ 290 h 495"/>
              <a:gd name="T92" fmla="*/ 140 w 458"/>
              <a:gd name="T93" fmla="*/ 181 h 495"/>
              <a:gd name="T94" fmla="*/ 138 w 458"/>
              <a:gd name="T95" fmla="*/ 16 h 495"/>
              <a:gd name="T96" fmla="*/ 13 w 458"/>
              <a:gd name="T97" fmla="*/ 21 h 495"/>
              <a:gd name="T98" fmla="*/ 13 w 458"/>
              <a:gd name="T99" fmla="*/ 123 h 495"/>
              <a:gd name="T100" fmla="*/ 96 w 458"/>
              <a:gd name="T101" fmla="*/ 200 h 495"/>
              <a:gd name="T102" fmla="*/ 96 w 458"/>
              <a:gd name="T103" fmla="*/ 227 h 495"/>
              <a:gd name="T104" fmla="*/ 123 w 458"/>
              <a:gd name="T105" fmla="*/ 227 h 495"/>
              <a:gd name="T106" fmla="*/ 114 w 458"/>
              <a:gd name="T107" fmla="*/ 209 h 495"/>
              <a:gd name="T108" fmla="*/ 103 w 458"/>
              <a:gd name="T109" fmla="*/ 213 h 495"/>
              <a:gd name="T110" fmla="*/ 114 w 458"/>
              <a:gd name="T111" fmla="*/ 218 h 495"/>
              <a:gd name="T112" fmla="*/ 109 w 458"/>
              <a:gd name="T113" fmla="*/ 237 h 495"/>
              <a:gd name="T114" fmla="*/ 109 w 458"/>
              <a:gd name="T115" fmla="*/ 282 h 495"/>
              <a:gd name="T116" fmla="*/ 109 w 458"/>
              <a:gd name="T117" fmla="*/ 237 h 495"/>
              <a:gd name="T118" fmla="*/ 100 w 458"/>
              <a:gd name="T119" fmla="*/ 260 h 495"/>
              <a:gd name="T120" fmla="*/ 119 w 458"/>
              <a:gd name="T121" fmla="*/ 260 h 495"/>
              <a:gd name="T122" fmla="*/ 66 w 458"/>
              <a:gd name="T123" fmla="*/ 457 h 495"/>
              <a:gd name="T124" fmla="*/ 87 w 458"/>
              <a:gd name="T125" fmla="*/ 478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8" h="495">
                <a:moveTo>
                  <a:pt x="49" y="473"/>
                </a:moveTo>
                <a:cubicBezTo>
                  <a:pt x="26" y="473"/>
                  <a:pt x="26" y="473"/>
                  <a:pt x="26" y="473"/>
                </a:cubicBezTo>
                <a:cubicBezTo>
                  <a:pt x="23" y="473"/>
                  <a:pt x="20" y="470"/>
                  <a:pt x="20" y="466"/>
                </a:cubicBezTo>
                <a:cubicBezTo>
                  <a:pt x="20" y="462"/>
                  <a:pt x="23" y="460"/>
                  <a:pt x="26" y="460"/>
                </a:cubicBezTo>
                <a:cubicBezTo>
                  <a:pt x="50" y="460"/>
                  <a:pt x="50" y="460"/>
                  <a:pt x="50" y="460"/>
                </a:cubicBezTo>
                <a:cubicBezTo>
                  <a:pt x="51" y="455"/>
                  <a:pt x="54" y="451"/>
                  <a:pt x="57" y="448"/>
                </a:cubicBezTo>
                <a:cubicBezTo>
                  <a:pt x="57" y="448"/>
                  <a:pt x="57" y="448"/>
                  <a:pt x="57" y="448"/>
                </a:cubicBezTo>
                <a:cubicBezTo>
                  <a:pt x="61" y="444"/>
                  <a:pt x="65" y="442"/>
                  <a:pt x="70" y="440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21" y="303"/>
                  <a:pt x="21" y="303"/>
                  <a:pt x="21" y="303"/>
                </a:cubicBezTo>
                <a:cubicBezTo>
                  <a:pt x="16" y="303"/>
                  <a:pt x="10" y="301"/>
                  <a:pt x="7" y="297"/>
                </a:cubicBezTo>
                <a:cubicBezTo>
                  <a:pt x="3" y="293"/>
                  <a:pt x="0" y="288"/>
                  <a:pt x="0" y="28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3" y="10"/>
                  <a:pt x="7" y="6"/>
                </a:cubicBezTo>
                <a:cubicBezTo>
                  <a:pt x="10" y="3"/>
                  <a:pt x="16" y="0"/>
                  <a:pt x="21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8" y="0"/>
                  <a:pt x="143" y="3"/>
                  <a:pt x="147" y="6"/>
                </a:cubicBezTo>
                <a:cubicBezTo>
                  <a:pt x="151" y="10"/>
                  <a:pt x="153" y="15"/>
                  <a:pt x="153" y="21"/>
                </a:cubicBezTo>
                <a:cubicBezTo>
                  <a:pt x="153" y="282"/>
                  <a:pt x="153" y="282"/>
                  <a:pt x="153" y="282"/>
                </a:cubicBezTo>
                <a:cubicBezTo>
                  <a:pt x="153" y="288"/>
                  <a:pt x="151" y="293"/>
                  <a:pt x="147" y="297"/>
                </a:cubicBezTo>
                <a:cubicBezTo>
                  <a:pt x="143" y="301"/>
                  <a:pt x="138" y="303"/>
                  <a:pt x="132" y="303"/>
                </a:cubicBezTo>
                <a:cubicBezTo>
                  <a:pt x="83" y="303"/>
                  <a:pt x="83" y="303"/>
                  <a:pt x="83" y="303"/>
                </a:cubicBezTo>
                <a:cubicBezTo>
                  <a:pt x="83" y="440"/>
                  <a:pt x="83" y="440"/>
                  <a:pt x="83" y="440"/>
                </a:cubicBezTo>
                <a:cubicBezTo>
                  <a:pt x="88" y="442"/>
                  <a:pt x="93" y="444"/>
                  <a:pt x="96" y="448"/>
                </a:cubicBezTo>
                <a:cubicBezTo>
                  <a:pt x="100" y="451"/>
                  <a:pt x="102" y="455"/>
                  <a:pt x="103" y="460"/>
                </a:cubicBezTo>
                <a:cubicBezTo>
                  <a:pt x="289" y="460"/>
                  <a:pt x="289" y="460"/>
                  <a:pt x="289" y="460"/>
                </a:cubicBezTo>
                <a:cubicBezTo>
                  <a:pt x="290" y="455"/>
                  <a:pt x="292" y="451"/>
                  <a:pt x="296" y="448"/>
                </a:cubicBezTo>
                <a:cubicBezTo>
                  <a:pt x="299" y="444"/>
                  <a:pt x="304" y="442"/>
                  <a:pt x="309" y="440"/>
                </a:cubicBezTo>
                <a:cubicBezTo>
                  <a:pt x="309" y="392"/>
                  <a:pt x="309" y="392"/>
                  <a:pt x="309" y="392"/>
                </a:cubicBezTo>
                <a:cubicBezTo>
                  <a:pt x="226" y="392"/>
                  <a:pt x="226" y="392"/>
                  <a:pt x="226" y="392"/>
                </a:cubicBezTo>
                <a:cubicBezTo>
                  <a:pt x="222" y="392"/>
                  <a:pt x="219" y="389"/>
                  <a:pt x="219" y="385"/>
                </a:cubicBezTo>
                <a:cubicBezTo>
                  <a:pt x="219" y="354"/>
                  <a:pt x="219" y="354"/>
                  <a:pt x="219" y="354"/>
                </a:cubicBezTo>
                <a:cubicBezTo>
                  <a:pt x="219" y="350"/>
                  <a:pt x="222" y="347"/>
                  <a:pt x="226" y="347"/>
                </a:cubicBezTo>
                <a:cubicBezTo>
                  <a:pt x="242" y="347"/>
                  <a:pt x="242" y="347"/>
                  <a:pt x="242" y="347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194" y="326"/>
                  <a:pt x="186" y="323"/>
                  <a:pt x="181" y="317"/>
                </a:cubicBezTo>
                <a:cubicBezTo>
                  <a:pt x="181" y="317"/>
                  <a:pt x="181" y="317"/>
                  <a:pt x="181" y="317"/>
                </a:cubicBezTo>
                <a:cubicBezTo>
                  <a:pt x="175" y="311"/>
                  <a:pt x="172" y="304"/>
                  <a:pt x="172" y="296"/>
                </a:cubicBezTo>
                <a:cubicBezTo>
                  <a:pt x="172" y="136"/>
                  <a:pt x="172" y="136"/>
                  <a:pt x="172" y="136"/>
                </a:cubicBezTo>
                <a:cubicBezTo>
                  <a:pt x="172" y="128"/>
                  <a:pt x="175" y="120"/>
                  <a:pt x="181" y="115"/>
                </a:cubicBezTo>
                <a:cubicBezTo>
                  <a:pt x="181" y="115"/>
                  <a:pt x="181" y="115"/>
                  <a:pt x="181" y="115"/>
                </a:cubicBezTo>
                <a:cubicBezTo>
                  <a:pt x="186" y="109"/>
                  <a:pt x="194" y="106"/>
                  <a:pt x="202" y="106"/>
                </a:cubicBezTo>
                <a:cubicBezTo>
                  <a:pt x="427" y="106"/>
                  <a:pt x="427" y="106"/>
                  <a:pt x="427" y="106"/>
                </a:cubicBezTo>
                <a:cubicBezTo>
                  <a:pt x="436" y="106"/>
                  <a:pt x="443" y="109"/>
                  <a:pt x="449" y="115"/>
                </a:cubicBezTo>
                <a:cubicBezTo>
                  <a:pt x="454" y="120"/>
                  <a:pt x="458" y="128"/>
                  <a:pt x="458" y="136"/>
                </a:cubicBezTo>
                <a:cubicBezTo>
                  <a:pt x="458" y="296"/>
                  <a:pt x="458" y="296"/>
                  <a:pt x="458" y="296"/>
                </a:cubicBezTo>
                <a:cubicBezTo>
                  <a:pt x="458" y="304"/>
                  <a:pt x="454" y="311"/>
                  <a:pt x="449" y="317"/>
                </a:cubicBezTo>
                <a:cubicBezTo>
                  <a:pt x="449" y="317"/>
                  <a:pt x="449" y="317"/>
                  <a:pt x="449" y="317"/>
                </a:cubicBezTo>
                <a:cubicBezTo>
                  <a:pt x="443" y="323"/>
                  <a:pt x="436" y="326"/>
                  <a:pt x="427" y="326"/>
                </a:cubicBezTo>
                <a:cubicBezTo>
                  <a:pt x="388" y="326"/>
                  <a:pt x="388" y="326"/>
                  <a:pt x="388" y="326"/>
                </a:cubicBezTo>
                <a:cubicBezTo>
                  <a:pt x="388" y="347"/>
                  <a:pt x="388" y="347"/>
                  <a:pt x="388" y="347"/>
                </a:cubicBezTo>
                <a:cubicBezTo>
                  <a:pt x="404" y="347"/>
                  <a:pt x="404" y="347"/>
                  <a:pt x="404" y="347"/>
                </a:cubicBezTo>
                <a:cubicBezTo>
                  <a:pt x="408" y="347"/>
                  <a:pt x="411" y="350"/>
                  <a:pt x="411" y="354"/>
                </a:cubicBezTo>
                <a:cubicBezTo>
                  <a:pt x="411" y="385"/>
                  <a:pt x="411" y="385"/>
                  <a:pt x="411" y="385"/>
                </a:cubicBezTo>
                <a:cubicBezTo>
                  <a:pt x="411" y="389"/>
                  <a:pt x="408" y="392"/>
                  <a:pt x="404" y="392"/>
                </a:cubicBezTo>
                <a:cubicBezTo>
                  <a:pt x="322" y="392"/>
                  <a:pt x="322" y="392"/>
                  <a:pt x="322" y="392"/>
                </a:cubicBezTo>
                <a:cubicBezTo>
                  <a:pt x="322" y="440"/>
                  <a:pt x="322" y="440"/>
                  <a:pt x="322" y="440"/>
                </a:cubicBezTo>
                <a:cubicBezTo>
                  <a:pt x="327" y="442"/>
                  <a:pt x="331" y="444"/>
                  <a:pt x="335" y="448"/>
                </a:cubicBezTo>
                <a:cubicBezTo>
                  <a:pt x="335" y="448"/>
                  <a:pt x="335" y="448"/>
                  <a:pt x="335" y="448"/>
                </a:cubicBezTo>
                <a:cubicBezTo>
                  <a:pt x="338" y="451"/>
                  <a:pt x="341" y="455"/>
                  <a:pt x="342" y="460"/>
                </a:cubicBezTo>
                <a:cubicBezTo>
                  <a:pt x="440" y="460"/>
                  <a:pt x="440" y="460"/>
                  <a:pt x="440" y="460"/>
                </a:cubicBezTo>
                <a:cubicBezTo>
                  <a:pt x="444" y="460"/>
                  <a:pt x="447" y="462"/>
                  <a:pt x="447" y="466"/>
                </a:cubicBezTo>
                <a:cubicBezTo>
                  <a:pt x="447" y="470"/>
                  <a:pt x="444" y="473"/>
                  <a:pt x="440" y="473"/>
                </a:cubicBezTo>
                <a:cubicBezTo>
                  <a:pt x="343" y="473"/>
                  <a:pt x="343" y="473"/>
                  <a:pt x="343" y="473"/>
                </a:cubicBezTo>
                <a:cubicBezTo>
                  <a:pt x="341" y="478"/>
                  <a:pt x="339" y="483"/>
                  <a:pt x="335" y="487"/>
                </a:cubicBezTo>
                <a:cubicBezTo>
                  <a:pt x="335" y="487"/>
                  <a:pt x="335" y="487"/>
                  <a:pt x="335" y="487"/>
                </a:cubicBezTo>
                <a:cubicBezTo>
                  <a:pt x="330" y="492"/>
                  <a:pt x="323" y="495"/>
                  <a:pt x="315" y="495"/>
                </a:cubicBezTo>
                <a:cubicBezTo>
                  <a:pt x="308" y="495"/>
                  <a:pt x="301" y="492"/>
                  <a:pt x="296" y="487"/>
                </a:cubicBezTo>
                <a:cubicBezTo>
                  <a:pt x="292" y="483"/>
                  <a:pt x="289" y="478"/>
                  <a:pt x="288" y="473"/>
                </a:cubicBezTo>
                <a:cubicBezTo>
                  <a:pt x="104" y="473"/>
                  <a:pt x="104" y="473"/>
                  <a:pt x="104" y="473"/>
                </a:cubicBezTo>
                <a:cubicBezTo>
                  <a:pt x="103" y="478"/>
                  <a:pt x="100" y="483"/>
                  <a:pt x="96" y="487"/>
                </a:cubicBezTo>
                <a:cubicBezTo>
                  <a:pt x="91" y="492"/>
                  <a:pt x="84" y="495"/>
                  <a:pt x="77" y="495"/>
                </a:cubicBezTo>
                <a:cubicBezTo>
                  <a:pt x="69" y="495"/>
                  <a:pt x="62" y="492"/>
                  <a:pt x="57" y="487"/>
                </a:cubicBezTo>
                <a:cubicBezTo>
                  <a:pt x="57" y="487"/>
                  <a:pt x="57" y="487"/>
                  <a:pt x="57" y="487"/>
                </a:cubicBezTo>
                <a:cubicBezTo>
                  <a:pt x="53" y="483"/>
                  <a:pt x="50" y="478"/>
                  <a:pt x="49" y="473"/>
                </a:cubicBezTo>
                <a:close/>
                <a:moveTo>
                  <a:pt x="326" y="457"/>
                </a:moveTo>
                <a:cubicBezTo>
                  <a:pt x="323" y="454"/>
                  <a:pt x="319" y="453"/>
                  <a:pt x="315" y="453"/>
                </a:cubicBezTo>
                <a:cubicBezTo>
                  <a:pt x="311" y="453"/>
                  <a:pt x="307" y="454"/>
                  <a:pt x="305" y="457"/>
                </a:cubicBezTo>
                <a:cubicBezTo>
                  <a:pt x="302" y="460"/>
                  <a:pt x="300" y="463"/>
                  <a:pt x="300" y="467"/>
                </a:cubicBezTo>
                <a:cubicBezTo>
                  <a:pt x="300" y="471"/>
                  <a:pt x="302" y="475"/>
                  <a:pt x="305" y="478"/>
                </a:cubicBezTo>
                <a:cubicBezTo>
                  <a:pt x="307" y="480"/>
                  <a:pt x="311" y="482"/>
                  <a:pt x="315" y="482"/>
                </a:cubicBezTo>
                <a:cubicBezTo>
                  <a:pt x="319" y="482"/>
                  <a:pt x="323" y="480"/>
                  <a:pt x="326" y="478"/>
                </a:cubicBezTo>
                <a:cubicBezTo>
                  <a:pt x="328" y="475"/>
                  <a:pt x="330" y="471"/>
                  <a:pt x="330" y="467"/>
                </a:cubicBezTo>
                <a:cubicBezTo>
                  <a:pt x="330" y="463"/>
                  <a:pt x="328" y="460"/>
                  <a:pt x="326" y="457"/>
                </a:cubicBezTo>
                <a:close/>
                <a:moveTo>
                  <a:pt x="398" y="379"/>
                </a:moveTo>
                <a:cubicBezTo>
                  <a:pt x="398" y="360"/>
                  <a:pt x="398" y="360"/>
                  <a:pt x="398" y="360"/>
                </a:cubicBezTo>
                <a:cubicBezTo>
                  <a:pt x="388" y="360"/>
                  <a:pt x="388" y="360"/>
                  <a:pt x="388" y="360"/>
                </a:cubicBezTo>
                <a:cubicBezTo>
                  <a:pt x="382" y="360"/>
                  <a:pt x="382" y="360"/>
                  <a:pt x="382" y="360"/>
                </a:cubicBezTo>
                <a:cubicBezTo>
                  <a:pt x="249" y="360"/>
                  <a:pt x="249" y="360"/>
                  <a:pt x="249" y="360"/>
                </a:cubicBezTo>
                <a:cubicBezTo>
                  <a:pt x="242" y="360"/>
                  <a:pt x="242" y="360"/>
                  <a:pt x="242" y="360"/>
                </a:cubicBezTo>
                <a:cubicBezTo>
                  <a:pt x="232" y="360"/>
                  <a:pt x="232" y="360"/>
                  <a:pt x="232" y="360"/>
                </a:cubicBezTo>
                <a:cubicBezTo>
                  <a:pt x="232" y="379"/>
                  <a:pt x="232" y="379"/>
                  <a:pt x="232" y="379"/>
                </a:cubicBezTo>
                <a:cubicBezTo>
                  <a:pt x="398" y="379"/>
                  <a:pt x="398" y="379"/>
                  <a:pt x="398" y="379"/>
                </a:cubicBezTo>
                <a:close/>
                <a:moveTo>
                  <a:pt x="375" y="347"/>
                </a:moveTo>
                <a:cubicBezTo>
                  <a:pt x="375" y="326"/>
                  <a:pt x="375" y="326"/>
                  <a:pt x="375" y="326"/>
                </a:cubicBezTo>
                <a:cubicBezTo>
                  <a:pt x="255" y="326"/>
                  <a:pt x="255" y="326"/>
                  <a:pt x="255" y="326"/>
                </a:cubicBezTo>
                <a:cubicBezTo>
                  <a:pt x="255" y="347"/>
                  <a:pt x="255" y="347"/>
                  <a:pt x="255" y="347"/>
                </a:cubicBezTo>
                <a:cubicBezTo>
                  <a:pt x="375" y="347"/>
                  <a:pt x="375" y="347"/>
                  <a:pt x="375" y="347"/>
                </a:cubicBezTo>
                <a:close/>
                <a:moveTo>
                  <a:pt x="229" y="226"/>
                </a:moveTo>
                <a:cubicBezTo>
                  <a:pt x="287" y="166"/>
                  <a:pt x="287" y="166"/>
                  <a:pt x="287" y="166"/>
                </a:cubicBezTo>
                <a:cubicBezTo>
                  <a:pt x="289" y="163"/>
                  <a:pt x="289" y="159"/>
                  <a:pt x="286" y="157"/>
                </a:cubicBezTo>
                <a:cubicBezTo>
                  <a:pt x="284" y="154"/>
                  <a:pt x="280" y="154"/>
                  <a:pt x="277" y="157"/>
                </a:cubicBezTo>
                <a:cubicBezTo>
                  <a:pt x="219" y="217"/>
                  <a:pt x="219" y="217"/>
                  <a:pt x="219" y="217"/>
                </a:cubicBezTo>
                <a:cubicBezTo>
                  <a:pt x="217" y="220"/>
                  <a:pt x="217" y="224"/>
                  <a:pt x="219" y="226"/>
                </a:cubicBezTo>
                <a:cubicBezTo>
                  <a:pt x="222" y="229"/>
                  <a:pt x="226" y="229"/>
                  <a:pt x="229" y="226"/>
                </a:cubicBezTo>
                <a:close/>
                <a:moveTo>
                  <a:pt x="223" y="189"/>
                </a:moveTo>
                <a:cubicBezTo>
                  <a:pt x="255" y="157"/>
                  <a:pt x="255" y="157"/>
                  <a:pt x="255" y="157"/>
                </a:cubicBezTo>
                <a:cubicBezTo>
                  <a:pt x="258" y="155"/>
                  <a:pt x="258" y="151"/>
                  <a:pt x="255" y="148"/>
                </a:cubicBezTo>
                <a:cubicBezTo>
                  <a:pt x="253" y="145"/>
                  <a:pt x="249" y="145"/>
                  <a:pt x="246" y="148"/>
                </a:cubicBezTo>
                <a:cubicBezTo>
                  <a:pt x="214" y="180"/>
                  <a:pt x="214" y="180"/>
                  <a:pt x="214" y="180"/>
                </a:cubicBezTo>
                <a:cubicBezTo>
                  <a:pt x="212" y="182"/>
                  <a:pt x="212" y="186"/>
                  <a:pt x="214" y="189"/>
                </a:cubicBezTo>
                <a:cubicBezTo>
                  <a:pt x="217" y="191"/>
                  <a:pt x="221" y="191"/>
                  <a:pt x="223" y="189"/>
                </a:cubicBezTo>
                <a:close/>
                <a:moveTo>
                  <a:pt x="192" y="254"/>
                </a:moveTo>
                <a:cubicBezTo>
                  <a:pt x="192" y="146"/>
                  <a:pt x="192" y="146"/>
                  <a:pt x="192" y="146"/>
                </a:cubicBezTo>
                <a:cubicBezTo>
                  <a:pt x="192" y="141"/>
                  <a:pt x="194" y="136"/>
                  <a:pt x="197" y="132"/>
                </a:cubicBezTo>
                <a:cubicBezTo>
                  <a:pt x="201" y="129"/>
                  <a:pt x="206" y="127"/>
                  <a:pt x="211" y="127"/>
                </a:cubicBezTo>
                <a:cubicBezTo>
                  <a:pt x="418" y="127"/>
                  <a:pt x="418" y="127"/>
                  <a:pt x="418" y="127"/>
                </a:cubicBezTo>
                <a:cubicBezTo>
                  <a:pt x="424" y="127"/>
                  <a:pt x="428" y="129"/>
                  <a:pt x="432" y="132"/>
                </a:cubicBezTo>
                <a:cubicBezTo>
                  <a:pt x="432" y="132"/>
                  <a:pt x="432" y="132"/>
                  <a:pt x="432" y="132"/>
                </a:cubicBezTo>
                <a:cubicBezTo>
                  <a:pt x="435" y="136"/>
                  <a:pt x="438" y="141"/>
                  <a:pt x="438" y="146"/>
                </a:cubicBezTo>
                <a:cubicBezTo>
                  <a:pt x="438" y="254"/>
                  <a:pt x="438" y="254"/>
                  <a:pt x="438" y="254"/>
                </a:cubicBezTo>
                <a:cubicBezTo>
                  <a:pt x="445" y="254"/>
                  <a:pt x="445" y="254"/>
                  <a:pt x="445" y="254"/>
                </a:cubicBezTo>
                <a:cubicBezTo>
                  <a:pt x="445" y="136"/>
                  <a:pt x="445" y="136"/>
                  <a:pt x="445" y="136"/>
                </a:cubicBezTo>
                <a:cubicBezTo>
                  <a:pt x="445" y="132"/>
                  <a:pt x="443" y="127"/>
                  <a:pt x="440" y="124"/>
                </a:cubicBezTo>
                <a:cubicBezTo>
                  <a:pt x="437" y="121"/>
                  <a:pt x="432" y="119"/>
                  <a:pt x="427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7" y="119"/>
                  <a:pt x="193" y="121"/>
                  <a:pt x="190" y="124"/>
                </a:cubicBezTo>
                <a:cubicBezTo>
                  <a:pt x="190" y="124"/>
                  <a:pt x="190" y="124"/>
                  <a:pt x="190" y="124"/>
                </a:cubicBezTo>
                <a:cubicBezTo>
                  <a:pt x="187" y="127"/>
                  <a:pt x="185" y="132"/>
                  <a:pt x="185" y="136"/>
                </a:cubicBezTo>
                <a:cubicBezTo>
                  <a:pt x="185" y="254"/>
                  <a:pt x="185" y="254"/>
                  <a:pt x="185" y="254"/>
                </a:cubicBezTo>
                <a:cubicBezTo>
                  <a:pt x="192" y="254"/>
                  <a:pt x="192" y="254"/>
                  <a:pt x="192" y="254"/>
                </a:cubicBezTo>
                <a:close/>
                <a:moveTo>
                  <a:pt x="424" y="254"/>
                </a:moveTo>
                <a:cubicBezTo>
                  <a:pt x="424" y="146"/>
                  <a:pt x="424" y="146"/>
                  <a:pt x="424" y="146"/>
                </a:cubicBezTo>
                <a:cubicBezTo>
                  <a:pt x="424" y="144"/>
                  <a:pt x="424" y="143"/>
                  <a:pt x="423" y="142"/>
                </a:cubicBezTo>
                <a:cubicBezTo>
                  <a:pt x="423" y="142"/>
                  <a:pt x="423" y="142"/>
                  <a:pt x="423" y="142"/>
                </a:cubicBezTo>
                <a:cubicBezTo>
                  <a:pt x="422" y="140"/>
                  <a:pt x="420" y="140"/>
                  <a:pt x="418" y="140"/>
                </a:cubicBezTo>
                <a:cubicBezTo>
                  <a:pt x="211" y="140"/>
                  <a:pt x="211" y="140"/>
                  <a:pt x="211" y="140"/>
                </a:cubicBezTo>
                <a:cubicBezTo>
                  <a:pt x="209" y="140"/>
                  <a:pt x="208" y="140"/>
                  <a:pt x="207" y="142"/>
                </a:cubicBezTo>
                <a:cubicBezTo>
                  <a:pt x="206" y="143"/>
                  <a:pt x="205" y="144"/>
                  <a:pt x="205" y="146"/>
                </a:cubicBezTo>
                <a:cubicBezTo>
                  <a:pt x="205" y="254"/>
                  <a:pt x="205" y="254"/>
                  <a:pt x="205" y="254"/>
                </a:cubicBezTo>
                <a:cubicBezTo>
                  <a:pt x="424" y="254"/>
                  <a:pt x="424" y="254"/>
                  <a:pt x="424" y="254"/>
                </a:cubicBezTo>
                <a:close/>
                <a:moveTo>
                  <a:pt x="315" y="273"/>
                </a:moveTo>
                <a:cubicBezTo>
                  <a:pt x="310" y="273"/>
                  <a:pt x="305" y="275"/>
                  <a:pt x="302" y="278"/>
                </a:cubicBezTo>
                <a:cubicBezTo>
                  <a:pt x="302" y="278"/>
                  <a:pt x="302" y="278"/>
                  <a:pt x="302" y="278"/>
                </a:cubicBezTo>
                <a:cubicBezTo>
                  <a:pt x="299" y="281"/>
                  <a:pt x="297" y="286"/>
                  <a:pt x="297" y="291"/>
                </a:cubicBezTo>
                <a:cubicBezTo>
                  <a:pt x="297" y="296"/>
                  <a:pt x="299" y="300"/>
                  <a:pt x="302" y="303"/>
                </a:cubicBezTo>
                <a:cubicBezTo>
                  <a:pt x="302" y="303"/>
                  <a:pt x="302" y="303"/>
                  <a:pt x="302" y="303"/>
                </a:cubicBezTo>
                <a:cubicBezTo>
                  <a:pt x="305" y="307"/>
                  <a:pt x="310" y="309"/>
                  <a:pt x="315" y="309"/>
                </a:cubicBezTo>
                <a:cubicBezTo>
                  <a:pt x="320" y="309"/>
                  <a:pt x="324" y="307"/>
                  <a:pt x="327" y="303"/>
                </a:cubicBezTo>
                <a:cubicBezTo>
                  <a:pt x="327" y="303"/>
                  <a:pt x="327" y="303"/>
                  <a:pt x="327" y="303"/>
                </a:cubicBezTo>
                <a:cubicBezTo>
                  <a:pt x="331" y="300"/>
                  <a:pt x="333" y="296"/>
                  <a:pt x="333" y="291"/>
                </a:cubicBezTo>
                <a:cubicBezTo>
                  <a:pt x="333" y="286"/>
                  <a:pt x="331" y="281"/>
                  <a:pt x="327" y="278"/>
                </a:cubicBezTo>
                <a:cubicBezTo>
                  <a:pt x="324" y="275"/>
                  <a:pt x="320" y="273"/>
                  <a:pt x="315" y="273"/>
                </a:cubicBezTo>
                <a:close/>
                <a:moveTo>
                  <a:pt x="318" y="287"/>
                </a:moveTo>
                <a:cubicBezTo>
                  <a:pt x="317" y="287"/>
                  <a:pt x="316" y="286"/>
                  <a:pt x="315" y="286"/>
                </a:cubicBezTo>
                <a:cubicBezTo>
                  <a:pt x="313" y="286"/>
                  <a:pt x="312" y="287"/>
                  <a:pt x="311" y="287"/>
                </a:cubicBezTo>
                <a:cubicBezTo>
                  <a:pt x="311" y="288"/>
                  <a:pt x="310" y="289"/>
                  <a:pt x="310" y="291"/>
                </a:cubicBezTo>
                <a:cubicBezTo>
                  <a:pt x="310" y="292"/>
                  <a:pt x="311" y="293"/>
                  <a:pt x="311" y="294"/>
                </a:cubicBezTo>
                <a:cubicBezTo>
                  <a:pt x="312" y="295"/>
                  <a:pt x="313" y="296"/>
                  <a:pt x="315" y="296"/>
                </a:cubicBezTo>
                <a:cubicBezTo>
                  <a:pt x="316" y="296"/>
                  <a:pt x="317" y="295"/>
                  <a:pt x="318" y="294"/>
                </a:cubicBezTo>
                <a:cubicBezTo>
                  <a:pt x="318" y="294"/>
                  <a:pt x="318" y="294"/>
                  <a:pt x="318" y="294"/>
                </a:cubicBezTo>
                <a:cubicBezTo>
                  <a:pt x="319" y="293"/>
                  <a:pt x="319" y="292"/>
                  <a:pt x="319" y="291"/>
                </a:cubicBezTo>
                <a:cubicBezTo>
                  <a:pt x="319" y="289"/>
                  <a:pt x="319" y="288"/>
                  <a:pt x="318" y="287"/>
                </a:cubicBezTo>
                <a:close/>
                <a:moveTo>
                  <a:pt x="445" y="267"/>
                </a:moveTo>
                <a:cubicBezTo>
                  <a:pt x="185" y="267"/>
                  <a:pt x="185" y="267"/>
                  <a:pt x="185" y="267"/>
                </a:cubicBezTo>
                <a:cubicBezTo>
                  <a:pt x="185" y="296"/>
                  <a:pt x="185" y="296"/>
                  <a:pt x="185" y="296"/>
                </a:cubicBezTo>
                <a:cubicBezTo>
                  <a:pt x="185" y="300"/>
                  <a:pt x="187" y="305"/>
                  <a:pt x="190" y="308"/>
                </a:cubicBezTo>
                <a:cubicBezTo>
                  <a:pt x="193" y="311"/>
                  <a:pt x="197" y="313"/>
                  <a:pt x="202" y="313"/>
                </a:cubicBezTo>
                <a:cubicBezTo>
                  <a:pt x="427" y="313"/>
                  <a:pt x="427" y="313"/>
                  <a:pt x="427" y="313"/>
                </a:cubicBezTo>
                <a:cubicBezTo>
                  <a:pt x="432" y="313"/>
                  <a:pt x="437" y="311"/>
                  <a:pt x="440" y="308"/>
                </a:cubicBezTo>
                <a:cubicBezTo>
                  <a:pt x="440" y="308"/>
                  <a:pt x="440" y="308"/>
                  <a:pt x="440" y="308"/>
                </a:cubicBezTo>
                <a:cubicBezTo>
                  <a:pt x="443" y="305"/>
                  <a:pt x="445" y="300"/>
                  <a:pt x="445" y="296"/>
                </a:cubicBezTo>
                <a:cubicBezTo>
                  <a:pt x="445" y="267"/>
                  <a:pt x="445" y="267"/>
                  <a:pt x="445" y="267"/>
                </a:cubicBezTo>
                <a:close/>
                <a:moveTo>
                  <a:pt x="13" y="168"/>
                </a:moveTo>
                <a:cubicBezTo>
                  <a:pt x="140" y="168"/>
                  <a:pt x="140" y="168"/>
                  <a:pt x="140" y="168"/>
                </a:cubicBezTo>
                <a:cubicBezTo>
                  <a:pt x="140" y="136"/>
                  <a:pt x="140" y="136"/>
                  <a:pt x="140" y="136"/>
                </a:cubicBezTo>
                <a:cubicBezTo>
                  <a:pt x="13" y="136"/>
                  <a:pt x="13" y="136"/>
                  <a:pt x="13" y="136"/>
                </a:cubicBezTo>
                <a:cubicBezTo>
                  <a:pt x="13" y="168"/>
                  <a:pt x="13" y="168"/>
                  <a:pt x="13" y="168"/>
                </a:cubicBezTo>
                <a:close/>
                <a:moveTo>
                  <a:pt x="140" y="181"/>
                </a:moveTo>
                <a:cubicBezTo>
                  <a:pt x="13" y="181"/>
                  <a:pt x="13" y="181"/>
                  <a:pt x="13" y="181"/>
                </a:cubicBezTo>
                <a:cubicBezTo>
                  <a:pt x="13" y="282"/>
                  <a:pt x="13" y="282"/>
                  <a:pt x="13" y="282"/>
                </a:cubicBezTo>
                <a:cubicBezTo>
                  <a:pt x="13" y="284"/>
                  <a:pt x="14" y="286"/>
                  <a:pt x="16" y="288"/>
                </a:cubicBezTo>
                <a:cubicBezTo>
                  <a:pt x="17" y="289"/>
                  <a:pt x="19" y="290"/>
                  <a:pt x="21" y="290"/>
                </a:cubicBezTo>
                <a:cubicBezTo>
                  <a:pt x="132" y="290"/>
                  <a:pt x="132" y="290"/>
                  <a:pt x="132" y="290"/>
                </a:cubicBezTo>
                <a:cubicBezTo>
                  <a:pt x="134" y="290"/>
                  <a:pt x="136" y="289"/>
                  <a:pt x="138" y="288"/>
                </a:cubicBezTo>
                <a:cubicBezTo>
                  <a:pt x="139" y="286"/>
                  <a:pt x="140" y="284"/>
                  <a:pt x="140" y="282"/>
                </a:cubicBezTo>
                <a:cubicBezTo>
                  <a:pt x="140" y="181"/>
                  <a:pt x="140" y="181"/>
                  <a:pt x="140" y="181"/>
                </a:cubicBezTo>
                <a:close/>
                <a:moveTo>
                  <a:pt x="13" y="78"/>
                </a:moveTo>
                <a:cubicBezTo>
                  <a:pt x="140" y="78"/>
                  <a:pt x="140" y="78"/>
                  <a:pt x="140" y="78"/>
                </a:cubicBezTo>
                <a:cubicBezTo>
                  <a:pt x="140" y="21"/>
                  <a:pt x="140" y="21"/>
                  <a:pt x="140" y="21"/>
                </a:cubicBezTo>
                <a:cubicBezTo>
                  <a:pt x="140" y="19"/>
                  <a:pt x="139" y="17"/>
                  <a:pt x="138" y="16"/>
                </a:cubicBezTo>
                <a:cubicBezTo>
                  <a:pt x="136" y="14"/>
                  <a:pt x="134" y="13"/>
                  <a:pt x="132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19" y="13"/>
                  <a:pt x="17" y="14"/>
                  <a:pt x="16" y="16"/>
                </a:cubicBezTo>
                <a:cubicBezTo>
                  <a:pt x="14" y="17"/>
                  <a:pt x="13" y="19"/>
                  <a:pt x="13" y="21"/>
                </a:cubicBezTo>
                <a:cubicBezTo>
                  <a:pt x="13" y="78"/>
                  <a:pt x="13" y="78"/>
                  <a:pt x="13" y="78"/>
                </a:cubicBezTo>
                <a:close/>
                <a:moveTo>
                  <a:pt x="140" y="91"/>
                </a:moveTo>
                <a:cubicBezTo>
                  <a:pt x="13" y="91"/>
                  <a:pt x="13" y="91"/>
                  <a:pt x="13" y="91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40" y="123"/>
                  <a:pt x="140" y="123"/>
                  <a:pt x="140" y="123"/>
                </a:cubicBezTo>
                <a:cubicBezTo>
                  <a:pt x="140" y="91"/>
                  <a:pt x="140" y="91"/>
                  <a:pt x="140" y="91"/>
                </a:cubicBezTo>
                <a:close/>
                <a:moveTo>
                  <a:pt x="109" y="194"/>
                </a:moveTo>
                <a:cubicBezTo>
                  <a:pt x="104" y="194"/>
                  <a:pt x="99" y="196"/>
                  <a:pt x="96" y="200"/>
                </a:cubicBezTo>
                <a:cubicBezTo>
                  <a:pt x="96" y="200"/>
                  <a:pt x="96" y="200"/>
                  <a:pt x="96" y="200"/>
                </a:cubicBezTo>
                <a:cubicBezTo>
                  <a:pt x="92" y="203"/>
                  <a:pt x="90" y="208"/>
                  <a:pt x="90" y="213"/>
                </a:cubicBezTo>
                <a:cubicBezTo>
                  <a:pt x="90" y="219"/>
                  <a:pt x="92" y="223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9" y="231"/>
                  <a:pt x="104" y="233"/>
                  <a:pt x="109" y="233"/>
                </a:cubicBezTo>
                <a:cubicBezTo>
                  <a:pt x="115" y="233"/>
                  <a:pt x="120" y="231"/>
                  <a:pt x="123" y="227"/>
                </a:cubicBezTo>
                <a:cubicBezTo>
                  <a:pt x="123" y="227"/>
                  <a:pt x="123" y="227"/>
                  <a:pt x="123" y="227"/>
                </a:cubicBezTo>
                <a:cubicBezTo>
                  <a:pt x="127" y="224"/>
                  <a:pt x="129" y="219"/>
                  <a:pt x="129" y="213"/>
                </a:cubicBezTo>
                <a:cubicBezTo>
                  <a:pt x="129" y="208"/>
                  <a:pt x="127" y="203"/>
                  <a:pt x="123" y="200"/>
                </a:cubicBezTo>
                <a:cubicBezTo>
                  <a:pt x="120" y="196"/>
                  <a:pt x="115" y="194"/>
                  <a:pt x="109" y="194"/>
                </a:cubicBezTo>
                <a:close/>
                <a:moveTo>
                  <a:pt x="114" y="209"/>
                </a:moveTo>
                <a:cubicBezTo>
                  <a:pt x="113" y="208"/>
                  <a:pt x="111" y="207"/>
                  <a:pt x="109" y="207"/>
                </a:cubicBezTo>
                <a:cubicBezTo>
                  <a:pt x="108" y="207"/>
                  <a:pt x="106" y="208"/>
                  <a:pt x="105" y="209"/>
                </a:cubicBezTo>
                <a:cubicBezTo>
                  <a:pt x="105" y="209"/>
                  <a:pt x="105" y="209"/>
                  <a:pt x="105" y="209"/>
                </a:cubicBezTo>
                <a:cubicBezTo>
                  <a:pt x="104" y="210"/>
                  <a:pt x="103" y="212"/>
                  <a:pt x="103" y="213"/>
                </a:cubicBezTo>
                <a:cubicBezTo>
                  <a:pt x="103" y="215"/>
                  <a:pt x="104" y="217"/>
                  <a:pt x="105" y="218"/>
                </a:cubicBezTo>
                <a:cubicBezTo>
                  <a:pt x="105" y="218"/>
                  <a:pt x="105" y="218"/>
                  <a:pt x="105" y="218"/>
                </a:cubicBezTo>
                <a:cubicBezTo>
                  <a:pt x="106" y="219"/>
                  <a:pt x="108" y="220"/>
                  <a:pt x="109" y="220"/>
                </a:cubicBezTo>
                <a:cubicBezTo>
                  <a:pt x="111" y="220"/>
                  <a:pt x="113" y="219"/>
                  <a:pt x="114" y="218"/>
                </a:cubicBezTo>
                <a:cubicBezTo>
                  <a:pt x="114" y="218"/>
                  <a:pt x="114" y="218"/>
                  <a:pt x="114" y="218"/>
                </a:cubicBezTo>
                <a:cubicBezTo>
                  <a:pt x="115" y="217"/>
                  <a:pt x="116" y="215"/>
                  <a:pt x="116" y="213"/>
                </a:cubicBezTo>
                <a:cubicBezTo>
                  <a:pt x="116" y="212"/>
                  <a:pt x="115" y="210"/>
                  <a:pt x="114" y="209"/>
                </a:cubicBezTo>
                <a:close/>
                <a:moveTo>
                  <a:pt x="109" y="237"/>
                </a:moveTo>
                <a:cubicBezTo>
                  <a:pt x="103" y="237"/>
                  <a:pt x="98" y="240"/>
                  <a:pt x="94" y="244"/>
                </a:cubicBezTo>
                <a:cubicBezTo>
                  <a:pt x="90" y="248"/>
                  <a:pt x="87" y="254"/>
                  <a:pt x="87" y="260"/>
                </a:cubicBezTo>
                <a:cubicBezTo>
                  <a:pt x="87" y="266"/>
                  <a:pt x="90" y="272"/>
                  <a:pt x="94" y="276"/>
                </a:cubicBezTo>
                <a:cubicBezTo>
                  <a:pt x="98" y="280"/>
                  <a:pt x="103" y="282"/>
                  <a:pt x="109" y="282"/>
                </a:cubicBezTo>
                <a:cubicBezTo>
                  <a:pt x="116" y="282"/>
                  <a:pt x="121" y="280"/>
                  <a:pt x="125" y="276"/>
                </a:cubicBezTo>
                <a:cubicBezTo>
                  <a:pt x="129" y="272"/>
                  <a:pt x="132" y="266"/>
                  <a:pt x="132" y="260"/>
                </a:cubicBezTo>
                <a:cubicBezTo>
                  <a:pt x="132" y="254"/>
                  <a:pt x="129" y="248"/>
                  <a:pt x="125" y="244"/>
                </a:cubicBezTo>
                <a:cubicBezTo>
                  <a:pt x="121" y="240"/>
                  <a:pt x="116" y="237"/>
                  <a:pt x="109" y="237"/>
                </a:cubicBezTo>
                <a:close/>
                <a:moveTo>
                  <a:pt x="116" y="253"/>
                </a:moveTo>
                <a:cubicBezTo>
                  <a:pt x="114" y="252"/>
                  <a:pt x="112" y="251"/>
                  <a:pt x="109" y="251"/>
                </a:cubicBezTo>
                <a:cubicBezTo>
                  <a:pt x="107" y="251"/>
                  <a:pt x="105" y="252"/>
                  <a:pt x="103" y="253"/>
                </a:cubicBezTo>
                <a:cubicBezTo>
                  <a:pt x="101" y="255"/>
                  <a:pt x="100" y="257"/>
                  <a:pt x="100" y="260"/>
                </a:cubicBezTo>
                <a:cubicBezTo>
                  <a:pt x="100" y="262"/>
                  <a:pt x="101" y="265"/>
                  <a:pt x="103" y="267"/>
                </a:cubicBezTo>
                <a:cubicBezTo>
                  <a:pt x="105" y="268"/>
                  <a:pt x="107" y="269"/>
                  <a:pt x="109" y="269"/>
                </a:cubicBezTo>
                <a:cubicBezTo>
                  <a:pt x="112" y="269"/>
                  <a:pt x="114" y="268"/>
                  <a:pt x="116" y="267"/>
                </a:cubicBezTo>
                <a:cubicBezTo>
                  <a:pt x="118" y="265"/>
                  <a:pt x="119" y="262"/>
                  <a:pt x="119" y="260"/>
                </a:cubicBezTo>
                <a:cubicBezTo>
                  <a:pt x="119" y="257"/>
                  <a:pt x="118" y="255"/>
                  <a:pt x="116" y="253"/>
                </a:cubicBezTo>
                <a:close/>
                <a:moveTo>
                  <a:pt x="87" y="457"/>
                </a:moveTo>
                <a:cubicBezTo>
                  <a:pt x="84" y="454"/>
                  <a:pt x="81" y="453"/>
                  <a:pt x="77" y="453"/>
                </a:cubicBezTo>
                <a:cubicBezTo>
                  <a:pt x="73" y="453"/>
                  <a:pt x="69" y="454"/>
                  <a:pt x="66" y="457"/>
                </a:cubicBezTo>
                <a:cubicBezTo>
                  <a:pt x="64" y="460"/>
                  <a:pt x="62" y="463"/>
                  <a:pt x="62" y="467"/>
                </a:cubicBezTo>
                <a:cubicBezTo>
                  <a:pt x="62" y="471"/>
                  <a:pt x="64" y="475"/>
                  <a:pt x="66" y="478"/>
                </a:cubicBezTo>
                <a:cubicBezTo>
                  <a:pt x="69" y="480"/>
                  <a:pt x="73" y="482"/>
                  <a:pt x="77" y="482"/>
                </a:cubicBezTo>
                <a:cubicBezTo>
                  <a:pt x="81" y="482"/>
                  <a:pt x="84" y="480"/>
                  <a:pt x="87" y="478"/>
                </a:cubicBezTo>
                <a:cubicBezTo>
                  <a:pt x="90" y="475"/>
                  <a:pt x="91" y="471"/>
                  <a:pt x="91" y="467"/>
                </a:cubicBezTo>
                <a:cubicBezTo>
                  <a:pt x="91" y="463"/>
                  <a:pt x="90" y="460"/>
                  <a:pt x="87" y="457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7" name="Freeform 66"/>
          <p:cNvSpPr>
            <a:spLocks noEditPoints="1"/>
          </p:cNvSpPr>
          <p:nvPr/>
        </p:nvSpPr>
        <p:spPr bwMode="auto">
          <a:xfrm>
            <a:off x="3801033" y="12058134"/>
            <a:ext cx="1836460" cy="1965618"/>
          </a:xfrm>
          <a:custGeom>
            <a:avLst/>
            <a:gdLst>
              <a:gd name="T0" fmla="*/ 63 w 338"/>
              <a:gd name="T1" fmla="*/ 30 h 362"/>
              <a:gd name="T2" fmla="*/ 63 w 338"/>
              <a:gd name="T3" fmla="*/ 5 h 362"/>
              <a:gd name="T4" fmla="*/ 164 w 338"/>
              <a:gd name="T5" fmla="*/ 34 h 362"/>
              <a:gd name="T6" fmla="*/ 181 w 338"/>
              <a:gd name="T7" fmla="*/ 30 h 362"/>
              <a:gd name="T8" fmla="*/ 244 w 338"/>
              <a:gd name="T9" fmla="*/ 11 h 362"/>
              <a:gd name="T10" fmla="*/ 301 w 338"/>
              <a:gd name="T11" fmla="*/ 30 h 362"/>
              <a:gd name="T12" fmla="*/ 233 w 338"/>
              <a:gd name="T13" fmla="*/ 86 h 362"/>
              <a:gd name="T14" fmla="*/ 333 w 338"/>
              <a:gd name="T15" fmla="*/ 136 h 362"/>
              <a:gd name="T16" fmla="*/ 303 w 338"/>
              <a:gd name="T17" fmla="*/ 179 h 362"/>
              <a:gd name="T18" fmla="*/ 303 w 338"/>
              <a:gd name="T19" fmla="*/ 188 h 362"/>
              <a:gd name="T20" fmla="*/ 333 w 338"/>
              <a:gd name="T21" fmla="*/ 231 h 362"/>
              <a:gd name="T22" fmla="*/ 256 w 338"/>
              <a:gd name="T23" fmla="*/ 270 h 362"/>
              <a:gd name="T24" fmla="*/ 229 w 338"/>
              <a:gd name="T25" fmla="*/ 362 h 362"/>
              <a:gd name="T26" fmla="*/ 174 w 338"/>
              <a:gd name="T27" fmla="*/ 328 h 362"/>
              <a:gd name="T28" fmla="*/ 156 w 338"/>
              <a:gd name="T29" fmla="*/ 333 h 362"/>
              <a:gd name="T30" fmla="*/ 127 w 338"/>
              <a:gd name="T31" fmla="*/ 345 h 362"/>
              <a:gd name="T32" fmla="*/ 104 w 338"/>
              <a:gd name="T33" fmla="*/ 328 h 362"/>
              <a:gd name="T34" fmla="*/ 17 w 338"/>
              <a:gd name="T35" fmla="*/ 261 h 362"/>
              <a:gd name="T36" fmla="*/ 34 w 338"/>
              <a:gd name="T37" fmla="*/ 238 h 362"/>
              <a:gd name="T38" fmla="*/ 0 w 338"/>
              <a:gd name="T39" fmla="*/ 183 h 362"/>
              <a:gd name="T40" fmla="*/ 34 w 338"/>
              <a:gd name="T41" fmla="*/ 129 h 362"/>
              <a:gd name="T42" fmla="*/ 30 w 338"/>
              <a:gd name="T43" fmla="*/ 111 h 362"/>
              <a:gd name="T44" fmla="*/ 12 w 338"/>
              <a:gd name="T45" fmla="*/ 129 h 362"/>
              <a:gd name="T46" fmla="*/ 12 w 338"/>
              <a:gd name="T47" fmla="*/ 118 h 362"/>
              <a:gd name="T48" fmla="*/ 23 w 338"/>
              <a:gd name="T49" fmla="*/ 238 h 362"/>
              <a:gd name="T50" fmla="*/ 17 w 338"/>
              <a:gd name="T51" fmla="*/ 191 h 362"/>
              <a:gd name="T52" fmla="*/ 229 w 338"/>
              <a:gd name="T53" fmla="*/ 352 h 362"/>
              <a:gd name="T54" fmla="*/ 223 w 338"/>
              <a:gd name="T55" fmla="*/ 340 h 362"/>
              <a:gd name="T56" fmla="*/ 114 w 338"/>
              <a:gd name="T57" fmla="*/ 340 h 362"/>
              <a:gd name="T58" fmla="*/ 169 w 338"/>
              <a:gd name="T59" fmla="*/ 352 h 362"/>
              <a:gd name="T60" fmla="*/ 161 w 338"/>
              <a:gd name="T61" fmla="*/ 345 h 362"/>
              <a:gd name="T62" fmla="*/ 315 w 338"/>
              <a:gd name="T63" fmla="*/ 129 h 362"/>
              <a:gd name="T64" fmla="*/ 326 w 338"/>
              <a:gd name="T65" fmla="*/ 238 h 362"/>
              <a:gd name="T66" fmla="*/ 328 w 338"/>
              <a:gd name="T67" fmla="*/ 243 h 362"/>
              <a:gd name="T68" fmla="*/ 326 w 338"/>
              <a:gd name="T69" fmla="*/ 189 h 362"/>
              <a:gd name="T70" fmla="*/ 169 w 338"/>
              <a:gd name="T71" fmla="*/ 25 h 362"/>
              <a:gd name="T72" fmla="*/ 281 w 338"/>
              <a:gd name="T73" fmla="*/ 17 h 362"/>
              <a:gd name="T74" fmla="*/ 226 w 338"/>
              <a:gd name="T75" fmla="*/ 197 h 362"/>
              <a:gd name="T76" fmla="*/ 217 w 338"/>
              <a:gd name="T77" fmla="*/ 126 h 362"/>
              <a:gd name="T78" fmla="*/ 217 w 338"/>
              <a:gd name="T79" fmla="*/ 240 h 362"/>
              <a:gd name="T80" fmla="*/ 254 w 338"/>
              <a:gd name="T81" fmla="*/ 175 h 362"/>
              <a:gd name="T82" fmla="*/ 217 w 338"/>
              <a:gd name="T83" fmla="*/ 250 h 362"/>
              <a:gd name="T84" fmla="*/ 82 w 338"/>
              <a:gd name="T85" fmla="*/ 246 h 362"/>
              <a:gd name="T86" fmla="*/ 256 w 338"/>
              <a:gd name="T87" fmla="*/ 200 h 362"/>
              <a:gd name="T88" fmla="*/ 89 w 338"/>
              <a:gd name="T89" fmla="*/ 103 h 362"/>
              <a:gd name="T90" fmla="*/ 230 w 338"/>
              <a:gd name="T91" fmla="*/ 121 h 362"/>
              <a:gd name="T92" fmla="*/ 82 w 338"/>
              <a:gd name="T93" fmla="*/ 191 h 362"/>
              <a:gd name="T94" fmla="*/ 181 w 338"/>
              <a:gd name="T95" fmla="*/ 231 h 362"/>
              <a:gd name="T96" fmla="*/ 129 w 338"/>
              <a:gd name="T97" fmla="*/ 211 h 362"/>
              <a:gd name="T98" fmla="*/ 217 w 338"/>
              <a:gd name="T99" fmla="*/ 196 h 362"/>
              <a:gd name="T100" fmla="*/ 145 w 338"/>
              <a:gd name="T101" fmla="*/ 196 h 362"/>
              <a:gd name="T102" fmla="*/ 129 w 338"/>
              <a:gd name="T103" fmla="*/ 186 h 362"/>
              <a:gd name="T104" fmla="*/ 181 w 338"/>
              <a:gd name="T105" fmla="*/ 181 h 362"/>
              <a:gd name="T106" fmla="*/ 129 w 338"/>
              <a:gd name="T107" fmla="*/ 160 h 362"/>
              <a:gd name="T108" fmla="*/ 217 w 338"/>
              <a:gd name="T109" fmla="*/ 145 h 362"/>
              <a:gd name="T110" fmla="*/ 145 w 338"/>
              <a:gd name="T111" fmla="*/ 145 h 362"/>
              <a:gd name="T112" fmla="*/ 129 w 338"/>
              <a:gd name="T113" fmla="*/ 135 h 362"/>
              <a:gd name="T114" fmla="*/ 50 w 338"/>
              <a:gd name="T115" fmla="*/ 25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8" h="362">
                <a:moveTo>
                  <a:pt x="105" y="86"/>
                </a:moveTo>
                <a:cubicBezTo>
                  <a:pt x="109" y="86"/>
                  <a:pt x="109" y="86"/>
                  <a:pt x="109" y="8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09" y="31"/>
                  <a:pt x="107" y="28"/>
                  <a:pt x="105" y="25"/>
                </a:cubicBezTo>
                <a:cubicBezTo>
                  <a:pt x="103" y="23"/>
                  <a:pt x="99" y="21"/>
                  <a:pt x="95" y="21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5"/>
                  <a:pt x="65" y="27"/>
                  <a:pt x="63" y="30"/>
                </a:cubicBezTo>
                <a:cubicBezTo>
                  <a:pt x="63" y="30"/>
                  <a:pt x="63" y="30"/>
                  <a:pt x="63" y="30"/>
                </a:cubicBezTo>
                <a:cubicBezTo>
                  <a:pt x="59" y="33"/>
                  <a:pt x="55" y="35"/>
                  <a:pt x="50" y="35"/>
                </a:cubicBezTo>
                <a:cubicBezTo>
                  <a:pt x="45" y="35"/>
                  <a:pt x="41" y="33"/>
                  <a:pt x="38" y="30"/>
                </a:cubicBezTo>
                <a:cubicBezTo>
                  <a:pt x="38" y="30"/>
                  <a:pt x="38" y="30"/>
                  <a:pt x="38" y="30"/>
                </a:cubicBezTo>
                <a:cubicBezTo>
                  <a:pt x="35" y="27"/>
                  <a:pt x="33" y="22"/>
                  <a:pt x="33" y="17"/>
                </a:cubicBezTo>
                <a:cubicBezTo>
                  <a:pt x="33" y="13"/>
                  <a:pt x="35" y="8"/>
                  <a:pt x="38" y="5"/>
                </a:cubicBezTo>
                <a:cubicBezTo>
                  <a:pt x="38" y="5"/>
                  <a:pt x="38" y="5"/>
                  <a:pt x="38" y="5"/>
                </a:cubicBezTo>
                <a:cubicBezTo>
                  <a:pt x="41" y="2"/>
                  <a:pt x="45" y="0"/>
                  <a:pt x="50" y="0"/>
                </a:cubicBezTo>
                <a:cubicBezTo>
                  <a:pt x="55" y="0"/>
                  <a:pt x="59" y="2"/>
                  <a:pt x="63" y="5"/>
                </a:cubicBezTo>
                <a:cubicBezTo>
                  <a:pt x="64" y="7"/>
                  <a:pt x="66" y="9"/>
                  <a:pt x="67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102" y="11"/>
                  <a:pt x="108" y="14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6" y="23"/>
                  <a:pt x="119" y="28"/>
                  <a:pt x="119" y="35"/>
                </a:cubicBezTo>
                <a:cubicBezTo>
                  <a:pt x="119" y="86"/>
                  <a:pt x="119" y="86"/>
                  <a:pt x="119" y="86"/>
                </a:cubicBezTo>
                <a:cubicBezTo>
                  <a:pt x="164" y="86"/>
                  <a:pt x="164" y="86"/>
                  <a:pt x="164" y="86"/>
                </a:cubicBezTo>
                <a:cubicBezTo>
                  <a:pt x="164" y="34"/>
                  <a:pt x="164" y="34"/>
                  <a:pt x="164" y="34"/>
                </a:cubicBezTo>
                <a:cubicBezTo>
                  <a:pt x="161" y="33"/>
                  <a:pt x="158" y="32"/>
                  <a:pt x="156" y="30"/>
                </a:cubicBezTo>
                <a:cubicBezTo>
                  <a:pt x="156" y="30"/>
                  <a:pt x="156" y="30"/>
                  <a:pt x="156" y="30"/>
                </a:cubicBezTo>
                <a:cubicBezTo>
                  <a:pt x="153" y="27"/>
                  <a:pt x="151" y="22"/>
                  <a:pt x="151" y="17"/>
                </a:cubicBezTo>
                <a:cubicBezTo>
                  <a:pt x="151" y="13"/>
                  <a:pt x="153" y="8"/>
                  <a:pt x="156" y="5"/>
                </a:cubicBezTo>
                <a:cubicBezTo>
                  <a:pt x="160" y="2"/>
                  <a:pt x="164" y="0"/>
                  <a:pt x="169" y="0"/>
                </a:cubicBezTo>
                <a:cubicBezTo>
                  <a:pt x="174" y="0"/>
                  <a:pt x="178" y="2"/>
                  <a:pt x="181" y="5"/>
                </a:cubicBezTo>
                <a:cubicBezTo>
                  <a:pt x="184" y="8"/>
                  <a:pt x="186" y="13"/>
                  <a:pt x="186" y="17"/>
                </a:cubicBezTo>
                <a:cubicBezTo>
                  <a:pt x="186" y="22"/>
                  <a:pt x="184" y="27"/>
                  <a:pt x="181" y="30"/>
                </a:cubicBezTo>
                <a:cubicBezTo>
                  <a:pt x="181" y="30"/>
                  <a:pt x="181" y="30"/>
                  <a:pt x="181" y="30"/>
                </a:cubicBezTo>
                <a:cubicBezTo>
                  <a:pt x="179" y="32"/>
                  <a:pt x="177" y="33"/>
                  <a:pt x="174" y="34"/>
                </a:cubicBezTo>
                <a:cubicBezTo>
                  <a:pt x="174" y="86"/>
                  <a:pt x="174" y="86"/>
                  <a:pt x="174" y="86"/>
                </a:cubicBezTo>
                <a:cubicBezTo>
                  <a:pt x="220" y="86"/>
                  <a:pt x="220" y="86"/>
                  <a:pt x="220" y="86"/>
                </a:cubicBezTo>
                <a:cubicBezTo>
                  <a:pt x="220" y="35"/>
                  <a:pt x="220" y="35"/>
                  <a:pt x="220" y="35"/>
                </a:cubicBezTo>
                <a:cubicBezTo>
                  <a:pt x="220" y="28"/>
                  <a:pt x="223" y="23"/>
                  <a:pt x="227" y="18"/>
                </a:cubicBezTo>
                <a:cubicBezTo>
                  <a:pt x="227" y="18"/>
                  <a:pt x="227" y="18"/>
                  <a:pt x="227" y="18"/>
                </a:cubicBezTo>
                <a:cubicBezTo>
                  <a:pt x="231" y="14"/>
                  <a:pt x="237" y="11"/>
                  <a:pt x="244" y="11"/>
                </a:cubicBezTo>
                <a:cubicBezTo>
                  <a:pt x="272" y="11"/>
                  <a:pt x="272" y="11"/>
                  <a:pt x="272" y="11"/>
                </a:cubicBezTo>
                <a:cubicBezTo>
                  <a:pt x="273" y="9"/>
                  <a:pt x="275" y="7"/>
                  <a:pt x="276" y="5"/>
                </a:cubicBezTo>
                <a:cubicBezTo>
                  <a:pt x="277" y="5"/>
                  <a:pt x="277" y="5"/>
                  <a:pt x="277" y="5"/>
                </a:cubicBezTo>
                <a:cubicBezTo>
                  <a:pt x="280" y="2"/>
                  <a:pt x="284" y="0"/>
                  <a:pt x="289" y="0"/>
                </a:cubicBezTo>
                <a:cubicBezTo>
                  <a:pt x="294" y="0"/>
                  <a:pt x="298" y="2"/>
                  <a:pt x="301" y="5"/>
                </a:cubicBezTo>
                <a:cubicBezTo>
                  <a:pt x="304" y="8"/>
                  <a:pt x="306" y="13"/>
                  <a:pt x="306" y="17"/>
                </a:cubicBezTo>
                <a:cubicBezTo>
                  <a:pt x="306" y="22"/>
                  <a:pt x="304" y="27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298" y="33"/>
                  <a:pt x="294" y="35"/>
                  <a:pt x="289" y="35"/>
                </a:cubicBezTo>
                <a:cubicBezTo>
                  <a:pt x="284" y="35"/>
                  <a:pt x="280" y="33"/>
                  <a:pt x="276" y="30"/>
                </a:cubicBezTo>
                <a:cubicBezTo>
                  <a:pt x="274" y="27"/>
                  <a:pt x="273" y="25"/>
                  <a:pt x="272" y="21"/>
                </a:cubicBezTo>
                <a:cubicBezTo>
                  <a:pt x="244" y="21"/>
                  <a:pt x="244" y="21"/>
                  <a:pt x="244" y="21"/>
                </a:cubicBezTo>
                <a:cubicBezTo>
                  <a:pt x="240" y="21"/>
                  <a:pt x="237" y="23"/>
                  <a:pt x="234" y="25"/>
                </a:cubicBezTo>
                <a:cubicBezTo>
                  <a:pt x="232" y="28"/>
                  <a:pt x="230" y="31"/>
                  <a:pt x="230" y="35"/>
                </a:cubicBezTo>
                <a:cubicBezTo>
                  <a:pt x="230" y="86"/>
                  <a:pt x="230" y="86"/>
                  <a:pt x="230" y="86"/>
                </a:cubicBezTo>
                <a:cubicBezTo>
                  <a:pt x="233" y="86"/>
                  <a:pt x="233" y="86"/>
                  <a:pt x="233" y="86"/>
                </a:cubicBezTo>
                <a:cubicBezTo>
                  <a:pt x="242" y="86"/>
                  <a:pt x="250" y="90"/>
                  <a:pt x="256" y="96"/>
                </a:cubicBezTo>
                <a:cubicBezTo>
                  <a:pt x="262" y="101"/>
                  <a:pt x="266" y="110"/>
                  <a:pt x="266" y="119"/>
                </a:cubicBezTo>
                <a:cubicBezTo>
                  <a:pt x="303" y="119"/>
                  <a:pt x="303" y="119"/>
                  <a:pt x="303" y="119"/>
                </a:cubicBezTo>
                <a:cubicBezTo>
                  <a:pt x="304" y="116"/>
                  <a:pt x="306" y="113"/>
                  <a:pt x="308" y="111"/>
                </a:cubicBezTo>
                <a:cubicBezTo>
                  <a:pt x="311" y="108"/>
                  <a:pt x="315" y="106"/>
                  <a:pt x="320" y="106"/>
                </a:cubicBezTo>
                <a:cubicBezTo>
                  <a:pt x="325" y="106"/>
                  <a:pt x="330" y="108"/>
                  <a:pt x="333" y="111"/>
                </a:cubicBezTo>
                <a:cubicBezTo>
                  <a:pt x="336" y="114"/>
                  <a:pt x="338" y="119"/>
                  <a:pt x="338" y="124"/>
                </a:cubicBezTo>
                <a:cubicBezTo>
                  <a:pt x="338" y="128"/>
                  <a:pt x="336" y="133"/>
                  <a:pt x="333" y="136"/>
                </a:cubicBezTo>
                <a:cubicBezTo>
                  <a:pt x="333" y="136"/>
                  <a:pt x="333" y="136"/>
                  <a:pt x="333" y="136"/>
                </a:cubicBezTo>
                <a:cubicBezTo>
                  <a:pt x="330" y="139"/>
                  <a:pt x="325" y="141"/>
                  <a:pt x="320" y="141"/>
                </a:cubicBezTo>
                <a:cubicBezTo>
                  <a:pt x="315" y="141"/>
                  <a:pt x="311" y="139"/>
                  <a:pt x="308" y="136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6" y="134"/>
                  <a:pt x="304" y="131"/>
                  <a:pt x="304" y="129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79"/>
                  <a:pt x="266" y="179"/>
                  <a:pt x="266" y="179"/>
                </a:cubicBezTo>
                <a:cubicBezTo>
                  <a:pt x="303" y="179"/>
                  <a:pt x="303" y="179"/>
                  <a:pt x="303" y="179"/>
                </a:cubicBezTo>
                <a:cubicBezTo>
                  <a:pt x="304" y="176"/>
                  <a:pt x="306" y="173"/>
                  <a:pt x="308" y="171"/>
                </a:cubicBezTo>
                <a:cubicBezTo>
                  <a:pt x="311" y="168"/>
                  <a:pt x="315" y="166"/>
                  <a:pt x="320" y="166"/>
                </a:cubicBezTo>
                <a:cubicBezTo>
                  <a:pt x="325" y="166"/>
                  <a:pt x="330" y="168"/>
                  <a:pt x="333" y="171"/>
                </a:cubicBezTo>
                <a:cubicBezTo>
                  <a:pt x="336" y="174"/>
                  <a:pt x="338" y="179"/>
                  <a:pt x="338" y="183"/>
                </a:cubicBezTo>
                <a:cubicBezTo>
                  <a:pt x="338" y="188"/>
                  <a:pt x="336" y="193"/>
                  <a:pt x="333" y="196"/>
                </a:cubicBezTo>
                <a:cubicBezTo>
                  <a:pt x="330" y="199"/>
                  <a:pt x="325" y="201"/>
                  <a:pt x="320" y="201"/>
                </a:cubicBezTo>
                <a:cubicBezTo>
                  <a:pt x="315" y="201"/>
                  <a:pt x="311" y="199"/>
                  <a:pt x="308" y="196"/>
                </a:cubicBezTo>
                <a:cubicBezTo>
                  <a:pt x="306" y="194"/>
                  <a:pt x="304" y="191"/>
                  <a:pt x="303" y="188"/>
                </a:cubicBezTo>
                <a:cubicBezTo>
                  <a:pt x="266" y="188"/>
                  <a:pt x="266" y="188"/>
                  <a:pt x="266" y="188"/>
                </a:cubicBezTo>
                <a:cubicBezTo>
                  <a:pt x="266" y="238"/>
                  <a:pt x="266" y="238"/>
                  <a:pt x="266" y="238"/>
                </a:cubicBezTo>
                <a:cubicBezTo>
                  <a:pt x="304" y="238"/>
                  <a:pt x="304" y="238"/>
                  <a:pt x="304" y="238"/>
                </a:cubicBezTo>
                <a:cubicBezTo>
                  <a:pt x="304" y="235"/>
                  <a:pt x="306" y="233"/>
                  <a:pt x="308" y="231"/>
                </a:cubicBezTo>
                <a:cubicBezTo>
                  <a:pt x="308" y="231"/>
                  <a:pt x="308" y="231"/>
                  <a:pt x="308" y="231"/>
                </a:cubicBezTo>
                <a:cubicBezTo>
                  <a:pt x="311" y="228"/>
                  <a:pt x="315" y="226"/>
                  <a:pt x="320" y="226"/>
                </a:cubicBezTo>
                <a:cubicBezTo>
                  <a:pt x="325" y="226"/>
                  <a:pt x="330" y="228"/>
                  <a:pt x="333" y="231"/>
                </a:cubicBezTo>
                <a:cubicBezTo>
                  <a:pt x="333" y="231"/>
                  <a:pt x="333" y="231"/>
                  <a:pt x="333" y="231"/>
                </a:cubicBezTo>
                <a:cubicBezTo>
                  <a:pt x="336" y="234"/>
                  <a:pt x="338" y="238"/>
                  <a:pt x="338" y="243"/>
                </a:cubicBezTo>
                <a:cubicBezTo>
                  <a:pt x="338" y="248"/>
                  <a:pt x="336" y="253"/>
                  <a:pt x="333" y="256"/>
                </a:cubicBezTo>
                <a:cubicBezTo>
                  <a:pt x="330" y="259"/>
                  <a:pt x="325" y="261"/>
                  <a:pt x="320" y="261"/>
                </a:cubicBezTo>
                <a:cubicBezTo>
                  <a:pt x="315" y="261"/>
                  <a:pt x="311" y="259"/>
                  <a:pt x="308" y="256"/>
                </a:cubicBezTo>
                <a:cubicBezTo>
                  <a:pt x="306" y="254"/>
                  <a:pt x="304" y="251"/>
                  <a:pt x="303" y="248"/>
                </a:cubicBezTo>
                <a:cubicBezTo>
                  <a:pt x="266" y="248"/>
                  <a:pt x="266" y="248"/>
                  <a:pt x="266" y="248"/>
                </a:cubicBezTo>
                <a:cubicBezTo>
                  <a:pt x="265" y="257"/>
                  <a:pt x="262" y="264"/>
                  <a:pt x="256" y="270"/>
                </a:cubicBezTo>
                <a:cubicBezTo>
                  <a:pt x="256" y="270"/>
                  <a:pt x="256" y="270"/>
                  <a:pt x="256" y="270"/>
                </a:cubicBezTo>
                <a:cubicBezTo>
                  <a:pt x="250" y="276"/>
                  <a:pt x="242" y="279"/>
                  <a:pt x="234" y="280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236" y="329"/>
                  <a:pt x="239" y="330"/>
                  <a:pt x="241" y="333"/>
                </a:cubicBezTo>
                <a:cubicBezTo>
                  <a:pt x="241" y="333"/>
                  <a:pt x="241" y="333"/>
                  <a:pt x="241" y="333"/>
                </a:cubicBezTo>
                <a:cubicBezTo>
                  <a:pt x="244" y="336"/>
                  <a:pt x="246" y="340"/>
                  <a:pt x="246" y="345"/>
                </a:cubicBezTo>
                <a:cubicBezTo>
                  <a:pt x="246" y="350"/>
                  <a:pt x="244" y="354"/>
                  <a:pt x="241" y="357"/>
                </a:cubicBezTo>
                <a:cubicBezTo>
                  <a:pt x="241" y="357"/>
                  <a:pt x="241" y="357"/>
                  <a:pt x="241" y="357"/>
                </a:cubicBezTo>
                <a:cubicBezTo>
                  <a:pt x="238" y="360"/>
                  <a:pt x="233" y="362"/>
                  <a:pt x="229" y="362"/>
                </a:cubicBezTo>
                <a:cubicBezTo>
                  <a:pt x="224" y="362"/>
                  <a:pt x="219" y="360"/>
                  <a:pt x="216" y="357"/>
                </a:cubicBezTo>
                <a:cubicBezTo>
                  <a:pt x="213" y="354"/>
                  <a:pt x="211" y="350"/>
                  <a:pt x="211" y="345"/>
                </a:cubicBezTo>
                <a:cubicBezTo>
                  <a:pt x="211" y="340"/>
                  <a:pt x="213" y="336"/>
                  <a:pt x="216" y="333"/>
                </a:cubicBezTo>
                <a:cubicBezTo>
                  <a:pt x="216" y="333"/>
                  <a:pt x="216" y="333"/>
                  <a:pt x="216" y="333"/>
                </a:cubicBezTo>
                <a:cubicBezTo>
                  <a:pt x="218" y="330"/>
                  <a:pt x="221" y="329"/>
                  <a:pt x="224" y="328"/>
                </a:cubicBezTo>
                <a:cubicBezTo>
                  <a:pt x="224" y="280"/>
                  <a:pt x="224" y="280"/>
                  <a:pt x="224" y="280"/>
                </a:cubicBezTo>
                <a:cubicBezTo>
                  <a:pt x="174" y="280"/>
                  <a:pt x="174" y="280"/>
                  <a:pt x="174" y="280"/>
                </a:cubicBezTo>
                <a:cubicBezTo>
                  <a:pt x="174" y="328"/>
                  <a:pt x="174" y="328"/>
                  <a:pt x="174" y="328"/>
                </a:cubicBezTo>
                <a:cubicBezTo>
                  <a:pt x="177" y="329"/>
                  <a:pt x="179" y="330"/>
                  <a:pt x="181" y="333"/>
                </a:cubicBezTo>
                <a:cubicBezTo>
                  <a:pt x="181" y="333"/>
                  <a:pt x="181" y="333"/>
                  <a:pt x="181" y="333"/>
                </a:cubicBezTo>
                <a:cubicBezTo>
                  <a:pt x="184" y="336"/>
                  <a:pt x="186" y="340"/>
                  <a:pt x="186" y="345"/>
                </a:cubicBezTo>
                <a:cubicBezTo>
                  <a:pt x="186" y="350"/>
                  <a:pt x="184" y="354"/>
                  <a:pt x="181" y="357"/>
                </a:cubicBezTo>
                <a:cubicBezTo>
                  <a:pt x="178" y="360"/>
                  <a:pt x="174" y="362"/>
                  <a:pt x="169" y="362"/>
                </a:cubicBezTo>
                <a:cubicBezTo>
                  <a:pt x="164" y="362"/>
                  <a:pt x="160" y="360"/>
                  <a:pt x="156" y="357"/>
                </a:cubicBezTo>
                <a:cubicBezTo>
                  <a:pt x="153" y="354"/>
                  <a:pt x="151" y="350"/>
                  <a:pt x="151" y="345"/>
                </a:cubicBezTo>
                <a:cubicBezTo>
                  <a:pt x="151" y="340"/>
                  <a:pt x="153" y="336"/>
                  <a:pt x="156" y="333"/>
                </a:cubicBezTo>
                <a:cubicBezTo>
                  <a:pt x="156" y="333"/>
                  <a:pt x="156" y="333"/>
                  <a:pt x="156" y="333"/>
                </a:cubicBezTo>
                <a:cubicBezTo>
                  <a:pt x="158" y="330"/>
                  <a:pt x="161" y="329"/>
                  <a:pt x="164" y="328"/>
                </a:cubicBezTo>
                <a:cubicBezTo>
                  <a:pt x="164" y="280"/>
                  <a:pt x="164" y="280"/>
                  <a:pt x="164" y="280"/>
                </a:cubicBezTo>
                <a:cubicBezTo>
                  <a:pt x="114" y="280"/>
                  <a:pt x="114" y="280"/>
                  <a:pt x="114" y="280"/>
                </a:cubicBezTo>
                <a:cubicBezTo>
                  <a:pt x="114" y="328"/>
                  <a:pt x="114" y="328"/>
                  <a:pt x="114" y="328"/>
                </a:cubicBezTo>
                <a:cubicBezTo>
                  <a:pt x="117" y="329"/>
                  <a:pt x="119" y="330"/>
                  <a:pt x="121" y="333"/>
                </a:cubicBezTo>
                <a:cubicBezTo>
                  <a:pt x="121" y="333"/>
                  <a:pt x="121" y="333"/>
                  <a:pt x="121" y="333"/>
                </a:cubicBezTo>
                <a:cubicBezTo>
                  <a:pt x="125" y="336"/>
                  <a:pt x="127" y="340"/>
                  <a:pt x="127" y="345"/>
                </a:cubicBezTo>
                <a:cubicBezTo>
                  <a:pt x="127" y="350"/>
                  <a:pt x="125" y="354"/>
                  <a:pt x="121" y="357"/>
                </a:cubicBezTo>
                <a:cubicBezTo>
                  <a:pt x="118" y="360"/>
                  <a:pt x="114" y="362"/>
                  <a:pt x="109" y="362"/>
                </a:cubicBezTo>
                <a:cubicBezTo>
                  <a:pt x="104" y="362"/>
                  <a:pt x="100" y="360"/>
                  <a:pt x="97" y="357"/>
                </a:cubicBezTo>
                <a:cubicBezTo>
                  <a:pt x="97" y="357"/>
                  <a:pt x="97" y="357"/>
                  <a:pt x="97" y="357"/>
                </a:cubicBezTo>
                <a:cubicBezTo>
                  <a:pt x="93" y="354"/>
                  <a:pt x="91" y="350"/>
                  <a:pt x="91" y="345"/>
                </a:cubicBezTo>
                <a:cubicBezTo>
                  <a:pt x="91" y="340"/>
                  <a:pt x="93" y="336"/>
                  <a:pt x="97" y="333"/>
                </a:cubicBezTo>
                <a:cubicBezTo>
                  <a:pt x="97" y="333"/>
                  <a:pt x="97" y="333"/>
                  <a:pt x="97" y="333"/>
                </a:cubicBezTo>
                <a:cubicBezTo>
                  <a:pt x="99" y="330"/>
                  <a:pt x="101" y="329"/>
                  <a:pt x="104" y="328"/>
                </a:cubicBezTo>
                <a:cubicBezTo>
                  <a:pt x="104" y="280"/>
                  <a:pt x="104" y="280"/>
                  <a:pt x="104" y="280"/>
                </a:cubicBezTo>
                <a:cubicBezTo>
                  <a:pt x="95" y="279"/>
                  <a:pt x="87" y="276"/>
                  <a:pt x="82" y="27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76" y="264"/>
                  <a:pt x="72" y="257"/>
                  <a:pt x="72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33" y="251"/>
                  <a:pt x="32" y="254"/>
                  <a:pt x="30" y="256"/>
                </a:cubicBezTo>
                <a:cubicBezTo>
                  <a:pt x="30" y="256"/>
                  <a:pt x="30" y="256"/>
                  <a:pt x="30" y="256"/>
                </a:cubicBezTo>
                <a:cubicBezTo>
                  <a:pt x="27" y="259"/>
                  <a:pt x="22" y="261"/>
                  <a:pt x="17" y="261"/>
                </a:cubicBezTo>
                <a:cubicBezTo>
                  <a:pt x="13" y="261"/>
                  <a:pt x="8" y="259"/>
                  <a:pt x="5" y="256"/>
                </a:cubicBezTo>
                <a:cubicBezTo>
                  <a:pt x="2" y="253"/>
                  <a:pt x="0" y="248"/>
                  <a:pt x="0" y="243"/>
                </a:cubicBezTo>
                <a:cubicBezTo>
                  <a:pt x="0" y="238"/>
                  <a:pt x="2" y="234"/>
                  <a:pt x="5" y="231"/>
                </a:cubicBezTo>
                <a:cubicBezTo>
                  <a:pt x="5" y="231"/>
                  <a:pt x="5" y="231"/>
                  <a:pt x="5" y="231"/>
                </a:cubicBezTo>
                <a:cubicBezTo>
                  <a:pt x="8" y="228"/>
                  <a:pt x="13" y="226"/>
                  <a:pt x="17" y="226"/>
                </a:cubicBezTo>
                <a:cubicBezTo>
                  <a:pt x="22" y="226"/>
                  <a:pt x="27" y="228"/>
                  <a:pt x="30" y="231"/>
                </a:cubicBezTo>
                <a:cubicBezTo>
                  <a:pt x="30" y="231"/>
                  <a:pt x="30" y="231"/>
                  <a:pt x="30" y="231"/>
                </a:cubicBezTo>
                <a:cubicBezTo>
                  <a:pt x="32" y="233"/>
                  <a:pt x="33" y="235"/>
                  <a:pt x="34" y="238"/>
                </a:cubicBezTo>
                <a:cubicBezTo>
                  <a:pt x="72" y="238"/>
                  <a:pt x="72" y="238"/>
                  <a:pt x="72" y="238"/>
                </a:cubicBezTo>
                <a:cubicBezTo>
                  <a:pt x="72" y="188"/>
                  <a:pt x="72" y="188"/>
                  <a:pt x="72" y="188"/>
                </a:cubicBezTo>
                <a:cubicBezTo>
                  <a:pt x="34" y="188"/>
                  <a:pt x="34" y="188"/>
                  <a:pt x="34" y="188"/>
                </a:cubicBezTo>
                <a:cubicBezTo>
                  <a:pt x="33" y="191"/>
                  <a:pt x="32" y="194"/>
                  <a:pt x="30" y="196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27" y="199"/>
                  <a:pt x="22" y="201"/>
                  <a:pt x="17" y="201"/>
                </a:cubicBezTo>
                <a:cubicBezTo>
                  <a:pt x="13" y="201"/>
                  <a:pt x="8" y="199"/>
                  <a:pt x="5" y="196"/>
                </a:cubicBezTo>
                <a:cubicBezTo>
                  <a:pt x="2" y="193"/>
                  <a:pt x="0" y="188"/>
                  <a:pt x="0" y="183"/>
                </a:cubicBezTo>
                <a:cubicBezTo>
                  <a:pt x="0" y="179"/>
                  <a:pt x="2" y="174"/>
                  <a:pt x="5" y="171"/>
                </a:cubicBezTo>
                <a:cubicBezTo>
                  <a:pt x="8" y="168"/>
                  <a:pt x="13" y="166"/>
                  <a:pt x="17" y="166"/>
                </a:cubicBezTo>
                <a:cubicBezTo>
                  <a:pt x="22" y="166"/>
                  <a:pt x="27" y="168"/>
                  <a:pt x="30" y="171"/>
                </a:cubicBezTo>
                <a:cubicBezTo>
                  <a:pt x="30" y="171"/>
                  <a:pt x="30" y="171"/>
                  <a:pt x="30" y="171"/>
                </a:cubicBezTo>
                <a:cubicBezTo>
                  <a:pt x="32" y="173"/>
                  <a:pt x="33" y="176"/>
                  <a:pt x="34" y="179"/>
                </a:cubicBezTo>
                <a:cubicBezTo>
                  <a:pt x="72" y="179"/>
                  <a:pt x="72" y="179"/>
                  <a:pt x="72" y="17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34" y="129"/>
                  <a:pt x="34" y="129"/>
                  <a:pt x="34" y="129"/>
                </a:cubicBezTo>
                <a:cubicBezTo>
                  <a:pt x="33" y="131"/>
                  <a:pt x="32" y="134"/>
                  <a:pt x="30" y="136"/>
                </a:cubicBezTo>
                <a:cubicBezTo>
                  <a:pt x="27" y="139"/>
                  <a:pt x="22" y="141"/>
                  <a:pt x="17" y="141"/>
                </a:cubicBezTo>
                <a:cubicBezTo>
                  <a:pt x="13" y="141"/>
                  <a:pt x="8" y="139"/>
                  <a:pt x="5" y="136"/>
                </a:cubicBezTo>
                <a:cubicBezTo>
                  <a:pt x="5" y="136"/>
                  <a:pt x="5" y="136"/>
                  <a:pt x="5" y="136"/>
                </a:cubicBezTo>
                <a:cubicBezTo>
                  <a:pt x="2" y="133"/>
                  <a:pt x="0" y="128"/>
                  <a:pt x="0" y="124"/>
                </a:cubicBezTo>
                <a:cubicBezTo>
                  <a:pt x="0" y="119"/>
                  <a:pt x="2" y="114"/>
                  <a:pt x="5" y="111"/>
                </a:cubicBezTo>
                <a:cubicBezTo>
                  <a:pt x="8" y="108"/>
                  <a:pt x="13" y="106"/>
                  <a:pt x="17" y="106"/>
                </a:cubicBezTo>
                <a:cubicBezTo>
                  <a:pt x="22" y="106"/>
                  <a:pt x="27" y="108"/>
                  <a:pt x="30" y="111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2" y="113"/>
                  <a:pt x="33" y="116"/>
                  <a:pt x="34" y="119"/>
                </a:cubicBezTo>
                <a:cubicBezTo>
                  <a:pt x="72" y="119"/>
                  <a:pt x="72" y="119"/>
                  <a:pt x="72" y="119"/>
                </a:cubicBezTo>
                <a:cubicBezTo>
                  <a:pt x="72" y="110"/>
                  <a:pt x="76" y="101"/>
                  <a:pt x="82" y="96"/>
                </a:cubicBezTo>
                <a:cubicBezTo>
                  <a:pt x="88" y="90"/>
                  <a:pt x="96" y="86"/>
                  <a:pt x="105" y="86"/>
                </a:cubicBezTo>
                <a:close/>
                <a:moveTo>
                  <a:pt x="12" y="118"/>
                </a:moveTo>
                <a:cubicBezTo>
                  <a:pt x="11" y="120"/>
                  <a:pt x="10" y="122"/>
                  <a:pt x="10" y="124"/>
                </a:cubicBezTo>
                <a:cubicBezTo>
                  <a:pt x="10" y="126"/>
                  <a:pt x="11" y="128"/>
                  <a:pt x="12" y="129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3" y="130"/>
                  <a:pt x="15" y="131"/>
                  <a:pt x="17" y="131"/>
                </a:cubicBezTo>
                <a:cubicBezTo>
                  <a:pt x="19" y="131"/>
                  <a:pt x="21" y="130"/>
                  <a:pt x="23" y="129"/>
                </a:cubicBezTo>
                <a:cubicBezTo>
                  <a:pt x="24" y="128"/>
                  <a:pt x="25" y="126"/>
                  <a:pt x="25" y="124"/>
                </a:cubicBezTo>
                <a:cubicBezTo>
                  <a:pt x="25" y="122"/>
                  <a:pt x="24" y="120"/>
                  <a:pt x="23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1" y="117"/>
                  <a:pt x="19" y="116"/>
                  <a:pt x="17" y="116"/>
                </a:cubicBezTo>
                <a:cubicBezTo>
                  <a:pt x="15" y="116"/>
                  <a:pt x="13" y="117"/>
                  <a:pt x="12" y="118"/>
                </a:cubicBezTo>
                <a:close/>
                <a:moveTo>
                  <a:pt x="12" y="238"/>
                </a:moveTo>
                <a:cubicBezTo>
                  <a:pt x="11" y="239"/>
                  <a:pt x="10" y="241"/>
                  <a:pt x="10" y="243"/>
                </a:cubicBezTo>
                <a:cubicBezTo>
                  <a:pt x="10" y="245"/>
                  <a:pt x="11" y="247"/>
                  <a:pt x="12" y="249"/>
                </a:cubicBezTo>
                <a:cubicBezTo>
                  <a:pt x="13" y="250"/>
                  <a:pt x="15" y="251"/>
                  <a:pt x="17" y="251"/>
                </a:cubicBezTo>
                <a:cubicBezTo>
                  <a:pt x="19" y="251"/>
                  <a:pt x="21" y="250"/>
                  <a:pt x="23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4" y="247"/>
                  <a:pt x="25" y="245"/>
                  <a:pt x="25" y="243"/>
                </a:cubicBezTo>
                <a:cubicBezTo>
                  <a:pt x="25" y="241"/>
                  <a:pt x="24" y="239"/>
                  <a:pt x="23" y="238"/>
                </a:cubicBezTo>
                <a:cubicBezTo>
                  <a:pt x="23" y="238"/>
                  <a:pt x="23" y="238"/>
                  <a:pt x="23" y="238"/>
                </a:cubicBezTo>
                <a:cubicBezTo>
                  <a:pt x="21" y="237"/>
                  <a:pt x="19" y="236"/>
                  <a:pt x="17" y="236"/>
                </a:cubicBezTo>
                <a:cubicBezTo>
                  <a:pt x="15" y="236"/>
                  <a:pt x="13" y="237"/>
                  <a:pt x="12" y="238"/>
                </a:cubicBezTo>
                <a:cubicBezTo>
                  <a:pt x="12" y="238"/>
                  <a:pt x="12" y="238"/>
                  <a:pt x="12" y="238"/>
                </a:cubicBezTo>
                <a:close/>
                <a:moveTo>
                  <a:pt x="12" y="178"/>
                </a:moveTo>
                <a:cubicBezTo>
                  <a:pt x="11" y="179"/>
                  <a:pt x="10" y="181"/>
                  <a:pt x="10" y="183"/>
                </a:cubicBezTo>
                <a:cubicBezTo>
                  <a:pt x="10" y="186"/>
                  <a:pt x="11" y="187"/>
                  <a:pt x="12" y="189"/>
                </a:cubicBezTo>
                <a:cubicBezTo>
                  <a:pt x="13" y="190"/>
                  <a:pt x="15" y="191"/>
                  <a:pt x="17" y="191"/>
                </a:cubicBezTo>
                <a:cubicBezTo>
                  <a:pt x="19" y="191"/>
                  <a:pt x="21" y="190"/>
                  <a:pt x="23" y="189"/>
                </a:cubicBezTo>
                <a:cubicBezTo>
                  <a:pt x="23" y="189"/>
                  <a:pt x="23" y="189"/>
                  <a:pt x="23" y="189"/>
                </a:cubicBezTo>
                <a:cubicBezTo>
                  <a:pt x="24" y="187"/>
                  <a:pt x="25" y="186"/>
                  <a:pt x="25" y="183"/>
                </a:cubicBezTo>
                <a:cubicBezTo>
                  <a:pt x="25" y="181"/>
                  <a:pt x="24" y="179"/>
                  <a:pt x="23" y="178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1" y="177"/>
                  <a:pt x="19" y="176"/>
                  <a:pt x="17" y="176"/>
                </a:cubicBezTo>
                <a:cubicBezTo>
                  <a:pt x="15" y="176"/>
                  <a:pt x="13" y="177"/>
                  <a:pt x="12" y="178"/>
                </a:cubicBezTo>
                <a:close/>
                <a:moveTo>
                  <a:pt x="229" y="352"/>
                </a:moveTo>
                <a:cubicBezTo>
                  <a:pt x="231" y="352"/>
                  <a:pt x="233" y="352"/>
                  <a:pt x="234" y="350"/>
                </a:cubicBezTo>
                <a:cubicBezTo>
                  <a:pt x="234" y="350"/>
                  <a:pt x="234" y="350"/>
                  <a:pt x="234" y="350"/>
                </a:cubicBezTo>
                <a:cubicBezTo>
                  <a:pt x="235" y="349"/>
                  <a:pt x="236" y="347"/>
                  <a:pt x="236" y="345"/>
                </a:cubicBezTo>
                <a:cubicBezTo>
                  <a:pt x="236" y="343"/>
                  <a:pt x="235" y="341"/>
                  <a:pt x="234" y="340"/>
                </a:cubicBezTo>
                <a:cubicBezTo>
                  <a:pt x="234" y="340"/>
                  <a:pt x="234" y="340"/>
                  <a:pt x="234" y="340"/>
                </a:cubicBezTo>
                <a:cubicBezTo>
                  <a:pt x="233" y="338"/>
                  <a:pt x="231" y="337"/>
                  <a:pt x="229" y="337"/>
                </a:cubicBezTo>
                <a:cubicBezTo>
                  <a:pt x="227" y="337"/>
                  <a:pt x="225" y="338"/>
                  <a:pt x="223" y="340"/>
                </a:cubicBezTo>
                <a:cubicBezTo>
                  <a:pt x="223" y="340"/>
                  <a:pt x="223" y="340"/>
                  <a:pt x="223" y="340"/>
                </a:cubicBezTo>
                <a:cubicBezTo>
                  <a:pt x="222" y="341"/>
                  <a:pt x="221" y="343"/>
                  <a:pt x="221" y="345"/>
                </a:cubicBezTo>
                <a:cubicBezTo>
                  <a:pt x="221" y="347"/>
                  <a:pt x="222" y="349"/>
                  <a:pt x="223" y="350"/>
                </a:cubicBezTo>
                <a:cubicBezTo>
                  <a:pt x="225" y="352"/>
                  <a:pt x="227" y="352"/>
                  <a:pt x="229" y="352"/>
                </a:cubicBezTo>
                <a:close/>
                <a:moveTo>
                  <a:pt x="109" y="352"/>
                </a:moveTo>
                <a:cubicBezTo>
                  <a:pt x="111" y="352"/>
                  <a:pt x="113" y="352"/>
                  <a:pt x="114" y="350"/>
                </a:cubicBezTo>
                <a:cubicBezTo>
                  <a:pt x="116" y="349"/>
                  <a:pt x="117" y="347"/>
                  <a:pt x="117" y="345"/>
                </a:cubicBezTo>
                <a:cubicBezTo>
                  <a:pt x="117" y="343"/>
                  <a:pt x="116" y="341"/>
                  <a:pt x="114" y="340"/>
                </a:cubicBezTo>
                <a:cubicBezTo>
                  <a:pt x="114" y="340"/>
                  <a:pt x="114" y="340"/>
                  <a:pt x="114" y="340"/>
                </a:cubicBezTo>
                <a:cubicBezTo>
                  <a:pt x="113" y="338"/>
                  <a:pt x="111" y="337"/>
                  <a:pt x="109" y="337"/>
                </a:cubicBezTo>
                <a:cubicBezTo>
                  <a:pt x="107" y="337"/>
                  <a:pt x="105" y="338"/>
                  <a:pt x="104" y="340"/>
                </a:cubicBezTo>
                <a:cubicBezTo>
                  <a:pt x="104" y="340"/>
                  <a:pt x="104" y="340"/>
                  <a:pt x="104" y="340"/>
                </a:cubicBezTo>
                <a:cubicBezTo>
                  <a:pt x="102" y="341"/>
                  <a:pt x="101" y="343"/>
                  <a:pt x="101" y="345"/>
                </a:cubicBezTo>
                <a:cubicBezTo>
                  <a:pt x="101" y="347"/>
                  <a:pt x="102" y="349"/>
                  <a:pt x="104" y="350"/>
                </a:cubicBezTo>
                <a:cubicBezTo>
                  <a:pt x="104" y="350"/>
                  <a:pt x="104" y="350"/>
                  <a:pt x="104" y="350"/>
                </a:cubicBezTo>
                <a:cubicBezTo>
                  <a:pt x="105" y="352"/>
                  <a:pt x="107" y="352"/>
                  <a:pt x="109" y="352"/>
                </a:cubicBezTo>
                <a:close/>
                <a:moveTo>
                  <a:pt x="169" y="352"/>
                </a:moveTo>
                <a:cubicBezTo>
                  <a:pt x="171" y="352"/>
                  <a:pt x="173" y="352"/>
                  <a:pt x="174" y="350"/>
                </a:cubicBezTo>
                <a:cubicBezTo>
                  <a:pt x="176" y="349"/>
                  <a:pt x="176" y="347"/>
                  <a:pt x="176" y="345"/>
                </a:cubicBezTo>
                <a:cubicBezTo>
                  <a:pt x="176" y="343"/>
                  <a:pt x="176" y="341"/>
                  <a:pt x="174" y="340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173" y="338"/>
                  <a:pt x="171" y="337"/>
                  <a:pt x="169" y="337"/>
                </a:cubicBezTo>
                <a:cubicBezTo>
                  <a:pt x="167" y="337"/>
                  <a:pt x="165" y="338"/>
                  <a:pt x="163" y="340"/>
                </a:cubicBezTo>
                <a:cubicBezTo>
                  <a:pt x="163" y="340"/>
                  <a:pt x="163" y="340"/>
                  <a:pt x="163" y="340"/>
                </a:cubicBezTo>
                <a:cubicBezTo>
                  <a:pt x="162" y="341"/>
                  <a:pt x="161" y="343"/>
                  <a:pt x="161" y="345"/>
                </a:cubicBezTo>
                <a:cubicBezTo>
                  <a:pt x="161" y="347"/>
                  <a:pt x="162" y="349"/>
                  <a:pt x="163" y="350"/>
                </a:cubicBezTo>
                <a:cubicBezTo>
                  <a:pt x="165" y="352"/>
                  <a:pt x="167" y="352"/>
                  <a:pt x="169" y="352"/>
                </a:cubicBezTo>
                <a:close/>
                <a:moveTo>
                  <a:pt x="328" y="124"/>
                </a:moveTo>
                <a:cubicBezTo>
                  <a:pt x="328" y="122"/>
                  <a:pt x="327" y="120"/>
                  <a:pt x="326" y="118"/>
                </a:cubicBezTo>
                <a:cubicBezTo>
                  <a:pt x="324" y="117"/>
                  <a:pt x="322" y="116"/>
                  <a:pt x="320" y="116"/>
                </a:cubicBezTo>
                <a:cubicBezTo>
                  <a:pt x="318" y="116"/>
                  <a:pt x="316" y="117"/>
                  <a:pt x="315" y="118"/>
                </a:cubicBezTo>
                <a:cubicBezTo>
                  <a:pt x="314" y="120"/>
                  <a:pt x="313" y="122"/>
                  <a:pt x="313" y="124"/>
                </a:cubicBezTo>
                <a:cubicBezTo>
                  <a:pt x="313" y="126"/>
                  <a:pt x="314" y="128"/>
                  <a:pt x="315" y="129"/>
                </a:cubicBezTo>
                <a:cubicBezTo>
                  <a:pt x="315" y="129"/>
                  <a:pt x="315" y="129"/>
                  <a:pt x="315" y="129"/>
                </a:cubicBezTo>
                <a:cubicBezTo>
                  <a:pt x="316" y="130"/>
                  <a:pt x="318" y="131"/>
                  <a:pt x="320" y="131"/>
                </a:cubicBezTo>
                <a:cubicBezTo>
                  <a:pt x="322" y="131"/>
                  <a:pt x="324" y="130"/>
                  <a:pt x="326" y="129"/>
                </a:cubicBezTo>
                <a:cubicBezTo>
                  <a:pt x="326" y="129"/>
                  <a:pt x="326" y="129"/>
                  <a:pt x="326" y="129"/>
                </a:cubicBezTo>
                <a:cubicBezTo>
                  <a:pt x="327" y="128"/>
                  <a:pt x="328" y="126"/>
                  <a:pt x="328" y="124"/>
                </a:cubicBezTo>
                <a:close/>
                <a:moveTo>
                  <a:pt x="328" y="243"/>
                </a:moveTo>
                <a:cubicBezTo>
                  <a:pt x="328" y="241"/>
                  <a:pt x="327" y="239"/>
                  <a:pt x="326" y="238"/>
                </a:cubicBezTo>
                <a:cubicBezTo>
                  <a:pt x="326" y="238"/>
                  <a:pt x="326" y="238"/>
                  <a:pt x="326" y="238"/>
                </a:cubicBezTo>
                <a:cubicBezTo>
                  <a:pt x="324" y="237"/>
                  <a:pt x="322" y="236"/>
                  <a:pt x="320" y="236"/>
                </a:cubicBezTo>
                <a:cubicBezTo>
                  <a:pt x="318" y="236"/>
                  <a:pt x="316" y="237"/>
                  <a:pt x="315" y="238"/>
                </a:cubicBezTo>
                <a:cubicBezTo>
                  <a:pt x="315" y="238"/>
                  <a:pt x="315" y="238"/>
                  <a:pt x="315" y="238"/>
                </a:cubicBezTo>
                <a:cubicBezTo>
                  <a:pt x="314" y="239"/>
                  <a:pt x="313" y="241"/>
                  <a:pt x="313" y="243"/>
                </a:cubicBezTo>
                <a:cubicBezTo>
                  <a:pt x="313" y="245"/>
                  <a:pt x="314" y="247"/>
                  <a:pt x="315" y="249"/>
                </a:cubicBezTo>
                <a:cubicBezTo>
                  <a:pt x="316" y="250"/>
                  <a:pt x="318" y="251"/>
                  <a:pt x="320" y="251"/>
                </a:cubicBezTo>
                <a:cubicBezTo>
                  <a:pt x="322" y="251"/>
                  <a:pt x="324" y="250"/>
                  <a:pt x="326" y="249"/>
                </a:cubicBezTo>
                <a:cubicBezTo>
                  <a:pt x="327" y="247"/>
                  <a:pt x="328" y="245"/>
                  <a:pt x="328" y="243"/>
                </a:cubicBezTo>
                <a:close/>
                <a:moveTo>
                  <a:pt x="328" y="183"/>
                </a:moveTo>
                <a:cubicBezTo>
                  <a:pt x="328" y="181"/>
                  <a:pt x="327" y="179"/>
                  <a:pt x="326" y="178"/>
                </a:cubicBezTo>
                <a:cubicBezTo>
                  <a:pt x="324" y="177"/>
                  <a:pt x="322" y="176"/>
                  <a:pt x="320" y="176"/>
                </a:cubicBezTo>
                <a:cubicBezTo>
                  <a:pt x="318" y="176"/>
                  <a:pt x="316" y="177"/>
                  <a:pt x="315" y="178"/>
                </a:cubicBezTo>
                <a:cubicBezTo>
                  <a:pt x="314" y="179"/>
                  <a:pt x="313" y="181"/>
                  <a:pt x="313" y="183"/>
                </a:cubicBezTo>
                <a:cubicBezTo>
                  <a:pt x="313" y="186"/>
                  <a:pt x="314" y="187"/>
                  <a:pt x="315" y="189"/>
                </a:cubicBezTo>
                <a:cubicBezTo>
                  <a:pt x="316" y="190"/>
                  <a:pt x="318" y="191"/>
                  <a:pt x="320" y="191"/>
                </a:cubicBezTo>
                <a:cubicBezTo>
                  <a:pt x="322" y="191"/>
                  <a:pt x="324" y="190"/>
                  <a:pt x="326" y="189"/>
                </a:cubicBezTo>
                <a:cubicBezTo>
                  <a:pt x="327" y="187"/>
                  <a:pt x="328" y="186"/>
                  <a:pt x="328" y="183"/>
                </a:cubicBezTo>
                <a:close/>
                <a:moveTo>
                  <a:pt x="174" y="12"/>
                </a:moveTo>
                <a:cubicBezTo>
                  <a:pt x="173" y="11"/>
                  <a:pt x="171" y="10"/>
                  <a:pt x="169" y="10"/>
                </a:cubicBezTo>
                <a:cubicBezTo>
                  <a:pt x="167" y="10"/>
                  <a:pt x="165" y="11"/>
                  <a:pt x="163" y="12"/>
                </a:cubicBezTo>
                <a:cubicBezTo>
                  <a:pt x="162" y="13"/>
                  <a:pt x="161" y="15"/>
                  <a:pt x="161" y="17"/>
                </a:cubicBezTo>
                <a:cubicBezTo>
                  <a:pt x="161" y="20"/>
                  <a:pt x="162" y="21"/>
                  <a:pt x="163" y="23"/>
                </a:cubicBezTo>
                <a:cubicBezTo>
                  <a:pt x="163" y="23"/>
                  <a:pt x="163" y="23"/>
                  <a:pt x="163" y="23"/>
                </a:cubicBezTo>
                <a:cubicBezTo>
                  <a:pt x="165" y="24"/>
                  <a:pt x="167" y="25"/>
                  <a:pt x="169" y="25"/>
                </a:cubicBezTo>
                <a:cubicBezTo>
                  <a:pt x="171" y="25"/>
                  <a:pt x="173" y="24"/>
                  <a:pt x="174" y="23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6" y="21"/>
                  <a:pt x="176" y="20"/>
                  <a:pt x="176" y="17"/>
                </a:cubicBezTo>
                <a:cubicBezTo>
                  <a:pt x="176" y="15"/>
                  <a:pt x="176" y="13"/>
                  <a:pt x="174" y="12"/>
                </a:cubicBezTo>
                <a:close/>
                <a:moveTo>
                  <a:pt x="289" y="10"/>
                </a:moveTo>
                <a:cubicBezTo>
                  <a:pt x="287" y="10"/>
                  <a:pt x="285" y="11"/>
                  <a:pt x="284" y="12"/>
                </a:cubicBezTo>
                <a:cubicBezTo>
                  <a:pt x="284" y="12"/>
                  <a:pt x="284" y="12"/>
                  <a:pt x="284" y="12"/>
                </a:cubicBezTo>
                <a:cubicBezTo>
                  <a:pt x="282" y="13"/>
                  <a:pt x="281" y="15"/>
                  <a:pt x="281" y="17"/>
                </a:cubicBezTo>
                <a:cubicBezTo>
                  <a:pt x="281" y="19"/>
                  <a:pt x="282" y="21"/>
                  <a:pt x="284" y="23"/>
                </a:cubicBezTo>
                <a:cubicBezTo>
                  <a:pt x="285" y="24"/>
                  <a:pt x="287" y="25"/>
                  <a:pt x="289" y="25"/>
                </a:cubicBezTo>
                <a:cubicBezTo>
                  <a:pt x="291" y="25"/>
                  <a:pt x="293" y="24"/>
                  <a:pt x="294" y="23"/>
                </a:cubicBezTo>
                <a:cubicBezTo>
                  <a:pt x="294" y="23"/>
                  <a:pt x="294" y="23"/>
                  <a:pt x="294" y="23"/>
                </a:cubicBezTo>
                <a:cubicBezTo>
                  <a:pt x="296" y="21"/>
                  <a:pt x="296" y="20"/>
                  <a:pt x="296" y="17"/>
                </a:cubicBezTo>
                <a:cubicBezTo>
                  <a:pt x="296" y="15"/>
                  <a:pt x="296" y="13"/>
                  <a:pt x="294" y="12"/>
                </a:cubicBezTo>
                <a:cubicBezTo>
                  <a:pt x="293" y="11"/>
                  <a:pt x="291" y="10"/>
                  <a:pt x="289" y="10"/>
                </a:cubicBezTo>
                <a:close/>
                <a:moveTo>
                  <a:pt x="226" y="197"/>
                </a:moveTo>
                <a:cubicBezTo>
                  <a:pt x="226" y="196"/>
                  <a:pt x="226" y="196"/>
                  <a:pt x="226" y="196"/>
                </a:cubicBezTo>
                <a:cubicBezTo>
                  <a:pt x="226" y="195"/>
                  <a:pt x="226" y="195"/>
                  <a:pt x="226" y="194"/>
                </a:cubicBezTo>
                <a:cubicBezTo>
                  <a:pt x="226" y="171"/>
                  <a:pt x="226" y="171"/>
                  <a:pt x="226" y="171"/>
                </a:cubicBezTo>
                <a:cubicBezTo>
                  <a:pt x="226" y="171"/>
                  <a:pt x="226" y="170"/>
                  <a:pt x="226" y="170"/>
                </a:cubicBezTo>
                <a:cubicBezTo>
                  <a:pt x="226" y="170"/>
                  <a:pt x="226" y="169"/>
                  <a:pt x="226" y="169"/>
                </a:cubicBezTo>
                <a:cubicBezTo>
                  <a:pt x="226" y="134"/>
                  <a:pt x="226" y="134"/>
                  <a:pt x="226" y="134"/>
                </a:cubicBezTo>
                <a:cubicBezTo>
                  <a:pt x="226" y="132"/>
                  <a:pt x="225" y="130"/>
                  <a:pt x="223" y="128"/>
                </a:cubicBezTo>
                <a:cubicBezTo>
                  <a:pt x="222" y="127"/>
                  <a:pt x="220" y="126"/>
                  <a:pt x="217" y="126"/>
                </a:cubicBezTo>
                <a:cubicBezTo>
                  <a:pt x="120" y="126"/>
                  <a:pt x="120" y="126"/>
                  <a:pt x="120" y="126"/>
                </a:cubicBezTo>
                <a:cubicBezTo>
                  <a:pt x="118" y="126"/>
                  <a:pt x="116" y="127"/>
                  <a:pt x="114" y="128"/>
                </a:cubicBezTo>
                <a:cubicBezTo>
                  <a:pt x="113" y="130"/>
                  <a:pt x="112" y="132"/>
                  <a:pt x="112" y="134"/>
                </a:cubicBezTo>
                <a:cubicBezTo>
                  <a:pt x="112" y="231"/>
                  <a:pt x="112" y="231"/>
                  <a:pt x="112" y="231"/>
                </a:cubicBezTo>
                <a:cubicBezTo>
                  <a:pt x="112" y="234"/>
                  <a:pt x="113" y="236"/>
                  <a:pt x="114" y="237"/>
                </a:cubicBezTo>
                <a:cubicBezTo>
                  <a:pt x="114" y="237"/>
                  <a:pt x="114" y="237"/>
                  <a:pt x="114" y="237"/>
                </a:cubicBezTo>
                <a:cubicBezTo>
                  <a:pt x="116" y="239"/>
                  <a:pt x="118" y="240"/>
                  <a:pt x="120" y="240"/>
                </a:cubicBezTo>
                <a:cubicBezTo>
                  <a:pt x="217" y="240"/>
                  <a:pt x="217" y="240"/>
                  <a:pt x="217" y="240"/>
                </a:cubicBezTo>
                <a:cubicBezTo>
                  <a:pt x="220" y="240"/>
                  <a:pt x="222" y="239"/>
                  <a:pt x="223" y="237"/>
                </a:cubicBezTo>
                <a:cubicBezTo>
                  <a:pt x="225" y="236"/>
                  <a:pt x="226" y="234"/>
                  <a:pt x="226" y="231"/>
                </a:cubicBezTo>
                <a:cubicBezTo>
                  <a:pt x="226" y="197"/>
                  <a:pt x="226" y="197"/>
                  <a:pt x="226" y="197"/>
                </a:cubicBezTo>
                <a:close/>
                <a:moveTo>
                  <a:pt x="236" y="191"/>
                </a:moveTo>
                <a:cubicBezTo>
                  <a:pt x="254" y="191"/>
                  <a:pt x="254" y="191"/>
                  <a:pt x="254" y="191"/>
                </a:cubicBezTo>
                <a:cubicBezTo>
                  <a:pt x="255" y="191"/>
                  <a:pt x="255" y="191"/>
                  <a:pt x="256" y="191"/>
                </a:cubicBezTo>
                <a:cubicBezTo>
                  <a:pt x="256" y="175"/>
                  <a:pt x="256" y="175"/>
                  <a:pt x="256" y="175"/>
                </a:cubicBezTo>
                <a:cubicBezTo>
                  <a:pt x="255" y="175"/>
                  <a:pt x="255" y="175"/>
                  <a:pt x="254" y="175"/>
                </a:cubicBezTo>
                <a:cubicBezTo>
                  <a:pt x="236" y="175"/>
                  <a:pt x="236" y="175"/>
                  <a:pt x="236" y="175"/>
                </a:cubicBezTo>
                <a:cubicBezTo>
                  <a:pt x="236" y="191"/>
                  <a:pt x="236" y="191"/>
                  <a:pt x="236" y="191"/>
                </a:cubicBezTo>
                <a:close/>
                <a:moveTo>
                  <a:pt x="256" y="200"/>
                </a:moveTo>
                <a:cubicBezTo>
                  <a:pt x="255" y="200"/>
                  <a:pt x="255" y="200"/>
                  <a:pt x="254" y="200"/>
                </a:cubicBezTo>
                <a:cubicBezTo>
                  <a:pt x="236" y="200"/>
                  <a:pt x="236" y="200"/>
                  <a:pt x="236" y="200"/>
                </a:cubicBezTo>
                <a:cubicBezTo>
                  <a:pt x="236" y="231"/>
                  <a:pt x="236" y="231"/>
                  <a:pt x="236" y="231"/>
                </a:cubicBezTo>
                <a:cubicBezTo>
                  <a:pt x="236" y="236"/>
                  <a:pt x="234" y="241"/>
                  <a:pt x="230" y="244"/>
                </a:cubicBezTo>
                <a:cubicBezTo>
                  <a:pt x="227" y="248"/>
                  <a:pt x="222" y="250"/>
                  <a:pt x="217" y="250"/>
                </a:cubicBezTo>
                <a:cubicBezTo>
                  <a:pt x="120" y="250"/>
                  <a:pt x="120" y="250"/>
                  <a:pt x="120" y="250"/>
                </a:cubicBezTo>
                <a:cubicBezTo>
                  <a:pt x="115" y="250"/>
                  <a:pt x="111" y="248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4" y="241"/>
                  <a:pt x="102" y="236"/>
                  <a:pt x="102" y="231"/>
                </a:cubicBezTo>
                <a:cubicBezTo>
                  <a:pt x="102" y="200"/>
                  <a:pt x="102" y="200"/>
                  <a:pt x="102" y="200"/>
                </a:cubicBezTo>
                <a:cubicBezTo>
                  <a:pt x="82" y="200"/>
                  <a:pt x="82" y="200"/>
                  <a:pt x="82" y="200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82" y="253"/>
                  <a:pt x="84" y="259"/>
                  <a:pt x="89" y="263"/>
                </a:cubicBezTo>
                <a:cubicBezTo>
                  <a:pt x="89" y="263"/>
                  <a:pt x="89" y="263"/>
                  <a:pt x="89" y="263"/>
                </a:cubicBezTo>
                <a:cubicBezTo>
                  <a:pt x="93" y="267"/>
                  <a:pt x="99" y="270"/>
                  <a:pt x="105" y="270"/>
                </a:cubicBezTo>
                <a:cubicBezTo>
                  <a:pt x="233" y="270"/>
                  <a:pt x="233" y="270"/>
                  <a:pt x="233" y="270"/>
                </a:cubicBezTo>
                <a:cubicBezTo>
                  <a:pt x="239" y="270"/>
                  <a:pt x="245" y="267"/>
                  <a:pt x="249" y="263"/>
                </a:cubicBezTo>
                <a:cubicBezTo>
                  <a:pt x="249" y="263"/>
                  <a:pt x="249" y="263"/>
                  <a:pt x="249" y="263"/>
                </a:cubicBezTo>
                <a:cubicBezTo>
                  <a:pt x="253" y="259"/>
                  <a:pt x="256" y="253"/>
                  <a:pt x="256" y="246"/>
                </a:cubicBezTo>
                <a:cubicBezTo>
                  <a:pt x="256" y="200"/>
                  <a:pt x="256" y="200"/>
                  <a:pt x="256" y="200"/>
                </a:cubicBezTo>
                <a:close/>
                <a:moveTo>
                  <a:pt x="236" y="165"/>
                </a:moveTo>
                <a:cubicBezTo>
                  <a:pt x="254" y="165"/>
                  <a:pt x="254" y="165"/>
                  <a:pt x="254" y="165"/>
                </a:cubicBezTo>
                <a:cubicBezTo>
                  <a:pt x="255" y="165"/>
                  <a:pt x="255" y="165"/>
                  <a:pt x="256" y="165"/>
                </a:cubicBezTo>
                <a:cubicBezTo>
                  <a:pt x="256" y="119"/>
                  <a:pt x="256" y="119"/>
                  <a:pt x="256" y="119"/>
                </a:cubicBezTo>
                <a:cubicBezTo>
                  <a:pt x="256" y="113"/>
                  <a:pt x="253" y="107"/>
                  <a:pt x="249" y="103"/>
                </a:cubicBezTo>
                <a:cubicBezTo>
                  <a:pt x="245" y="98"/>
                  <a:pt x="239" y="96"/>
                  <a:pt x="233" y="96"/>
                </a:cubicBezTo>
                <a:cubicBezTo>
                  <a:pt x="105" y="96"/>
                  <a:pt x="105" y="96"/>
                  <a:pt x="105" y="96"/>
                </a:cubicBezTo>
                <a:cubicBezTo>
                  <a:pt x="99" y="96"/>
                  <a:pt x="93" y="98"/>
                  <a:pt x="89" y="103"/>
                </a:cubicBezTo>
                <a:cubicBezTo>
                  <a:pt x="84" y="107"/>
                  <a:pt x="82" y="113"/>
                  <a:pt x="82" y="119"/>
                </a:cubicBezTo>
                <a:cubicBezTo>
                  <a:pt x="82" y="165"/>
                  <a:pt x="82" y="165"/>
                  <a:pt x="8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29"/>
                  <a:pt x="104" y="124"/>
                  <a:pt x="107" y="121"/>
                </a:cubicBezTo>
                <a:cubicBezTo>
                  <a:pt x="111" y="118"/>
                  <a:pt x="115" y="116"/>
                  <a:pt x="120" y="116"/>
                </a:cubicBezTo>
                <a:cubicBezTo>
                  <a:pt x="217" y="116"/>
                  <a:pt x="217" y="116"/>
                  <a:pt x="217" y="116"/>
                </a:cubicBezTo>
                <a:cubicBezTo>
                  <a:pt x="222" y="116"/>
                  <a:pt x="227" y="118"/>
                  <a:pt x="230" y="121"/>
                </a:cubicBezTo>
                <a:cubicBezTo>
                  <a:pt x="230" y="121"/>
                  <a:pt x="230" y="121"/>
                  <a:pt x="230" y="121"/>
                </a:cubicBezTo>
                <a:cubicBezTo>
                  <a:pt x="234" y="124"/>
                  <a:pt x="236" y="129"/>
                  <a:pt x="236" y="134"/>
                </a:cubicBezTo>
                <a:cubicBezTo>
                  <a:pt x="236" y="165"/>
                  <a:pt x="236" y="165"/>
                  <a:pt x="236" y="165"/>
                </a:cubicBezTo>
                <a:close/>
                <a:moveTo>
                  <a:pt x="82" y="191"/>
                </a:moveTo>
                <a:cubicBezTo>
                  <a:pt x="102" y="191"/>
                  <a:pt x="102" y="191"/>
                  <a:pt x="102" y="191"/>
                </a:cubicBezTo>
                <a:cubicBezTo>
                  <a:pt x="102" y="175"/>
                  <a:pt x="102" y="175"/>
                  <a:pt x="102" y="175"/>
                </a:cubicBezTo>
                <a:cubicBezTo>
                  <a:pt x="82" y="175"/>
                  <a:pt x="82" y="175"/>
                  <a:pt x="82" y="175"/>
                </a:cubicBezTo>
                <a:cubicBezTo>
                  <a:pt x="82" y="191"/>
                  <a:pt x="82" y="191"/>
                  <a:pt x="82" y="191"/>
                </a:cubicBezTo>
                <a:close/>
                <a:moveTo>
                  <a:pt x="207" y="211"/>
                </a:moveTo>
                <a:cubicBezTo>
                  <a:pt x="201" y="211"/>
                  <a:pt x="197" y="216"/>
                  <a:pt x="197" y="221"/>
                </a:cubicBezTo>
                <a:cubicBezTo>
                  <a:pt x="197" y="227"/>
                  <a:pt x="201" y="231"/>
                  <a:pt x="207" y="231"/>
                </a:cubicBezTo>
                <a:cubicBezTo>
                  <a:pt x="213" y="231"/>
                  <a:pt x="217" y="227"/>
                  <a:pt x="217" y="221"/>
                </a:cubicBezTo>
                <a:cubicBezTo>
                  <a:pt x="217" y="216"/>
                  <a:pt x="213" y="211"/>
                  <a:pt x="207" y="211"/>
                </a:cubicBezTo>
                <a:close/>
                <a:moveTo>
                  <a:pt x="181" y="211"/>
                </a:moveTo>
                <a:cubicBezTo>
                  <a:pt x="175" y="211"/>
                  <a:pt x="171" y="216"/>
                  <a:pt x="171" y="221"/>
                </a:cubicBezTo>
                <a:cubicBezTo>
                  <a:pt x="171" y="227"/>
                  <a:pt x="175" y="231"/>
                  <a:pt x="181" y="231"/>
                </a:cubicBezTo>
                <a:cubicBezTo>
                  <a:pt x="187" y="231"/>
                  <a:pt x="191" y="227"/>
                  <a:pt x="191" y="221"/>
                </a:cubicBezTo>
                <a:cubicBezTo>
                  <a:pt x="191" y="216"/>
                  <a:pt x="187" y="211"/>
                  <a:pt x="181" y="211"/>
                </a:cubicBezTo>
                <a:close/>
                <a:moveTo>
                  <a:pt x="155" y="211"/>
                </a:moveTo>
                <a:cubicBezTo>
                  <a:pt x="149" y="211"/>
                  <a:pt x="145" y="216"/>
                  <a:pt x="145" y="221"/>
                </a:cubicBezTo>
                <a:cubicBezTo>
                  <a:pt x="145" y="227"/>
                  <a:pt x="149" y="231"/>
                  <a:pt x="155" y="231"/>
                </a:cubicBezTo>
                <a:cubicBezTo>
                  <a:pt x="161" y="231"/>
                  <a:pt x="165" y="227"/>
                  <a:pt x="165" y="221"/>
                </a:cubicBezTo>
                <a:cubicBezTo>
                  <a:pt x="165" y="216"/>
                  <a:pt x="161" y="211"/>
                  <a:pt x="155" y="211"/>
                </a:cubicBezTo>
                <a:close/>
                <a:moveTo>
                  <a:pt x="129" y="211"/>
                </a:moveTo>
                <a:cubicBezTo>
                  <a:pt x="124" y="211"/>
                  <a:pt x="119" y="216"/>
                  <a:pt x="119" y="221"/>
                </a:cubicBezTo>
                <a:cubicBezTo>
                  <a:pt x="119" y="227"/>
                  <a:pt x="124" y="231"/>
                  <a:pt x="129" y="231"/>
                </a:cubicBezTo>
                <a:cubicBezTo>
                  <a:pt x="135" y="231"/>
                  <a:pt x="139" y="227"/>
                  <a:pt x="139" y="221"/>
                </a:cubicBezTo>
                <a:cubicBezTo>
                  <a:pt x="139" y="216"/>
                  <a:pt x="135" y="211"/>
                  <a:pt x="129" y="211"/>
                </a:cubicBezTo>
                <a:close/>
                <a:moveTo>
                  <a:pt x="207" y="186"/>
                </a:moveTo>
                <a:cubicBezTo>
                  <a:pt x="201" y="186"/>
                  <a:pt x="197" y="190"/>
                  <a:pt x="197" y="196"/>
                </a:cubicBezTo>
                <a:cubicBezTo>
                  <a:pt x="197" y="202"/>
                  <a:pt x="201" y="206"/>
                  <a:pt x="207" y="206"/>
                </a:cubicBezTo>
                <a:cubicBezTo>
                  <a:pt x="213" y="206"/>
                  <a:pt x="217" y="202"/>
                  <a:pt x="217" y="196"/>
                </a:cubicBezTo>
                <a:cubicBezTo>
                  <a:pt x="217" y="190"/>
                  <a:pt x="213" y="186"/>
                  <a:pt x="207" y="186"/>
                </a:cubicBezTo>
                <a:close/>
                <a:moveTo>
                  <a:pt x="181" y="186"/>
                </a:moveTo>
                <a:cubicBezTo>
                  <a:pt x="175" y="186"/>
                  <a:pt x="171" y="190"/>
                  <a:pt x="171" y="196"/>
                </a:cubicBezTo>
                <a:cubicBezTo>
                  <a:pt x="171" y="202"/>
                  <a:pt x="175" y="206"/>
                  <a:pt x="181" y="206"/>
                </a:cubicBezTo>
                <a:cubicBezTo>
                  <a:pt x="187" y="206"/>
                  <a:pt x="191" y="202"/>
                  <a:pt x="191" y="196"/>
                </a:cubicBezTo>
                <a:cubicBezTo>
                  <a:pt x="191" y="190"/>
                  <a:pt x="187" y="186"/>
                  <a:pt x="181" y="186"/>
                </a:cubicBezTo>
                <a:close/>
                <a:moveTo>
                  <a:pt x="155" y="186"/>
                </a:moveTo>
                <a:cubicBezTo>
                  <a:pt x="149" y="186"/>
                  <a:pt x="145" y="190"/>
                  <a:pt x="145" y="196"/>
                </a:cubicBezTo>
                <a:cubicBezTo>
                  <a:pt x="145" y="202"/>
                  <a:pt x="149" y="206"/>
                  <a:pt x="155" y="206"/>
                </a:cubicBezTo>
                <a:cubicBezTo>
                  <a:pt x="161" y="206"/>
                  <a:pt x="165" y="202"/>
                  <a:pt x="165" y="196"/>
                </a:cubicBezTo>
                <a:cubicBezTo>
                  <a:pt x="165" y="190"/>
                  <a:pt x="161" y="186"/>
                  <a:pt x="155" y="186"/>
                </a:cubicBezTo>
                <a:close/>
                <a:moveTo>
                  <a:pt x="129" y="186"/>
                </a:moveTo>
                <a:cubicBezTo>
                  <a:pt x="124" y="186"/>
                  <a:pt x="119" y="190"/>
                  <a:pt x="119" y="196"/>
                </a:cubicBezTo>
                <a:cubicBezTo>
                  <a:pt x="119" y="202"/>
                  <a:pt x="124" y="206"/>
                  <a:pt x="129" y="206"/>
                </a:cubicBezTo>
                <a:cubicBezTo>
                  <a:pt x="135" y="206"/>
                  <a:pt x="139" y="202"/>
                  <a:pt x="139" y="196"/>
                </a:cubicBezTo>
                <a:cubicBezTo>
                  <a:pt x="139" y="190"/>
                  <a:pt x="135" y="186"/>
                  <a:pt x="129" y="186"/>
                </a:cubicBezTo>
                <a:close/>
                <a:moveTo>
                  <a:pt x="207" y="160"/>
                </a:moveTo>
                <a:cubicBezTo>
                  <a:pt x="201" y="160"/>
                  <a:pt x="197" y="165"/>
                  <a:pt x="197" y="170"/>
                </a:cubicBezTo>
                <a:cubicBezTo>
                  <a:pt x="197" y="176"/>
                  <a:pt x="201" y="181"/>
                  <a:pt x="207" y="181"/>
                </a:cubicBezTo>
                <a:cubicBezTo>
                  <a:pt x="213" y="181"/>
                  <a:pt x="217" y="176"/>
                  <a:pt x="217" y="170"/>
                </a:cubicBezTo>
                <a:cubicBezTo>
                  <a:pt x="217" y="165"/>
                  <a:pt x="213" y="160"/>
                  <a:pt x="207" y="160"/>
                </a:cubicBezTo>
                <a:close/>
                <a:moveTo>
                  <a:pt x="181" y="160"/>
                </a:moveTo>
                <a:cubicBezTo>
                  <a:pt x="175" y="160"/>
                  <a:pt x="171" y="165"/>
                  <a:pt x="171" y="170"/>
                </a:cubicBezTo>
                <a:cubicBezTo>
                  <a:pt x="171" y="176"/>
                  <a:pt x="175" y="181"/>
                  <a:pt x="181" y="181"/>
                </a:cubicBezTo>
                <a:cubicBezTo>
                  <a:pt x="187" y="181"/>
                  <a:pt x="191" y="176"/>
                  <a:pt x="191" y="170"/>
                </a:cubicBezTo>
                <a:cubicBezTo>
                  <a:pt x="191" y="165"/>
                  <a:pt x="187" y="160"/>
                  <a:pt x="181" y="160"/>
                </a:cubicBezTo>
                <a:close/>
                <a:moveTo>
                  <a:pt x="155" y="160"/>
                </a:moveTo>
                <a:cubicBezTo>
                  <a:pt x="149" y="160"/>
                  <a:pt x="145" y="165"/>
                  <a:pt x="145" y="170"/>
                </a:cubicBezTo>
                <a:cubicBezTo>
                  <a:pt x="145" y="176"/>
                  <a:pt x="149" y="181"/>
                  <a:pt x="155" y="181"/>
                </a:cubicBezTo>
                <a:cubicBezTo>
                  <a:pt x="161" y="181"/>
                  <a:pt x="165" y="176"/>
                  <a:pt x="165" y="170"/>
                </a:cubicBezTo>
                <a:cubicBezTo>
                  <a:pt x="165" y="165"/>
                  <a:pt x="161" y="160"/>
                  <a:pt x="155" y="160"/>
                </a:cubicBezTo>
                <a:close/>
                <a:moveTo>
                  <a:pt x="129" y="160"/>
                </a:moveTo>
                <a:cubicBezTo>
                  <a:pt x="124" y="160"/>
                  <a:pt x="119" y="165"/>
                  <a:pt x="119" y="170"/>
                </a:cubicBezTo>
                <a:cubicBezTo>
                  <a:pt x="119" y="176"/>
                  <a:pt x="124" y="181"/>
                  <a:pt x="129" y="181"/>
                </a:cubicBezTo>
                <a:cubicBezTo>
                  <a:pt x="135" y="181"/>
                  <a:pt x="139" y="176"/>
                  <a:pt x="139" y="170"/>
                </a:cubicBezTo>
                <a:cubicBezTo>
                  <a:pt x="139" y="165"/>
                  <a:pt x="135" y="160"/>
                  <a:pt x="129" y="160"/>
                </a:cubicBezTo>
                <a:close/>
                <a:moveTo>
                  <a:pt x="207" y="135"/>
                </a:moveTo>
                <a:cubicBezTo>
                  <a:pt x="201" y="135"/>
                  <a:pt x="197" y="139"/>
                  <a:pt x="197" y="145"/>
                </a:cubicBezTo>
                <a:cubicBezTo>
                  <a:pt x="197" y="151"/>
                  <a:pt x="201" y="155"/>
                  <a:pt x="207" y="155"/>
                </a:cubicBezTo>
                <a:cubicBezTo>
                  <a:pt x="213" y="155"/>
                  <a:pt x="217" y="151"/>
                  <a:pt x="217" y="145"/>
                </a:cubicBezTo>
                <a:cubicBezTo>
                  <a:pt x="217" y="139"/>
                  <a:pt x="213" y="135"/>
                  <a:pt x="207" y="135"/>
                </a:cubicBezTo>
                <a:close/>
                <a:moveTo>
                  <a:pt x="181" y="135"/>
                </a:moveTo>
                <a:cubicBezTo>
                  <a:pt x="175" y="135"/>
                  <a:pt x="171" y="139"/>
                  <a:pt x="171" y="145"/>
                </a:cubicBezTo>
                <a:cubicBezTo>
                  <a:pt x="171" y="151"/>
                  <a:pt x="175" y="155"/>
                  <a:pt x="181" y="155"/>
                </a:cubicBezTo>
                <a:cubicBezTo>
                  <a:pt x="187" y="155"/>
                  <a:pt x="191" y="151"/>
                  <a:pt x="191" y="145"/>
                </a:cubicBezTo>
                <a:cubicBezTo>
                  <a:pt x="191" y="139"/>
                  <a:pt x="187" y="135"/>
                  <a:pt x="181" y="135"/>
                </a:cubicBezTo>
                <a:close/>
                <a:moveTo>
                  <a:pt x="155" y="135"/>
                </a:moveTo>
                <a:cubicBezTo>
                  <a:pt x="149" y="135"/>
                  <a:pt x="145" y="139"/>
                  <a:pt x="145" y="145"/>
                </a:cubicBezTo>
                <a:cubicBezTo>
                  <a:pt x="145" y="151"/>
                  <a:pt x="149" y="155"/>
                  <a:pt x="155" y="155"/>
                </a:cubicBezTo>
                <a:cubicBezTo>
                  <a:pt x="161" y="155"/>
                  <a:pt x="165" y="151"/>
                  <a:pt x="165" y="145"/>
                </a:cubicBezTo>
                <a:cubicBezTo>
                  <a:pt x="165" y="139"/>
                  <a:pt x="161" y="135"/>
                  <a:pt x="155" y="135"/>
                </a:cubicBezTo>
                <a:close/>
                <a:moveTo>
                  <a:pt x="129" y="135"/>
                </a:moveTo>
                <a:cubicBezTo>
                  <a:pt x="124" y="135"/>
                  <a:pt x="119" y="139"/>
                  <a:pt x="119" y="145"/>
                </a:cubicBezTo>
                <a:cubicBezTo>
                  <a:pt x="119" y="151"/>
                  <a:pt x="124" y="155"/>
                  <a:pt x="129" y="155"/>
                </a:cubicBezTo>
                <a:cubicBezTo>
                  <a:pt x="135" y="155"/>
                  <a:pt x="139" y="151"/>
                  <a:pt x="139" y="145"/>
                </a:cubicBezTo>
                <a:cubicBezTo>
                  <a:pt x="139" y="139"/>
                  <a:pt x="135" y="135"/>
                  <a:pt x="129" y="135"/>
                </a:cubicBezTo>
                <a:close/>
                <a:moveTo>
                  <a:pt x="56" y="12"/>
                </a:moveTo>
                <a:cubicBezTo>
                  <a:pt x="54" y="11"/>
                  <a:pt x="52" y="10"/>
                  <a:pt x="50" y="10"/>
                </a:cubicBezTo>
                <a:cubicBezTo>
                  <a:pt x="48" y="10"/>
                  <a:pt x="46" y="11"/>
                  <a:pt x="45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3" y="13"/>
                  <a:pt x="43" y="15"/>
                  <a:pt x="43" y="17"/>
                </a:cubicBezTo>
                <a:cubicBezTo>
                  <a:pt x="43" y="20"/>
                  <a:pt x="43" y="21"/>
                  <a:pt x="45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6" y="24"/>
                  <a:pt x="48" y="25"/>
                  <a:pt x="50" y="25"/>
                </a:cubicBezTo>
                <a:cubicBezTo>
                  <a:pt x="52" y="25"/>
                  <a:pt x="54" y="24"/>
                  <a:pt x="56" y="23"/>
                </a:cubicBezTo>
                <a:cubicBezTo>
                  <a:pt x="56" y="23"/>
                  <a:pt x="56" y="23"/>
                  <a:pt x="56" y="23"/>
                </a:cubicBezTo>
                <a:cubicBezTo>
                  <a:pt x="57" y="21"/>
                  <a:pt x="58" y="20"/>
                  <a:pt x="58" y="17"/>
                </a:cubicBezTo>
                <a:cubicBezTo>
                  <a:pt x="58" y="15"/>
                  <a:pt x="57" y="13"/>
                  <a:pt x="5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defTabSz="1828343"/>
            <a:endParaRPr lang="pt-BR" sz="3599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49" name="Conector reto 148"/>
          <p:cNvCxnSpPr/>
          <p:nvPr/>
        </p:nvCxnSpPr>
        <p:spPr>
          <a:xfrm>
            <a:off x="17958203" y="8139128"/>
            <a:ext cx="2992666" cy="0"/>
          </a:xfrm>
          <a:prstGeom prst="line">
            <a:avLst/>
          </a:prstGeom>
          <a:ln w="101600">
            <a:solidFill>
              <a:srgbClr val="ECC5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" name="Agrupar 206"/>
          <p:cNvGrpSpPr/>
          <p:nvPr/>
        </p:nvGrpSpPr>
        <p:grpSpPr>
          <a:xfrm>
            <a:off x="17959065" y="8695929"/>
            <a:ext cx="2939368" cy="2943633"/>
            <a:chOff x="1588" y="0"/>
            <a:chExt cx="1095374" cy="1096963"/>
          </a:xfrm>
          <a:solidFill>
            <a:schemeClr val="bg1">
              <a:alpha val="30000"/>
            </a:schemeClr>
          </a:solidFill>
        </p:grpSpPr>
        <p:sp>
          <p:nvSpPr>
            <p:cNvPr id="153" name="Freeform 70"/>
            <p:cNvSpPr>
              <a:spLocks noEditPoints="1"/>
            </p:cNvSpPr>
            <p:nvPr/>
          </p:nvSpPr>
          <p:spPr bwMode="auto">
            <a:xfrm>
              <a:off x="1588" y="0"/>
              <a:ext cx="1095374" cy="1096963"/>
            </a:xfrm>
            <a:custGeom>
              <a:avLst/>
              <a:gdLst>
                <a:gd name="T0" fmla="*/ 690 w 690"/>
                <a:gd name="T1" fmla="*/ 691 h 691"/>
                <a:gd name="T2" fmla="*/ 0 w 690"/>
                <a:gd name="T3" fmla="*/ 691 h 691"/>
                <a:gd name="T4" fmla="*/ 0 w 690"/>
                <a:gd name="T5" fmla="*/ 0 h 691"/>
                <a:gd name="T6" fmla="*/ 690 w 690"/>
                <a:gd name="T7" fmla="*/ 0 h 691"/>
                <a:gd name="T8" fmla="*/ 690 w 690"/>
                <a:gd name="T9" fmla="*/ 691 h 691"/>
                <a:gd name="T10" fmla="*/ 22 w 690"/>
                <a:gd name="T11" fmla="*/ 669 h 691"/>
                <a:gd name="T12" fmla="*/ 668 w 690"/>
                <a:gd name="T13" fmla="*/ 669 h 691"/>
                <a:gd name="T14" fmla="*/ 668 w 690"/>
                <a:gd name="T15" fmla="*/ 22 h 691"/>
                <a:gd name="T16" fmla="*/ 22 w 690"/>
                <a:gd name="T17" fmla="*/ 22 h 691"/>
                <a:gd name="T18" fmla="*/ 22 w 690"/>
                <a:gd name="T19" fmla="*/ 66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0" h="691">
                  <a:moveTo>
                    <a:pt x="690" y="691"/>
                  </a:moveTo>
                  <a:lnTo>
                    <a:pt x="0" y="691"/>
                  </a:lnTo>
                  <a:lnTo>
                    <a:pt x="0" y="0"/>
                  </a:lnTo>
                  <a:lnTo>
                    <a:pt x="690" y="0"/>
                  </a:lnTo>
                  <a:lnTo>
                    <a:pt x="690" y="691"/>
                  </a:lnTo>
                  <a:close/>
                  <a:moveTo>
                    <a:pt x="22" y="669"/>
                  </a:moveTo>
                  <a:lnTo>
                    <a:pt x="668" y="669"/>
                  </a:lnTo>
                  <a:lnTo>
                    <a:pt x="668" y="22"/>
                  </a:lnTo>
                  <a:lnTo>
                    <a:pt x="22" y="22"/>
                  </a:lnTo>
                  <a:lnTo>
                    <a:pt x="22" y="6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4" name="Rectangle 71"/>
            <p:cNvSpPr>
              <a:spLocks noChangeArrowheads="1"/>
            </p:cNvSpPr>
            <p:nvPr/>
          </p:nvSpPr>
          <p:spPr bwMode="auto">
            <a:xfrm>
              <a:off x="55679" y="136525"/>
              <a:ext cx="996454" cy="4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5" name="Rectangle 72"/>
            <p:cNvSpPr>
              <a:spLocks noChangeArrowheads="1"/>
            </p:cNvSpPr>
            <p:nvPr/>
          </p:nvSpPr>
          <p:spPr bwMode="auto">
            <a:xfrm>
              <a:off x="69850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6" name="Rectangle 73"/>
            <p:cNvSpPr>
              <a:spLocks noChangeArrowheads="1"/>
            </p:cNvSpPr>
            <p:nvPr/>
          </p:nvSpPr>
          <p:spPr bwMode="auto">
            <a:xfrm>
              <a:off x="138113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Rectangle 74"/>
            <p:cNvSpPr>
              <a:spLocks noChangeArrowheads="1"/>
            </p:cNvSpPr>
            <p:nvPr/>
          </p:nvSpPr>
          <p:spPr bwMode="auto">
            <a:xfrm>
              <a:off x="206375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Rectangle 76"/>
            <p:cNvSpPr>
              <a:spLocks noChangeArrowheads="1"/>
            </p:cNvSpPr>
            <p:nvPr/>
          </p:nvSpPr>
          <p:spPr bwMode="auto">
            <a:xfrm>
              <a:off x="344488" y="68263"/>
              <a:ext cx="684212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reeform 77"/>
            <p:cNvSpPr>
              <a:spLocks noEditPoints="1"/>
            </p:cNvSpPr>
            <p:nvPr/>
          </p:nvSpPr>
          <p:spPr bwMode="auto">
            <a:xfrm>
              <a:off x="258763" y="393700"/>
              <a:ext cx="581025" cy="446088"/>
            </a:xfrm>
            <a:custGeom>
              <a:avLst/>
              <a:gdLst>
                <a:gd name="T0" fmla="*/ 132 w 136"/>
                <a:gd name="T1" fmla="*/ 104 h 104"/>
                <a:gd name="T2" fmla="*/ 4 w 136"/>
                <a:gd name="T3" fmla="*/ 104 h 104"/>
                <a:gd name="T4" fmla="*/ 0 w 136"/>
                <a:gd name="T5" fmla="*/ 102 h 104"/>
                <a:gd name="T6" fmla="*/ 1 w 136"/>
                <a:gd name="T7" fmla="*/ 98 h 104"/>
                <a:gd name="T8" fmla="*/ 65 w 136"/>
                <a:gd name="T9" fmla="*/ 2 h 104"/>
                <a:gd name="T10" fmla="*/ 71 w 136"/>
                <a:gd name="T11" fmla="*/ 2 h 104"/>
                <a:gd name="T12" fmla="*/ 135 w 136"/>
                <a:gd name="T13" fmla="*/ 98 h 104"/>
                <a:gd name="T14" fmla="*/ 136 w 136"/>
                <a:gd name="T15" fmla="*/ 102 h 104"/>
                <a:gd name="T16" fmla="*/ 132 w 136"/>
                <a:gd name="T17" fmla="*/ 104 h 104"/>
                <a:gd name="T18" fmla="*/ 11 w 136"/>
                <a:gd name="T19" fmla="*/ 96 h 104"/>
                <a:gd name="T20" fmla="*/ 125 w 136"/>
                <a:gd name="T21" fmla="*/ 96 h 104"/>
                <a:gd name="T22" fmla="*/ 68 w 136"/>
                <a:gd name="T23" fmla="*/ 11 h 104"/>
                <a:gd name="T24" fmla="*/ 11 w 136"/>
                <a:gd name="T25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104">
                  <a:moveTo>
                    <a:pt x="132" y="104"/>
                  </a:moveTo>
                  <a:cubicBezTo>
                    <a:pt x="4" y="104"/>
                    <a:pt x="4" y="104"/>
                    <a:pt x="4" y="104"/>
                  </a:cubicBezTo>
                  <a:cubicBezTo>
                    <a:pt x="3" y="104"/>
                    <a:pt x="1" y="103"/>
                    <a:pt x="0" y="102"/>
                  </a:cubicBezTo>
                  <a:cubicBezTo>
                    <a:pt x="0" y="101"/>
                    <a:pt x="0" y="99"/>
                    <a:pt x="1" y="98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0"/>
                    <a:pt x="70" y="0"/>
                    <a:pt x="71" y="2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36" y="99"/>
                    <a:pt x="136" y="101"/>
                    <a:pt x="136" y="102"/>
                  </a:cubicBezTo>
                  <a:cubicBezTo>
                    <a:pt x="135" y="103"/>
                    <a:pt x="133" y="104"/>
                    <a:pt x="132" y="104"/>
                  </a:cubicBezTo>
                  <a:close/>
                  <a:moveTo>
                    <a:pt x="11" y="96"/>
                  </a:moveTo>
                  <a:cubicBezTo>
                    <a:pt x="125" y="96"/>
                    <a:pt x="125" y="96"/>
                    <a:pt x="125" y="96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11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Rectangle 78"/>
            <p:cNvSpPr>
              <a:spLocks noChangeArrowheads="1"/>
            </p:cNvSpPr>
            <p:nvPr/>
          </p:nvSpPr>
          <p:spPr bwMode="auto">
            <a:xfrm>
              <a:off x="531813" y="547688"/>
              <a:ext cx="3492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2" name="Rectangle 79"/>
            <p:cNvSpPr>
              <a:spLocks noChangeArrowheads="1"/>
            </p:cNvSpPr>
            <p:nvPr/>
          </p:nvSpPr>
          <p:spPr bwMode="auto">
            <a:xfrm>
              <a:off x="531813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3" name="Rectangle 80"/>
            <p:cNvSpPr>
              <a:spLocks noChangeArrowheads="1"/>
            </p:cNvSpPr>
            <p:nvPr/>
          </p:nvSpPr>
          <p:spPr bwMode="auto">
            <a:xfrm>
              <a:off x="1206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4" name="Rectangle 81"/>
            <p:cNvSpPr>
              <a:spLocks noChangeArrowheads="1"/>
            </p:cNvSpPr>
            <p:nvPr/>
          </p:nvSpPr>
          <p:spPr bwMode="auto">
            <a:xfrm>
              <a:off x="25876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5" name="Rectangle 82"/>
            <p:cNvSpPr>
              <a:spLocks noChangeArrowheads="1"/>
            </p:cNvSpPr>
            <p:nvPr/>
          </p:nvSpPr>
          <p:spPr bwMode="auto">
            <a:xfrm>
              <a:off x="32702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6" name="Rectangle 83"/>
            <p:cNvSpPr>
              <a:spLocks noChangeArrowheads="1"/>
            </p:cNvSpPr>
            <p:nvPr/>
          </p:nvSpPr>
          <p:spPr bwMode="auto">
            <a:xfrm>
              <a:off x="395288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7" name="Rectangle 84"/>
            <p:cNvSpPr>
              <a:spLocks noChangeArrowheads="1"/>
            </p:cNvSpPr>
            <p:nvPr/>
          </p:nvSpPr>
          <p:spPr bwMode="auto">
            <a:xfrm>
              <a:off x="4635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8" name="Rectangle 85"/>
            <p:cNvSpPr>
              <a:spLocks noChangeArrowheads="1"/>
            </p:cNvSpPr>
            <p:nvPr/>
          </p:nvSpPr>
          <p:spPr bwMode="auto">
            <a:xfrm>
              <a:off x="531813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9" name="Rectangle 86"/>
            <p:cNvSpPr>
              <a:spLocks noChangeArrowheads="1"/>
            </p:cNvSpPr>
            <p:nvPr/>
          </p:nvSpPr>
          <p:spPr bwMode="auto">
            <a:xfrm>
              <a:off x="600075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0" name="Rectangle 87"/>
            <p:cNvSpPr>
              <a:spLocks noChangeArrowheads="1"/>
            </p:cNvSpPr>
            <p:nvPr/>
          </p:nvSpPr>
          <p:spPr bwMode="auto">
            <a:xfrm>
              <a:off x="668338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1" name="Rectangle 88"/>
            <p:cNvSpPr>
              <a:spLocks noChangeArrowheads="1"/>
            </p:cNvSpPr>
            <p:nvPr/>
          </p:nvSpPr>
          <p:spPr bwMode="auto">
            <a:xfrm>
              <a:off x="73660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2" name="Rectangle 89"/>
            <p:cNvSpPr>
              <a:spLocks noChangeArrowheads="1"/>
            </p:cNvSpPr>
            <p:nvPr/>
          </p:nvSpPr>
          <p:spPr bwMode="auto">
            <a:xfrm>
              <a:off x="80645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3" name="Rectangle 90"/>
            <p:cNvSpPr>
              <a:spLocks noChangeArrowheads="1"/>
            </p:cNvSpPr>
            <p:nvPr/>
          </p:nvSpPr>
          <p:spPr bwMode="auto">
            <a:xfrm>
              <a:off x="87471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4" name="Rectangle 91"/>
            <p:cNvSpPr>
              <a:spLocks noChangeArrowheads="1"/>
            </p:cNvSpPr>
            <p:nvPr/>
          </p:nvSpPr>
          <p:spPr bwMode="auto">
            <a:xfrm>
              <a:off x="19050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5" name="Rectangle 92"/>
            <p:cNvSpPr>
              <a:spLocks noChangeArrowheads="1"/>
            </p:cNvSpPr>
            <p:nvPr/>
          </p:nvSpPr>
          <p:spPr bwMode="auto">
            <a:xfrm>
              <a:off x="94297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6" name="Rectangle 93"/>
            <p:cNvSpPr>
              <a:spLocks noChangeArrowheads="1"/>
            </p:cNvSpPr>
            <p:nvPr/>
          </p:nvSpPr>
          <p:spPr bwMode="auto">
            <a:xfrm>
              <a:off x="1206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7" name="Rectangle 94"/>
            <p:cNvSpPr>
              <a:spLocks noChangeArrowheads="1"/>
            </p:cNvSpPr>
            <p:nvPr/>
          </p:nvSpPr>
          <p:spPr bwMode="auto">
            <a:xfrm>
              <a:off x="25876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8" name="Rectangle 95"/>
            <p:cNvSpPr>
              <a:spLocks noChangeArrowheads="1"/>
            </p:cNvSpPr>
            <p:nvPr/>
          </p:nvSpPr>
          <p:spPr bwMode="auto">
            <a:xfrm>
              <a:off x="19050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9" name="Rectangle 96"/>
            <p:cNvSpPr>
              <a:spLocks noChangeArrowheads="1"/>
            </p:cNvSpPr>
            <p:nvPr/>
          </p:nvSpPr>
          <p:spPr bwMode="auto">
            <a:xfrm>
              <a:off x="87471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0" name="Rectangle 97"/>
            <p:cNvSpPr>
              <a:spLocks noChangeArrowheads="1"/>
            </p:cNvSpPr>
            <p:nvPr/>
          </p:nvSpPr>
          <p:spPr bwMode="auto">
            <a:xfrm>
              <a:off x="32702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1" name="Rectangle 98"/>
            <p:cNvSpPr>
              <a:spLocks noChangeArrowheads="1"/>
            </p:cNvSpPr>
            <p:nvPr/>
          </p:nvSpPr>
          <p:spPr bwMode="auto">
            <a:xfrm>
              <a:off x="395288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2" name="Rectangle 99"/>
            <p:cNvSpPr>
              <a:spLocks noChangeArrowheads="1"/>
            </p:cNvSpPr>
            <p:nvPr/>
          </p:nvSpPr>
          <p:spPr bwMode="auto">
            <a:xfrm>
              <a:off x="4635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3" name="Rectangle 100"/>
            <p:cNvSpPr>
              <a:spLocks noChangeArrowheads="1"/>
            </p:cNvSpPr>
            <p:nvPr/>
          </p:nvSpPr>
          <p:spPr bwMode="auto">
            <a:xfrm>
              <a:off x="531813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4" name="Rectangle 101"/>
            <p:cNvSpPr>
              <a:spLocks noChangeArrowheads="1"/>
            </p:cNvSpPr>
            <p:nvPr/>
          </p:nvSpPr>
          <p:spPr bwMode="auto">
            <a:xfrm>
              <a:off x="600075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5" name="Rectangle 102"/>
            <p:cNvSpPr>
              <a:spLocks noChangeArrowheads="1"/>
            </p:cNvSpPr>
            <p:nvPr/>
          </p:nvSpPr>
          <p:spPr bwMode="auto">
            <a:xfrm>
              <a:off x="668338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6" name="Rectangle 103"/>
            <p:cNvSpPr>
              <a:spLocks noChangeArrowheads="1"/>
            </p:cNvSpPr>
            <p:nvPr/>
          </p:nvSpPr>
          <p:spPr bwMode="auto">
            <a:xfrm>
              <a:off x="73660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7" name="Rectangle 104"/>
            <p:cNvSpPr>
              <a:spLocks noChangeArrowheads="1"/>
            </p:cNvSpPr>
            <p:nvPr/>
          </p:nvSpPr>
          <p:spPr bwMode="auto">
            <a:xfrm>
              <a:off x="80645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8" name="Rectangle 105"/>
            <p:cNvSpPr>
              <a:spLocks noChangeArrowheads="1"/>
            </p:cNvSpPr>
            <p:nvPr/>
          </p:nvSpPr>
          <p:spPr bwMode="auto">
            <a:xfrm>
              <a:off x="94297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9" name="Rectangle 106"/>
            <p:cNvSpPr>
              <a:spLocks noChangeArrowheads="1"/>
            </p:cNvSpPr>
            <p:nvPr/>
          </p:nvSpPr>
          <p:spPr bwMode="auto">
            <a:xfrm>
              <a:off x="942975" y="3937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0" name="Rectangle 107"/>
            <p:cNvSpPr>
              <a:spLocks noChangeArrowheads="1"/>
            </p:cNvSpPr>
            <p:nvPr/>
          </p:nvSpPr>
          <p:spPr bwMode="auto">
            <a:xfrm>
              <a:off x="942975" y="4619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1" name="Rectangle 108"/>
            <p:cNvSpPr>
              <a:spLocks noChangeArrowheads="1"/>
            </p:cNvSpPr>
            <p:nvPr/>
          </p:nvSpPr>
          <p:spPr bwMode="auto">
            <a:xfrm>
              <a:off x="942975" y="531813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2" name="Rectangle 109"/>
            <p:cNvSpPr>
              <a:spLocks noChangeArrowheads="1"/>
            </p:cNvSpPr>
            <p:nvPr/>
          </p:nvSpPr>
          <p:spPr bwMode="auto">
            <a:xfrm>
              <a:off x="942975" y="6000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3" name="Rectangle 110"/>
            <p:cNvSpPr>
              <a:spLocks noChangeArrowheads="1"/>
            </p:cNvSpPr>
            <p:nvPr/>
          </p:nvSpPr>
          <p:spPr bwMode="auto">
            <a:xfrm>
              <a:off x="942975" y="6683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4" name="Rectangle 111"/>
            <p:cNvSpPr>
              <a:spLocks noChangeArrowheads="1"/>
            </p:cNvSpPr>
            <p:nvPr/>
          </p:nvSpPr>
          <p:spPr bwMode="auto">
            <a:xfrm>
              <a:off x="942975" y="7366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5" name="Rectangle 112"/>
            <p:cNvSpPr>
              <a:spLocks noChangeArrowheads="1"/>
            </p:cNvSpPr>
            <p:nvPr/>
          </p:nvSpPr>
          <p:spPr bwMode="auto">
            <a:xfrm>
              <a:off x="942975" y="8048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6" name="Rectangle 113"/>
            <p:cNvSpPr>
              <a:spLocks noChangeArrowheads="1"/>
            </p:cNvSpPr>
            <p:nvPr/>
          </p:nvSpPr>
          <p:spPr bwMode="auto">
            <a:xfrm>
              <a:off x="942975" y="8731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7" name="Rectangle 114"/>
            <p:cNvSpPr>
              <a:spLocks noChangeArrowheads="1"/>
            </p:cNvSpPr>
            <p:nvPr/>
          </p:nvSpPr>
          <p:spPr bwMode="auto">
            <a:xfrm>
              <a:off x="942975" y="3254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8" name="Rectangle 115"/>
            <p:cNvSpPr>
              <a:spLocks noChangeArrowheads="1"/>
            </p:cNvSpPr>
            <p:nvPr/>
          </p:nvSpPr>
          <p:spPr bwMode="auto">
            <a:xfrm>
              <a:off x="120650" y="3937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9" name="Rectangle 116"/>
            <p:cNvSpPr>
              <a:spLocks noChangeArrowheads="1"/>
            </p:cNvSpPr>
            <p:nvPr/>
          </p:nvSpPr>
          <p:spPr bwMode="auto">
            <a:xfrm>
              <a:off x="120650" y="3254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0" name="Rectangle 117"/>
            <p:cNvSpPr>
              <a:spLocks noChangeArrowheads="1"/>
            </p:cNvSpPr>
            <p:nvPr/>
          </p:nvSpPr>
          <p:spPr bwMode="auto">
            <a:xfrm>
              <a:off x="120650" y="4619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1" name="Rectangle 118"/>
            <p:cNvSpPr>
              <a:spLocks noChangeArrowheads="1"/>
            </p:cNvSpPr>
            <p:nvPr/>
          </p:nvSpPr>
          <p:spPr bwMode="auto">
            <a:xfrm>
              <a:off x="120650" y="531813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2" name="Rectangle 119"/>
            <p:cNvSpPr>
              <a:spLocks noChangeArrowheads="1"/>
            </p:cNvSpPr>
            <p:nvPr/>
          </p:nvSpPr>
          <p:spPr bwMode="auto">
            <a:xfrm>
              <a:off x="120650" y="6000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3" name="Rectangle 120"/>
            <p:cNvSpPr>
              <a:spLocks noChangeArrowheads="1"/>
            </p:cNvSpPr>
            <p:nvPr/>
          </p:nvSpPr>
          <p:spPr bwMode="auto">
            <a:xfrm>
              <a:off x="120650" y="6683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4" name="Rectangle 121"/>
            <p:cNvSpPr>
              <a:spLocks noChangeArrowheads="1"/>
            </p:cNvSpPr>
            <p:nvPr/>
          </p:nvSpPr>
          <p:spPr bwMode="auto">
            <a:xfrm>
              <a:off x="120650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5" name="Rectangle 122"/>
            <p:cNvSpPr>
              <a:spLocks noChangeArrowheads="1"/>
            </p:cNvSpPr>
            <p:nvPr/>
          </p:nvSpPr>
          <p:spPr bwMode="auto">
            <a:xfrm>
              <a:off x="120650" y="8048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6" name="Rectangle 123"/>
            <p:cNvSpPr>
              <a:spLocks noChangeArrowheads="1"/>
            </p:cNvSpPr>
            <p:nvPr/>
          </p:nvSpPr>
          <p:spPr bwMode="auto">
            <a:xfrm>
              <a:off x="120650" y="873125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13" name="CaixaDeTexto 212"/>
          <p:cNvSpPr txBox="1"/>
          <p:nvPr/>
        </p:nvSpPr>
        <p:spPr>
          <a:xfrm>
            <a:off x="1597754" y="6720876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999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4" name="CaixaDeTexto 213"/>
          <p:cNvSpPr txBox="1"/>
          <p:nvPr/>
        </p:nvSpPr>
        <p:spPr>
          <a:xfrm>
            <a:off x="20881329" y="7645063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3999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sp>
        <p:nvSpPr>
          <p:cNvPr id="215" name="CaixaDeTexto 214"/>
          <p:cNvSpPr txBox="1"/>
          <p:nvPr/>
        </p:nvSpPr>
        <p:spPr>
          <a:xfrm>
            <a:off x="20509360" y="5903421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343"/>
            <a:r>
              <a:rPr lang="pt-BR" sz="6398" b="1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</p:txBody>
      </p:sp>
      <p:grpSp>
        <p:nvGrpSpPr>
          <p:cNvPr id="227" name="Agrupar 226"/>
          <p:cNvGrpSpPr/>
          <p:nvPr/>
        </p:nvGrpSpPr>
        <p:grpSpPr>
          <a:xfrm>
            <a:off x="21617468" y="6542980"/>
            <a:ext cx="1559704" cy="1564233"/>
            <a:chOff x="6350" y="0"/>
            <a:chExt cx="1093787" cy="1096963"/>
          </a:xfrm>
          <a:solidFill>
            <a:schemeClr val="bg1">
              <a:alpha val="20000"/>
            </a:schemeClr>
          </a:solidFill>
        </p:grpSpPr>
        <p:sp>
          <p:nvSpPr>
            <p:cNvPr id="219" name="Freeform 127"/>
            <p:cNvSpPr>
              <a:spLocks/>
            </p:cNvSpPr>
            <p:nvPr/>
          </p:nvSpPr>
          <p:spPr bwMode="auto">
            <a:xfrm>
              <a:off x="6350" y="0"/>
              <a:ext cx="1093787" cy="719138"/>
            </a:xfrm>
            <a:custGeom>
              <a:avLst/>
              <a:gdLst>
                <a:gd name="T0" fmla="*/ 204 w 256"/>
                <a:gd name="T1" fmla="*/ 168 h 168"/>
                <a:gd name="T2" fmla="*/ 172 w 256"/>
                <a:gd name="T3" fmla="*/ 168 h 168"/>
                <a:gd name="T4" fmla="*/ 172 w 256"/>
                <a:gd name="T5" fmla="*/ 160 h 168"/>
                <a:gd name="T6" fmla="*/ 204 w 256"/>
                <a:gd name="T7" fmla="*/ 160 h 168"/>
                <a:gd name="T8" fmla="*/ 248 w 256"/>
                <a:gd name="T9" fmla="*/ 116 h 168"/>
                <a:gd name="T10" fmla="*/ 212 w 256"/>
                <a:gd name="T11" fmla="*/ 76 h 168"/>
                <a:gd name="T12" fmla="*/ 208 w 256"/>
                <a:gd name="T13" fmla="*/ 76 h 168"/>
                <a:gd name="T14" fmla="*/ 208 w 256"/>
                <a:gd name="T15" fmla="*/ 72 h 168"/>
                <a:gd name="T16" fmla="*/ 176 w 256"/>
                <a:gd name="T17" fmla="*/ 40 h 168"/>
                <a:gd name="T18" fmla="*/ 170 w 256"/>
                <a:gd name="T19" fmla="*/ 40 h 168"/>
                <a:gd name="T20" fmla="*/ 169 w 256"/>
                <a:gd name="T21" fmla="*/ 38 h 168"/>
                <a:gd name="T22" fmla="*/ 116 w 256"/>
                <a:gd name="T23" fmla="*/ 8 h 168"/>
                <a:gd name="T24" fmla="*/ 56 w 256"/>
                <a:gd name="T25" fmla="*/ 68 h 168"/>
                <a:gd name="T26" fmla="*/ 56 w 256"/>
                <a:gd name="T27" fmla="*/ 72 h 168"/>
                <a:gd name="T28" fmla="*/ 52 w 256"/>
                <a:gd name="T29" fmla="*/ 72 h 168"/>
                <a:gd name="T30" fmla="*/ 8 w 256"/>
                <a:gd name="T31" fmla="*/ 116 h 168"/>
                <a:gd name="T32" fmla="*/ 52 w 256"/>
                <a:gd name="T33" fmla="*/ 160 h 168"/>
                <a:gd name="T34" fmla="*/ 84 w 256"/>
                <a:gd name="T35" fmla="*/ 160 h 168"/>
                <a:gd name="T36" fmla="*/ 84 w 256"/>
                <a:gd name="T37" fmla="*/ 168 h 168"/>
                <a:gd name="T38" fmla="*/ 52 w 256"/>
                <a:gd name="T39" fmla="*/ 168 h 168"/>
                <a:gd name="T40" fmla="*/ 0 w 256"/>
                <a:gd name="T41" fmla="*/ 116 h 168"/>
                <a:gd name="T42" fmla="*/ 48 w 256"/>
                <a:gd name="T43" fmla="*/ 64 h 168"/>
                <a:gd name="T44" fmla="*/ 116 w 256"/>
                <a:gd name="T45" fmla="*/ 0 h 168"/>
                <a:gd name="T46" fmla="*/ 174 w 256"/>
                <a:gd name="T47" fmla="*/ 32 h 168"/>
                <a:gd name="T48" fmla="*/ 176 w 256"/>
                <a:gd name="T49" fmla="*/ 32 h 168"/>
                <a:gd name="T50" fmla="*/ 216 w 256"/>
                <a:gd name="T51" fmla="*/ 68 h 168"/>
                <a:gd name="T52" fmla="*/ 256 w 256"/>
                <a:gd name="T53" fmla="*/ 116 h 168"/>
                <a:gd name="T54" fmla="*/ 204 w 256"/>
                <a:gd name="T5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6" h="168">
                  <a:moveTo>
                    <a:pt x="204" y="168"/>
                  </a:moveTo>
                  <a:cubicBezTo>
                    <a:pt x="172" y="168"/>
                    <a:pt x="172" y="168"/>
                    <a:pt x="172" y="168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28" y="160"/>
                    <a:pt x="248" y="140"/>
                    <a:pt x="248" y="116"/>
                  </a:cubicBezTo>
                  <a:cubicBezTo>
                    <a:pt x="248" y="93"/>
                    <a:pt x="233" y="76"/>
                    <a:pt x="212" y="76"/>
                  </a:cubicBezTo>
                  <a:cubicBezTo>
                    <a:pt x="208" y="76"/>
                    <a:pt x="208" y="76"/>
                    <a:pt x="208" y="76"/>
                  </a:cubicBezTo>
                  <a:cubicBezTo>
                    <a:pt x="208" y="72"/>
                    <a:pt x="208" y="72"/>
                    <a:pt x="208" y="72"/>
                  </a:cubicBezTo>
                  <a:cubicBezTo>
                    <a:pt x="208" y="57"/>
                    <a:pt x="200" y="40"/>
                    <a:pt x="176" y="40"/>
                  </a:cubicBezTo>
                  <a:cubicBezTo>
                    <a:pt x="170" y="40"/>
                    <a:pt x="170" y="40"/>
                    <a:pt x="170" y="40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58" y="19"/>
                    <a:pt x="138" y="8"/>
                    <a:pt x="116" y="8"/>
                  </a:cubicBezTo>
                  <a:cubicBezTo>
                    <a:pt x="83" y="8"/>
                    <a:pt x="56" y="35"/>
                    <a:pt x="56" y="6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8" y="72"/>
                    <a:pt x="8" y="92"/>
                    <a:pt x="8" y="116"/>
                  </a:cubicBezTo>
                  <a:cubicBezTo>
                    <a:pt x="8" y="140"/>
                    <a:pt x="28" y="160"/>
                    <a:pt x="5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68"/>
                    <a:pt x="84" y="168"/>
                    <a:pt x="84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23" y="168"/>
                    <a:pt x="0" y="145"/>
                    <a:pt x="0" y="116"/>
                  </a:cubicBezTo>
                  <a:cubicBezTo>
                    <a:pt x="0" y="89"/>
                    <a:pt x="21" y="66"/>
                    <a:pt x="48" y="64"/>
                  </a:cubicBezTo>
                  <a:cubicBezTo>
                    <a:pt x="50" y="28"/>
                    <a:pt x="80" y="0"/>
                    <a:pt x="116" y="0"/>
                  </a:cubicBezTo>
                  <a:cubicBezTo>
                    <a:pt x="141" y="0"/>
                    <a:pt x="162" y="12"/>
                    <a:pt x="174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99" y="32"/>
                    <a:pt x="214" y="46"/>
                    <a:pt x="216" y="68"/>
                  </a:cubicBezTo>
                  <a:cubicBezTo>
                    <a:pt x="239" y="70"/>
                    <a:pt x="256" y="90"/>
                    <a:pt x="256" y="116"/>
                  </a:cubicBezTo>
                  <a:cubicBezTo>
                    <a:pt x="256" y="145"/>
                    <a:pt x="233" y="168"/>
                    <a:pt x="204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0" name="Freeform 128"/>
            <p:cNvSpPr>
              <a:spLocks noEditPoints="1"/>
            </p:cNvSpPr>
            <p:nvPr/>
          </p:nvSpPr>
          <p:spPr bwMode="auto">
            <a:xfrm>
              <a:off x="279400" y="171450"/>
              <a:ext cx="547687" cy="54768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reeform 129"/>
            <p:cNvSpPr>
              <a:spLocks noEditPoints="1"/>
            </p:cNvSpPr>
            <p:nvPr/>
          </p:nvSpPr>
          <p:spPr bwMode="auto">
            <a:xfrm>
              <a:off x="365125" y="257175"/>
              <a:ext cx="376237" cy="376238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2" name="Freeform 130"/>
            <p:cNvSpPr>
              <a:spLocks/>
            </p:cNvSpPr>
            <p:nvPr/>
          </p:nvSpPr>
          <p:spPr bwMode="auto">
            <a:xfrm>
              <a:off x="450850" y="342900"/>
              <a:ext cx="103187" cy="103188"/>
            </a:xfrm>
            <a:custGeom>
              <a:avLst/>
              <a:gdLst>
                <a:gd name="T0" fmla="*/ 8 w 24"/>
                <a:gd name="T1" fmla="*/ 24 h 24"/>
                <a:gd name="T2" fmla="*/ 0 w 24"/>
                <a:gd name="T3" fmla="*/ 24 h 24"/>
                <a:gd name="T4" fmla="*/ 24 w 24"/>
                <a:gd name="T5" fmla="*/ 0 h 24"/>
                <a:gd name="T6" fmla="*/ 24 w 24"/>
                <a:gd name="T7" fmla="*/ 8 h 24"/>
                <a:gd name="T8" fmla="*/ 8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8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3" name="Freeform 131"/>
            <p:cNvSpPr>
              <a:spLocks/>
            </p:cNvSpPr>
            <p:nvPr/>
          </p:nvSpPr>
          <p:spPr bwMode="auto">
            <a:xfrm>
              <a:off x="468313" y="685800"/>
              <a:ext cx="169862" cy="411163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76 h 96"/>
                <a:gd name="T4" fmla="*/ 0 w 40"/>
                <a:gd name="T5" fmla="*/ 0 h 96"/>
                <a:gd name="T6" fmla="*/ 8 w 40"/>
                <a:gd name="T7" fmla="*/ 0 h 96"/>
                <a:gd name="T8" fmla="*/ 8 w 40"/>
                <a:gd name="T9" fmla="*/ 76 h 96"/>
                <a:gd name="T10" fmla="*/ 20 w 40"/>
                <a:gd name="T11" fmla="*/ 88 h 96"/>
                <a:gd name="T12" fmla="*/ 32 w 40"/>
                <a:gd name="T13" fmla="*/ 76 h 96"/>
                <a:gd name="T14" fmla="*/ 32 w 40"/>
                <a:gd name="T15" fmla="*/ 0 h 96"/>
                <a:gd name="T16" fmla="*/ 40 w 40"/>
                <a:gd name="T17" fmla="*/ 0 h 96"/>
                <a:gd name="T18" fmla="*/ 40 w 40"/>
                <a:gd name="T19" fmla="*/ 76 h 96"/>
                <a:gd name="T20" fmla="*/ 20 w 40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9" y="96"/>
                    <a:pt x="0" y="87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83"/>
                    <a:pt x="13" y="88"/>
                    <a:pt x="20" y="88"/>
                  </a:cubicBezTo>
                  <a:cubicBezTo>
                    <a:pt x="27" y="88"/>
                    <a:pt x="32" y="83"/>
                    <a:pt x="32" y="7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87"/>
                    <a:pt x="31" y="96"/>
                    <a:pt x="2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4" name="Rectangle 132"/>
            <p:cNvSpPr>
              <a:spLocks noChangeArrowheads="1"/>
            </p:cNvSpPr>
            <p:nvPr/>
          </p:nvSpPr>
          <p:spPr bwMode="auto">
            <a:xfrm>
              <a:off x="536575" y="8223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5" name="Rectangle 133"/>
            <p:cNvSpPr>
              <a:spLocks noChangeArrowheads="1"/>
            </p:cNvSpPr>
            <p:nvPr/>
          </p:nvSpPr>
          <p:spPr bwMode="auto">
            <a:xfrm>
              <a:off x="536575" y="89058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6" name="Rectangle 134"/>
            <p:cNvSpPr>
              <a:spLocks noChangeArrowheads="1"/>
            </p:cNvSpPr>
            <p:nvPr/>
          </p:nvSpPr>
          <p:spPr bwMode="auto">
            <a:xfrm>
              <a:off x="536575" y="95885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defTabSz="1828343"/>
              <a:endParaRPr lang="pt-BR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91A1C072-3E25-E04E-BD96-99A960AFB3C1}"/>
              </a:ext>
            </a:extLst>
          </p:cNvPr>
          <p:cNvSpPr/>
          <p:nvPr/>
        </p:nvSpPr>
        <p:spPr>
          <a:xfrm>
            <a:off x="-1" y="3069770"/>
            <a:ext cx="5110889" cy="8138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ira Sans Light" panose="020B04030500000200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383125-F0E0-C24F-9F96-950F89688F78}"/>
              </a:ext>
            </a:extLst>
          </p:cNvPr>
          <p:cNvSpPr/>
          <p:nvPr/>
        </p:nvSpPr>
        <p:spPr>
          <a:xfrm>
            <a:off x="-1" y="3114513"/>
            <a:ext cx="5095651" cy="73152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Fira Sans Light" panose="020B0403050000020004" pitchFamily="34" charset="0"/>
            </a:endParaRPr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D28383FD-AA25-444C-9EA3-7236B173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5651" y="3093493"/>
            <a:ext cx="19251525" cy="10628906"/>
          </a:xfrm>
          <a:custGeom>
            <a:avLst/>
            <a:gdLst>
              <a:gd name="connsiteX0" fmla="*/ 0 w 15300169"/>
              <a:gd name="connsiteY0" fmla="*/ 0 h 10892052"/>
              <a:gd name="connsiteX1" fmla="*/ 755186 w 15300169"/>
              <a:gd name="connsiteY1" fmla="*/ 8838 h 10892052"/>
              <a:gd name="connsiteX2" fmla="*/ 6100971 w 15300169"/>
              <a:gd name="connsiteY2" fmla="*/ 545226 h 10892052"/>
              <a:gd name="connsiteX3" fmla="*/ 8350585 w 15300169"/>
              <a:gd name="connsiteY3" fmla="*/ 1218642 h 10892052"/>
              <a:gd name="connsiteX4" fmla="*/ 9246965 w 15300169"/>
              <a:gd name="connsiteY4" fmla="*/ 2170087 h 10892052"/>
              <a:gd name="connsiteX5" fmla="*/ 9061072 w 15300169"/>
              <a:gd name="connsiteY5" fmla="*/ 2578863 h 10892052"/>
              <a:gd name="connsiteX6" fmla="*/ 8579800 w 15300169"/>
              <a:gd name="connsiteY6" fmla="*/ 2886034 h 10892052"/>
              <a:gd name="connsiteX7" fmla="*/ 7124955 w 15300169"/>
              <a:gd name="connsiteY7" fmla="*/ 3341279 h 10892052"/>
              <a:gd name="connsiteX8" fmla="*/ 4881642 w 15300169"/>
              <a:gd name="connsiteY8" fmla="*/ 4599897 h 10892052"/>
              <a:gd name="connsiteX9" fmla="*/ 5749666 w 15300169"/>
              <a:gd name="connsiteY9" fmla="*/ 5101612 h 10892052"/>
              <a:gd name="connsiteX10" fmla="*/ 7895306 w 15300169"/>
              <a:gd name="connsiteY10" fmla="*/ 5658458 h 10892052"/>
              <a:gd name="connsiteX11" fmla="*/ 11455620 w 15300169"/>
              <a:gd name="connsiteY11" fmla="*/ 6617780 h 10892052"/>
              <a:gd name="connsiteX12" fmla="*/ 14096711 w 15300169"/>
              <a:gd name="connsiteY12" fmla="*/ 8015807 h 10892052"/>
              <a:gd name="connsiteX13" fmla="*/ 14926138 w 15300169"/>
              <a:gd name="connsiteY13" fmla="*/ 9207477 h 10892052"/>
              <a:gd name="connsiteX14" fmla="*/ 15254601 w 15300169"/>
              <a:gd name="connsiteY14" fmla="*/ 10210905 h 10892052"/>
              <a:gd name="connsiteX15" fmla="*/ 15300015 w 15300169"/>
              <a:gd name="connsiteY15" fmla="*/ 10759883 h 10892052"/>
              <a:gd name="connsiteX16" fmla="*/ 15295120 w 15300169"/>
              <a:gd name="connsiteY16" fmla="*/ 10892052 h 10892052"/>
              <a:gd name="connsiteX17" fmla="*/ 11490954 w 15300169"/>
              <a:gd name="connsiteY17" fmla="*/ 10892052 h 10892052"/>
              <a:gd name="connsiteX18" fmla="*/ 11492884 w 15300169"/>
              <a:gd name="connsiteY18" fmla="*/ 10875985 h 10892052"/>
              <a:gd name="connsiteX19" fmla="*/ 11480038 w 15300169"/>
              <a:gd name="connsiteY19" fmla="*/ 9969106 h 10892052"/>
              <a:gd name="connsiteX20" fmla="*/ 11129520 w 15300169"/>
              <a:gd name="connsiteY20" fmla="*/ 8962527 h 10892052"/>
              <a:gd name="connsiteX21" fmla="*/ 10190606 w 15300169"/>
              <a:gd name="connsiteY21" fmla="*/ 8092994 h 10892052"/>
              <a:gd name="connsiteX22" fmla="*/ 7142284 w 15300169"/>
              <a:gd name="connsiteY22" fmla="*/ 7155726 h 10892052"/>
              <a:gd name="connsiteX23" fmla="*/ 3452790 w 15300169"/>
              <a:gd name="connsiteY23" fmla="*/ 6064084 h 10892052"/>
              <a:gd name="connsiteX24" fmla="*/ 2152330 w 15300169"/>
              <a:gd name="connsiteY24" fmla="*/ 5363101 h 10892052"/>
              <a:gd name="connsiteX25" fmla="*/ 1641126 w 15300169"/>
              <a:gd name="connsiteY25" fmla="*/ 4498294 h 10892052"/>
              <a:gd name="connsiteX26" fmla="*/ 2572952 w 15300169"/>
              <a:gd name="connsiteY26" fmla="*/ 3279057 h 10892052"/>
              <a:gd name="connsiteX27" fmla="*/ 4432664 w 15300169"/>
              <a:gd name="connsiteY27" fmla="*/ 2682041 h 10892052"/>
              <a:gd name="connsiteX28" fmla="*/ 6008024 w 15300169"/>
              <a:gd name="connsiteY28" fmla="*/ 1945616 h 10892052"/>
              <a:gd name="connsiteX29" fmla="*/ 5758330 w 15300169"/>
              <a:gd name="connsiteY29" fmla="*/ 1656559 h 10892052"/>
              <a:gd name="connsiteX30" fmla="*/ 5074623 w 15300169"/>
              <a:gd name="connsiteY30" fmla="*/ 1402945 h 10892052"/>
              <a:gd name="connsiteX31" fmla="*/ 2988059 w 15300169"/>
              <a:gd name="connsiteY31" fmla="*/ 1038277 h 10892052"/>
              <a:gd name="connsiteX32" fmla="*/ 21666 w 15300169"/>
              <a:gd name="connsiteY32" fmla="*/ 786063 h 10892052"/>
              <a:gd name="connsiteX33" fmla="*/ 0 w 15300169"/>
              <a:gd name="connsiteY33" fmla="*/ 784940 h 10892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5300169" h="10892052">
                <a:moveTo>
                  <a:pt x="0" y="0"/>
                </a:moveTo>
                <a:lnTo>
                  <a:pt x="755186" y="8838"/>
                </a:lnTo>
                <a:cubicBezTo>
                  <a:pt x="2647375" y="52557"/>
                  <a:pt x="4596403" y="246127"/>
                  <a:pt x="6100971" y="545226"/>
                </a:cubicBezTo>
                <a:cubicBezTo>
                  <a:pt x="7062729" y="735830"/>
                  <a:pt x="7818901" y="962665"/>
                  <a:pt x="8350585" y="1218642"/>
                </a:cubicBezTo>
                <a:cubicBezTo>
                  <a:pt x="8946071" y="1505336"/>
                  <a:pt x="9246965" y="1825110"/>
                  <a:pt x="9246965" y="2170087"/>
                </a:cubicBezTo>
                <a:cubicBezTo>
                  <a:pt x="9246965" y="2318160"/>
                  <a:pt x="9184738" y="2455994"/>
                  <a:pt x="9061072" y="2578863"/>
                </a:cubicBezTo>
                <a:cubicBezTo>
                  <a:pt x="8951585" y="2688342"/>
                  <a:pt x="8794049" y="2789157"/>
                  <a:pt x="8579800" y="2886034"/>
                </a:cubicBezTo>
                <a:cubicBezTo>
                  <a:pt x="8185172" y="3064037"/>
                  <a:pt x="7647187" y="3205021"/>
                  <a:pt x="7124955" y="3341279"/>
                </a:cubicBezTo>
                <a:cubicBezTo>
                  <a:pt x="6022203" y="3630336"/>
                  <a:pt x="4881642" y="3927270"/>
                  <a:pt x="4881642" y="4599897"/>
                </a:cubicBezTo>
                <a:cubicBezTo>
                  <a:pt x="4881642" y="4750332"/>
                  <a:pt x="5165207" y="4914158"/>
                  <a:pt x="5749666" y="5101612"/>
                </a:cubicBezTo>
                <a:cubicBezTo>
                  <a:pt x="6295528" y="5275675"/>
                  <a:pt x="7036735" y="5453678"/>
                  <a:pt x="7895306" y="5658458"/>
                </a:cubicBezTo>
                <a:cubicBezTo>
                  <a:pt x="9031928" y="5929400"/>
                  <a:pt x="10319785" y="6238148"/>
                  <a:pt x="11455620" y="6617780"/>
                </a:cubicBezTo>
                <a:cubicBezTo>
                  <a:pt x="12770258" y="7058848"/>
                  <a:pt x="13634343" y="7515668"/>
                  <a:pt x="14096711" y="8015807"/>
                </a:cubicBezTo>
                <a:cubicBezTo>
                  <a:pt x="14447229" y="8394652"/>
                  <a:pt x="14726068" y="8795551"/>
                  <a:pt x="14926138" y="9207477"/>
                </a:cubicBezTo>
                <a:cubicBezTo>
                  <a:pt x="15086825" y="9536702"/>
                  <a:pt x="15197100" y="9874592"/>
                  <a:pt x="15254601" y="10210905"/>
                </a:cubicBezTo>
                <a:cubicBezTo>
                  <a:pt x="15291228" y="10425630"/>
                  <a:pt x="15301603" y="10611115"/>
                  <a:pt x="15300015" y="10759883"/>
                </a:cubicBezTo>
                <a:lnTo>
                  <a:pt x="15295120" y="10892052"/>
                </a:lnTo>
                <a:lnTo>
                  <a:pt x="11490954" y="10892052"/>
                </a:lnTo>
                <a:lnTo>
                  <a:pt x="11492884" y="10875985"/>
                </a:lnTo>
                <a:cubicBezTo>
                  <a:pt x="11516951" y="10657613"/>
                  <a:pt x="11532763" y="10330181"/>
                  <a:pt x="11480038" y="9969106"/>
                </a:cubicBezTo>
                <a:cubicBezTo>
                  <a:pt x="11424113" y="9593411"/>
                  <a:pt x="11306748" y="9253947"/>
                  <a:pt x="11129520" y="8962527"/>
                </a:cubicBezTo>
                <a:cubicBezTo>
                  <a:pt x="10907394" y="8597859"/>
                  <a:pt x="10591535" y="8305652"/>
                  <a:pt x="10190606" y="8092994"/>
                </a:cubicBezTo>
                <a:cubicBezTo>
                  <a:pt x="9593544" y="7777158"/>
                  <a:pt x="8401784" y="7475500"/>
                  <a:pt x="7142284" y="7155726"/>
                </a:cubicBezTo>
                <a:cubicBezTo>
                  <a:pt x="5908777" y="6842252"/>
                  <a:pt x="4510645" y="6487823"/>
                  <a:pt x="3452790" y="6064084"/>
                </a:cubicBezTo>
                <a:cubicBezTo>
                  <a:pt x="2876996" y="5833310"/>
                  <a:pt x="2451649" y="5604113"/>
                  <a:pt x="2152330" y="5363101"/>
                </a:cubicBezTo>
                <a:cubicBezTo>
                  <a:pt x="1812840" y="5089797"/>
                  <a:pt x="1641126" y="4798377"/>
                  <a:pt x="1641126" y="4498294"/>
                </a:cubicBezTo>
                <a:cubicBezTo>
                  <a:pt x="1641126" y="3994217"/>
                  <a:pt x="1945958" y="3595681"/>
                  <a:pt x="2572952" y="3279057"/>
                </a:cubicBezTo>
                <a:cubicBezTo>
                  <a:pt x="3112512" y="3006540"/>
                  <a:pt x="3813548" y="2834051"/>
                  <a:pt x="4432664" y="2682041"/>
                </a:cubicBezTo>
                <a:cubicBezTo>
                  <a:pt x="5277845" y="2474109"/>
                  <a:pt x="6008024" y="2294531"/>
                  <a:pt x="6008024" y="1945616"/>
                </a:cubicBezTo>
                <a:cubicBezTo>
                  <a:pt x="6008024" y="1847163"/>
                  <a:pt x="5923743" y="1750286"/>
                  <a:pt x="5758330" y="1656559"/>
                </a:cubicBezTo>
                <a:cubicBezTo>
                  <a:pt x="5602369" y="1569133"/>
                  <a:pt x="5372367" y="1483282"/>
                  <a:pt x="5074623" y="1402945"/>
                </a:cubicBezTo>
                <a:cubicBezTo>
                  <a:pt x="4571296" y="1268262"/>
                  <a:pt x="3869473" y="1144606"/>
                  <a:pt x="2988059" y="1038277"/>
                </a:cubicBezTo>
                <a:cubicBezTo>
                  <a:pt x="1673027" y="879079"/>
                  <a:pt x="343521" y="803098"/>
                  <a:pt x="21666" y="786063"/>
                </a:cubicBezTo>
                <a:lnTo>
                  <a:pt x="0" y="78494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EEEDE7E4-D279-EC41-B6E6-090C43A018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5651" y="3069770"/>
            <a:ext cx="19281999" cy="10652629"/>
          </a:xfrm>
          <a:custGeom>
            <a:avLst/>
            <a:gdLst>
              <a:gd name="connsiteX0" fmla="*/ 0 w 15324388"/>
              <a:gd name="connsiteY0" fmla="*/ 784247 h 10916362"/>
              <a:gd name="connsiteX1" fmla="*/ 16815 w 15324388"/>
              <a:gd name="connsiteY1" fmla="*/ 785105 h 10916362"/>
              <a:gd name="connsiteX2" fmla="*/ 6030861 w 15324388"/>
              <a:gd name="connsiteY2" fmla="*/ 1968829 h 10916362"/>
              <a:gd name="connsiteX3" fmla="*/ 1663478 w 15324388"/>
              <a:gd name="connsiteY3" fmla="*/ 4522001 h 10916362"/>
              <a:gd name="connsiteX4" fmla="*/ 10202090 w 15324388"/>
              <a:gd name="connsiteY4" fmla="*/ 8096912 h 10916362"/>
              <a:gd name="connsiteX5" fmla="*/ 11516180 w 15324388"/>
              <a:gd name="connsiteY5" fmla="*/ 10908959 h 10916362"/>
              <a:gd name="connsiteX6" fmla="*/ 11515269 w 15324388"/>
              <a:gd name="connsiteY6" fmla="*/ 10916362 h 10916362"/>
              <a:gd name="connsiteX7" fmla="*/ 11468243 w 15324388"/>
              <a:gd name="connsiteY7" fmla="*/ 10916362 h 10916362"/>
              <a:gd name="connsiteX8" fmla="*/ 11470573 w 15324388"/>
              <a:gd name="connsiteY8" fmla="*/ 10897018 h 10916362"/>
              <a:gd name="connsiteX9" fmla="*/ 11457004 w 15324388"/>
              <a:gd name="connsiteY9" fmla="*/ 9995443 h 10916362"/>
              <a:gd name="connsiteX10" fmla="*/ 11108811 w 15324388"/>
              <a:gd name="connsiteY10" fmla="*/ 8998123 h 10916362"/>
              <a:gd name="connsiteX11" fmla="*/ 10180033 w 15324388"/>
              <a:gd name="connsiteY11" fmla="*/ 8138664 h 10916362"/>
              <a:gd name="connsiteX12" fmla="*/ 7136099 w 15324388"/>
              <a:gd name="connsiteY12" fmla="*/ 7202790 h 10916362"/>
              <a:gd name="connsiteX13" fmla="*/ 3443833 w 15324388"/>
              <a:gd name="connsiteY13" fmla="*/ 6109362 h 10916362"/>
              <a:gd name="connsiteX14" fmla="*/ 2136926 w 15324388"/>
              <a:gd name="connsiteY14" fmla="*/ 5405093 h 10916362"/>
              <a:gd name="connsiteX15" fmla="*/ 1755646 w 15324388"/>
              <a:gd name="connsiteY15" fmla="*/ 4990725 h 10916362"/>
              <a:gd name="connsiteX16" fmla="*/ 1616999 w 15324388"/>
              <a:gd name="connsiteY16" fmla="*/ 4522001 h 10916362"/>
              <a:gd name="connsiteX17" fmla="*/ 1885628 w 15324388"/>
              <a:gd name="connsiteY17" fmla="*/ 3786221 h 10916362"/>
              <a:gd name="connsiteX18" fmla="*/ 2561533 w 15324388"/>
              <a:gd name="connsiteY18" fmla="*/ 3282046 h 10916362"/>
              <a:gd name="connsiteX19" fmla="*/ 4426967 w 15324388"/>
              <a:gd name="connsiteY19" fmla="*/ 2682551 h 10916362"/>
              <a:gd name="connsiteX20" fmla="*/ 5540870 w 15324388"/>
              <a:gd name="connsiteY20" fmla="*/ 2362716 h 10916362"/>
              <a:gd name="connsiteX21" fmla="*/ 5872520 w 15324388"/>
              <a:gd name="connsiteY21" fmla="*/ 2176802 h 10916362"/>
              <a:gd name="connsiteX22" fmla="*/ 5984383 w 15324388"/>
              <a:gd name="connsiteY22" fmla="*/ 1968829 h 10916362"/>
              <a:gd name="connsiteX23" fmla="*/ 5068210 w 15324388"/>
              <a:gd name="connsiteY23" fmla="*/ 1448900 h 10916362"/>
              <a:gd name="connsiteX24" fmla="*/ 2984564 w 15324388"/>
              <a:gd name="connsiteY24" fmla="*/ 1084949 h 10916362"/>
              <a:gd name="connsiteX25" fmla="*/ 19673 w 15324388"/>
              <a:gd name="connsiteY25" fmla="*/ 832686 h 10916362"/>
              <a:gd name="connsiteX26" fmla="*/ 0 w 15324388"/>
              <a:gd name="connsiteY26" fmla="*/ 831668 h 10916362"/>
              <a:gd name="connsiteX27" fmla="*/ 0 w 15324388"/>
              <a:gd name="connsiteY27" fmla="*/ 0 h 10916362"/>
              <a:gd name="connsiteX28" fmla="*/ 755185 w 15324388"/>
              <a:gd name="connsiteY28" fmla="*/ 8832 h 10916362"/>
              <a:gd name="connsiteX29" fmla="*/ 6105700 w 15324388"/>
              <a:gd name="connsiteY29" fmla="*/ 544537 h 10916362"/>
              <a:gd name="connsiteX30" fmla="*/ 8361078 w 15324388"/>
              <a:gd name="connsiteY30" fmla="*/ 1220446 h 10916362"/>
              <a:gd name="connsiteX31" fmla="*/ 9270949 w 15324388"/>
              <a:gd name="connsiteY31" fmla="*/ 2193345 h 10916362"/>
              <a:gd name="connsiteX32" fmla="*/ 9077946 w 15324388"/>
              <a:gd name="connsiteY32" fmla="*/ 2618742 h 10916362"/>
              <a:gd name="connsiteX33" fmla="*/ 8590318 w 15324388"/>
              <a:gd name="connsiteY33" fmla="*/ 2930700 h 10916362"/>
              <a:gd name="connsiteX34" fmla="*/ 7131373 w 15324388"/>
              <a:gd name="connsiteY34" fmla="*/ 3387608 h 10916362"/>
              <a:gd name="connsiteX35" fmla="*/ 4904354 w 15324388"/>
              <a:gd name="connsiteY35" fmla="*/ 4623623 h 10916362"/>
              <a:gd name="connsiteX36" fmla="*/ 5117839 w 15324388"/>
              <a:gd name="connsiteY36" fmla="*/ 4845775 h 10916362"/>
              <a:gd name="connsiteX37" fmla="*/ 5755930 w 15324388"/>
              <a:gd name="connsiteY37" fmla="*/ 5102589 h 10916362"/>
              <a:gd name="connsiteX38" fmla="*/ 7901022 w 15324388"/>
              <a:gd name="connsiteY38" fmla="*/ 5659544 h 10916362"/>
              <a:gd name="connsiteX39" fmla="*/ 11463306 w 15324388"/>
              <a:gd name="connsiteY39" fmla="*/ 6619838 h 10916362"/>
              <a:gd name="connsiteX40" fmla="*/ 14114932 w 15324388"/>
              <a:gd name="connsiteY40" fmla="*/ 8024436 h 10916362"/>
              <a:gd name="connsiteX41" fmla="*/ 14948390 w 15324388"/>
              <a:gd name="connsiteY41" fmla="*/ 9221851 h 10916362"/>
              <a:gd name="connsiteX42" fmla="*/ 15278465 w 15324388"/>
              <a:gd name="connsiteY42" fmla="*/ 10230987 h 10916362"/>
              <a:gd name="connsiteX43" fmla="*/ 15324231 w 15324388"/>
              <a:gd name="connsiteY43" fmla="*/ 10785527 h 10916362"/>
              <a:gd name="connsiteX44" fmla="*/ 15319388 w 15324388"/>
              <a:gd name="connsiteY44" fmla="*/ 10916362 h 10916362"/>
              <a:gd name="connsiteX45" fmla="*/ 15272085 w 15324388"/>
              <a:gd name="connsiteY45" fmla="*/ 10916362 h 10916362"/>
              <a:gd name="connsiteX46" fmla="*/ 15277077 w 15324388"/>
              <a:gd name="connsiteY46" fmla="*/ 10789880 h 10916362"/>
              <a:gd name="connsiteX47" fmla="*/ 14080270 w 15324388"/>
              <a:gd name="connsiteY47" fmla="*/ 8055948 h 10916362"/>
              <a:gd name="connsiteX48" fmla="*/ 4857875 w 15324388"/>
              <a:gd name="connsiteY48" fmla="*/ 4623623 h 10916362"/>
              <a:gd name="connsiteX49" fmla="*/ 9224471 w 15324388"/>
              <a:gd name="connsiteY49" fmla="*/ 2193345 h 10916362"/>
              <a:gd name="connsiteX50" fmla="*/ 716062 w 15324388"/>
              <a:gd name="connsiteY50" fmla="*/ 54502 h 10916362"/>
              <a:gd name="connsiteX51" fmla="*/ 0 w 15324388"/>
              <a:gd name="connsiteY51" fmla="*/ 46455 h 10916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5324388" h="10916362">
                <a:moveTo>
                  <a:pt x="0" y="784247"/>
                </a:moveTo>
                <a:lnTo>
                  <a:pt x="16815" y="785105"/>
                </a:lnTo>
                <a:cubicBezTo>
                  <a:pt x="685043" y="819990"/>
                  <a:pt x="6030861" y="1125421"/>
                  <a:pt x="6030861" y="1968829"/>
                </a:cubicBezTo>
                <a:cubicBezTo>
                  <a:pt x="6030861" y="2867678"/>
                  <a:pt x="1663478" y="2642375"/>
                  <a:pt x="1663478" y="4522001"/>
                </a:cubicBezTo>
                <a:cubicBezTo>
                  <a:pt x="1663478" y="6400838"/>
                  <a:pt x="8425674" y="7157099"/>
                  <a:pt x="10202090" y="8096912"/>
                </a:cubicBezTo>
                <a:cubicBezTo>
                  <a:pt x="11589915" y="8831140"/>
                  <a:pt x="11584819" y="10301021"/>
                  <a:pt x="11516180" y="10908959"/>
                </a:cubicBezTo>
                <a:lnTo>
                  <a:pt x="11515269" y="10916362"/>
                </a:lnTo>
                <a:lnTo>
                  <a:pt x="11468243" y="10916362"/>
                </a:lnTo>
                <a:lnTo>
                  <a:pt x="11470573" y="10897018"/>
                </a:lnTo>
                <a:cubicBezTo>
                  <a:pt x="11494559" y="10679900"/>
                  <a:pt x="11510178" y="10354372"/>
                  <a:pt x="11457004" y="9995443"/>
                </a:cubicBezTo>
                <a:cubicBezTo>
                  <a:pt x="11402648" y="9622827"/>
                  <a:pt x="11285271" y="9287236"/>
                  <a:pt x="11108811" y="8998123"/>
                </a:cubicBezTo>
                <a:cubicBezTo>
                  <a:pt x="10889812" y="8638111"/>
                  <a:pt x="10577068" y="8348211"/>
                  <a:pt x="10180033" y="8138664"/>
                </a:cubicBezTo>
                <a:cubicBezTo>
                  <a:pt x="9585268" y="7823554"/>
                  <a:pt x="8395739" y="7521838"/>
                  <a:pt x="7136099" y="7202790"/>
                </a:cubicBezTo>
                <a:cubicBezTo>
                  <a:pt x="5901667" y="6889256"/>
                  <a:pt x="4502593" y="6533971"/>
                  <a:pt x="3443833" y="6109362"/>
                </a:cubicBezTo>
                <a:cubicBezTo>
                  <a:pt x="2865611" y="5877756"/>
                  <a:pt x="2438641" y="5647727"/>
                  <a:pt x="2136926" y="5405093"/>
                </a:cubicBezTo>
                <a:cubicBezTo>
                  <a:pt x="1969919" y="5271172"/>
                  <a:pt x="1842301" y="5130948"/>
                  <a:pt x="1755646" y="4990725"/>
                </a:cubicBezTo>
                <a:cubicBezTo>
                  <a:pt x="1663478" y="4839473"/>
                  <a:pt x="1616999" y="4681130"/>
                  <a:pt x="1616999" y="4522001"/>
                </a:cubicBezTo>
                <a:cubicBezTo>
                  <a:pt x="1616999" y="4248644"/>
                  <a:pt x="1707593" y="4001283"/>
                  <a:pt x="1885628" y="3786221"/>
                </a:cubicBezTo>
                <a:cubicBezTo>
                  <a:pt x="2042394" y="3597156"/>
                  <a:pt x="2263757" y="3432511"/>
                  <a:pt x="2561533" y="3282046"/>
                </a:cubicBezTo>
                <a:cubicBezTo>
                  <a:pt x="3104305" y="3007901"/>
                  <a:pt x="3806993" y="2835379"/>
                  <a:pt x="4426967" y="2682551"/>
                </a:cubicBezTo>
                <a:cubicBezTo>
                  <a:pt x="4852361" y="2577778"/>
                  <a:pt x="5253335" y="2479306"/>
                  <a:pt x="5540870" y="2362716"/>
                </a:cubicBezTo>
                <a:cubicBezTo>
                  <a:pt x="5690546" y="2302845"/>
                  <a:pt x="5799258" y="2241399"/>
                  <a:pt x="5872520" y="2176802"/>
                </a:cubicBezTo>
                <a:cubicBezTo>
                  <a:pt x="5948146" y="2111416"/>
                  <a:pt x="5984383" y="2042880"/>
                  <a:pt x="5984383" y="1968829"/>
                </a:cubicBezTo>
                <a:cubicBezTo>
                  <a:pt x="5984383" y="1843574"/>
                  <a:pt x="5825254" y="1652145"/>
                  <a:pt x="5068210" y="1448900"/>
                </a:cubicBezTo>
                <a:cubicBezTo>
                  <a:pt x="4566402" y="1314191"/>
                  <a:pt x="3865288" y="1191298"/>
                  <a:pt x="2984564" y="1084949"/>
                </a:cubicBezTo>
                <a:cubicBezTo>
                  <a:pt x="1671454" y="925720"/>
                  <a:pt x="342059" y="849725"/>
                  <a:pt x="19673" y="832686"/>
                </a:cubicBezTo>
                <a:lnTo>
                  <a:pt x="0" y="831668"/>
                </a:lnTo>
                <a:close/>
                <a:moveTo>
                  <a:pt x="0" y="0"/>
                </a:moveTo>
                <a:lnTo>
                  <a:pt x="755185" y="8832"/>
                </a:lnTo>
                <a:cubicBezTo>
                  <a:pt x="2648963" y="52548"/>
                  <a:pt x="4599586" y="246070"/>
                  <a:pt x="6105700" y="544537"/>
                </a:cubicBezTo>
                <a:cubicBezTo>
                  <a:pt x="7069139" y="735966"/>
                  <a:pt x="7826971" y="963632"/>
                  <a:pt x="8361078" y="1220446"/>
                </a:cubicBezTo>
                <a:cubicBezTo>
                  <a:pt x="8964508" y="1511134"/>
                  <a:pt x="9270949" y="1838847"/>
                  <a:pt x="9270949" y="2193345"/>
                </a:cubicBezTo>
                <a:cubicBezTo>
                  <a:pt x="9270949" y="2347748"/>
                  <a:pt x="9205564" y="2491123"/>
                  <a:pt x="9077946" y="2618742"/>
                </a:cubicBezTo>
                <a:cubicBezTo>
                  <a:pt x="8966083" y="2730606"/>
                  <a:pt x="8806166" y="2832228"/>
                  <a:pt x="8590318" y="2930700"/>
                </a:cubicBezTo>
                <a:cubicBezTo>
                  <a:pt x="8193283" y="3109524"/>
                  <a:pt x="7653662" y="3251323"/>
                  <a:pt x="7131373" y="3387608"/>
                </a:cubicBezTo>
                <a:cubicBezTo>
                  <a:pt x="6036376" y="3673570"/>
                  <a:pt x="4904354" y="3968984"/>
                  <a:pt x="4904354" y="4623623"/>
                </a:cubicBezTo>
                <a:cubicBezTo>
                  <a:pt x="4904354" y="4689796"/>
                  <a:pt x="4978404" y="4766998"/>
                  <a:pt x="5117839" y="4845775"/>
                </a:cubicBezTo>
                <a:cubicBezTo>
                  <a:pt x="5259637" y="4926915"/>
                  <a:pt x="5468396" y="5010419"/>
                  <a:pt x="5755930" y="5102589"/>
                </a:cubicBezTo>
                <a:cubicBezTo>
                  <a:pt x="6301853" y="5277474"/>
                  <a:pt x="7043143" y="5454723"/>
                  <a:pt x="7901022" y="5659544"/>
                </a:cubicBezTo>
                <a:cubicBezTo>
                  <a:pt x="9037770" y="5931325"/>
                  <a:pt x="10327345" y="6239344"/>
                  <a:pt x="11463306" y="6619838"/>
                </a:cubicBezTo>
                <a:cubicBezTo>
                  <a:pt x="12782029" y="7061778"/>
                  <a:pt x="13649361" y="7521050"/>
                  <a:pt x="14114932" y="8024436"/>
                </a:cubicBezTo>
                <a:cubicBezTo>
                  <a:pt x="14466276" y="8404931"/>
                  <a:pt x="14747509" y="8808270"/>
                  <a:pt x="14948390" y="9221851"/>
                </a:cubicBezTo>
                <a:cubicBezTo>
                  <a:pt x="15109883" y="9554291"/>
                  <a:pt x="15220958" y="9893033"/>
                  <a:pt x="15278465" y="10230987"/>
                </a:cubicBezTo>
                <a:cubicBezTo>
                  <a:pt x="15315392" y="10447821"/>
                  <a:pt x="15325842" y="10635188"/>
                  <a:pt x="15324231" y="10785527"/>
                </a:cubicBezTo>
                <a:lnTo>
                  <a:pt x="15319388" y="10916362"/>
                </a:lnTo>
                <a:lnTo>
                  <a:pt x="15272085" y="10916362"/>
                </a:lnTo>
                <a:lnTo>
                  <a:pt x="15277077" y="10789880"/>
                </a:lnTo>
                <a:cubicBezTo>
                  <a:pt x="15284259" y="10243918"/>
                  <a:pt x="15131497" y="9192753"/>
                  <a:pt x="14080270" y="8055948"/>
                </a:cubicBezTo>
                <a:cubicBezTo>
                  <a:pt x="12277070" y="6105423"/>
                  <a:pt x="4857875" y="5461813"/>
                  <a:pt x="4857875" y="4623623"/>
                </a:cubicBezTo>
                <a:cubicBezTo>
                  <a:pt x="4857875" y="3275744"/>
                  <a:pt x="9224471" y="3419119"/>
                  <a:pt x="9224471" y="2193345"/>
                </a:cubicBezTo>
                <a:cubicBezTo>
                  <a:pt x="9224471" y="871364"/>
                  <a:pt x="4609799" y="140674"/>
                  <a:pt x="716062" y="54502"/>
                </a:cubicBezTo>
                <a:lnTo>
                  <a:pt x="0" y="4645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075" name="Freeform 3">
            <a:extLst>
              <a:ext uri="{FF2B5EF4-FFF2-40B4-BE49-F238E27FC236}">
                <a16:creationId xmlns:a16="http://schemas.microsoft.com/office/drawing/2014/main" id="{1F6EE1F0-A9AD-FD46-8940-77C2D2CC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9200" y="3455617"/>
            <a:ext cx="17033034" cy="10525270"/>
          </a:xfrm>
          <a:custGeom>
            <a:avLst/>
            <a:gdLst>
              <a:gd name="T0" fmla="*/ 0 w 17184"/>
              <a:gd name="T1" fmla="*/ 0 h 13694"/>
              <a:gd name="T2" fmla="*/ 0 w 17184"/>
              <a:gd name="T3" fmla="*/ 0 h 13694"/>
              <a:gd name="T4" fmla="*/ 9269 w 17184"/>
              <a:gd name="T5" fmla="*/ 1455 h 13694"/>
              <a:gd name="T6" fmla="*/ 9269 w 17184"/>
              <a:gd name="T7" fmla="*/ 1455 h 13694"/>
              <a:gd name="T8" fmla="*/ 4878 w 17184"/>
              <a:gd name="T9" fmla="*/ 4361 h 13694"/>
              <a:gd name="T10" fmla="*/ 4878 w 17184"/>
              <a:gd name="T11" fmla="*/ 4361 h 13694"/>
              <a:gd name="T12" fmla="*/ 10208 w 17184"/>
              <a:gd name="T13" fmla="*/ 7887 h 13694"/>
              <a:gd name="T14" fmla="*/ 10208 w 17184"/>
              <a:gd name="T15" fmla="*/ 7887 h 13694"/>
              <a:gd name="T16" fmla="*/ 17183 w 17184"/>
              <a:gd name="T17" fmla="*/ 13693 h 13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184" h="13694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7668" y="142"/>
                  <a:pt x="9269" y="1455"/>
                </a:cubicBezTo>
                <a:lnTo>
                  <a:pt x="9269" y="1455"/>
                </a:lnTo>
                <a:cubicBezTo>
                  <a:pt x="10869" y="2767"/>
                  <a:pt x="6836" y="3122"/>
                  <a:pt x="4878" y="4361"/>
                </a:cubicBezTo>
                <a:lnTo>
                  <a:pt x="4878" y="4361"/>
                </a:lnTo>
                <a:cubicBezTo>
                  <a:pt x="3289" y="5366"/>
                  <a:pt x="4340" y="6434"/>
                  <a:pt x="10208" y="7887"/>
                </a:cubicBezTo>
                <a:lnTo>
                  <a:pt x="10208" y="7887"/>
                </a:lnTo>
                <a:cubicBezTo>
                  <a:pt x="16698" y="9494"/>
                  <a:pt x="17183" y="11176"/>
                  <a:pt x="17183" y="13693"/>
                </a:cubicBezTo>
              </a:path>
            </a:pathLst>
          </a:custGeom>
          <a:noFill/>
          <a:ln w="38100" cap="flat">
            <a:solidFill>
              <a:srgbClr val="FFFFFF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102" name="Freeform 30">
            <a:extLst>
              <a:ext uri="{FF2B5EF4-FFF2-40B4-BE49-F238E27FC236}">
                <a16:creationId xmlns:a16="http://schemas.microsoft.com/office/drawing/2014/main" id="{7BFD7D65-7126-F745-AE6C-D49AEFC2A7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5320" y="2186142"/>
            <a:ext cx="1560638" cy="2538950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103" name="Freeform 31">
            <a:extLst>
              <a:ext uri="{FF2B5EF4-FFF2-40B4-BE49-F238E27FC236}">
                <a16:creationId xmlns:a16="http://schemas.microsoft.com/office/drawing/2014/main" id="{9AD8C756-9B40-944B-A89F-3F8ADD1FC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9751" y="4852452"/>
            <a:ext cx="1560638" cy="2538950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104" name="Freeform 32">
            <a:extLst>
              <a:ext uri="{FF2B5EF4-FFF2-40B4-BE49-F238E27FC236}">
                <a16:creationId xmlns:a16="http://schemas.microsoft.com/office/drawing/2014/main" id="{F8A39973-AEEB-E543-874E-69C0B0AC1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49038" y="8773660"/>
            <a:ext cx="1560638" cy="253895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0B5AEC6-E32B-C049-9246-62ECA087F68A}"/>
              </a:ext>
            </a:extLst>
          </p:cNvPr>
          <p:cNvSpPr txBox="1"/>
          <p:nvPr/>
        </p:nvSpPr>
        <p:spPr>
          <a:xfrm>
            <a:off x="7921172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E84896D-52BA-DF45-A0E0-7574FA82C5D0}"/>
              </a:ext>
            </a:extLst>
          </p:cNvPr>
          <p:cNvCxnSpPr/>
          <p:nvPr/>
        </p:nvCxnSpPr>
        <p:spPr>
          <a:xfrm>
            <a:off x="11486859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67FB7D5E-523F-3A49-B334-2F8F1BBD1B5B}"/>
              </a:ext>
            </a:extLst>
          </p:cNvPr>
          <p:cNvSpPr txBox="1"/>
          <p:nvPr/>
        </p:nvSpPr>
        <p:spPr>
          <a:xfrm>
            <a:off x="16713382" y="11135998"/>
            <a:ext cx="167065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uccess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067E4578-B95D-DD43-8130-38927D07D523}"/>
              </a:ext>
            </a:extLst>
          </p:cNvPr>
          <p:cNvSpPr txBox="1">
            <a:spLocks/>
          </p:cNvSpPr>
          <p:nvPr/>
        </p:nvSpPr>
        <p:spPr>
          <a:xfrm>
            <a:off x="13037703" y="11756184"/>
            <a:ext cx="5518993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EA1D42B-06B8-8041-B99F-CE6B8FA2C050}"/>
              </a:ext>
            </a:extLst>
          </p:cNvPr>
          <p:cNvSpPr txBox="1"/>
          <p:nvPr/>
        </p:nvSpPr>
        <p:spPr>
          <a:xfrm>
            <a:off x="16459844" y="2545447"/>
            <a:ext cx="19575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ucture</a:t>
            </a:r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B262AA9D-38DB-9F4A-B7DA-C2347609A350}"/>
              </a:ext>
            </a:extLst>
          </p:cNvPr>
          <p:cNvSpPr txBox="1">
            <a:spLocks/>
          </p:cNvSpPr>
          <p:nvPr/>
        </p:nvSpPr>
        <p:spPr>
          <a:xfrm>
            <a:off x="16392643" y="3165633"/>
            <a:ext cx="5518993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C4CDD10-3E7E-1741-BEE8-2022234C145C}"/>
              </a:ext>
            </a:extLst>
          </p:cNvPr>
          <p:cNvSpPr txBox="1"/>
          <p:nvPr/>
        </p:nvSpPr>
        <p:spPr>
          <a:xfrm>
            <a:off x="4727223" y="6964139"/>
            <a:ext cx="21178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ategies</a:t>
            </a:r>
          </a:p>
        </p:txBody>
      </p:sp>
      <p:sp>
        <p:nvSpPr>
          <p:cNvPr id="60" name="Subtitle 2">
            <a:extLst>
              <a:ext uri="{FF2B5EF4-FFF2-40B4-BE49-F238E27FC236}">
                <a16:creationId xmlns:a16="http://schemas.microsoft.com/office/drawing/2014/main" id="{0617047E-A222-0047-83C9-4445D886B7BD}"/>
              </a:ext>
            </a:extLst>
          </p:cNvPr>
          <p:cNvSpPr txBox="1">
            <a:spLocks/>
          </p:cNvSpPr>
          <p:nvPr/>
        </p:nvSpPr>
        <p:spPr>
          <a:xfrm>
            <a:off x="1493171" y="7584325"/>
            <a:ext cx="5518993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A5A5AB-5618-424F-94DC-6F7D5FC97280}"/>
              </a:ext>
            </a:extLst>
          </p:cNvPr>
          <p:cNvCxnSpPr>
            <a:cxnSpLocks/>
          </p:cNvCxnSpPr>
          <p:nvPr/>
        </p:nvCxnSpPr>
        <p:spPr>
          <a:xfrm flipH="1">
            <a:off x="-1" y="3455412"/>
            <a:ext cx="4901610" cy="3595"/>
          </a:xfrm>
          <a:prstGeom prst="line">
            <a:avLst/>
          </a:prstGeom>
          <a:ln w="381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reeform 32">
            <a:extLst>
              <a:ext uri="{FF2B5EF4-FFF2-40B4-BE49-F238E27FC236}">
                <a16:creationId xmlns:a16="http://schemas.microsoft.com/office/drawing/2014/main" id="{CA36C1A3-5984-AB4B-922D-7951CFE95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4989" y="6721105"/>
            <a:ext cx="1560638" cy="253895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C44BD41-CE60-8A40-A21B-0E6AA28060C6}"/>
              </a:ext>
            </a:extLst>
          </p:cNvPr>
          <p:cNvSpPr txBox="1"/>
          <p:nvPr/>
        </p:nvSpPr>
        <p:spPr>
          <a:xfrm>
            <a:off x="9069386" y="9389873"/>
            <a:ext cx="1965603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tion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869287E1-2C14-E540-B678-40096D0FF7BE}"/>
              </a:ext>
            </a:extLst>
          </p:cNvPr>
          <p:cNvSpPr txBox="1">
            <a:spLocks/>
          </p:cNvSpPr>
          <p:nvPr/>
        </p:nvSpPr>
        <p:spPr>
          <a:xfrm>
            <a:off x="5688660" y="10010059"/>
            <a:ext cx="5518993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.</a:t>
            </a:r>
          </a:p>
        </p:txBody>
      </p:sp>
    </p:spTree>
    <p:extLst>
      <p:ext uri="{BB962C8B-B14F-4D97-AF65-F5344CB8AC3E}">
        <p14:creationId xmlns:p14="http://schemas.microsoft.com/office/powerpoint/2010/main" val="300972410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6E538F3-6286-9E4F-A86B-787C5E2DED93}"/>
              </a:ext>
            </a:extLst>
          </p:cNvPr>
          <p:cNvGrpSpPr>
            <a:grpSpLocks noChangeAspect="1"/>
          </p:cNvGrpSpPr>
          <p:nvPr/>
        </p:nvGrpSpPr>
        <p:grpSpPr>
          <a:xfrm>
            <a:off x="1520825" y="-1536858"/>
            <a:ext cx="8895819" cy="15724101"/>
            <a:chOff x="2605164" y="1"/>
            <a:chExt cx="7759748" cy="13716001"/>
          </a:xfrm>
        </p:grpSpPr>
        <p:sp>
          <p:nvSpPr>
            <p:cNvPr id="3073" name="Freeform 1">
              <a:extLst>
                <a:ext uri="{FF2B5EF4-FFF2-40B4-BE49-F238E27FC236}">
                  <a16:creationId xmlns:a16="http://schemas.microsoft.com/office/drawing/2014/main" id="{FD72D0A8-9E07-CE45-BD9E-034F913DFBD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361162" y="2966327"/>
              <a:ext cx="13692399" cy="7759748"/>
            </a:xfrm>
            <a:custGeom>
              <a:avLst/>
              <a:gdLst>
                <a:gd name="T0" fmla="*/ 13491 w 19532"/>
                <a:gd name="T1" fmla="*/ 11069 h 11070"/>
                <a:gd name="T2" fmla="*/ 13491 w 19532"/>
                <a:gd name="T3" fmla="*/ 11069 h 11070"/>
                <a:gd name="T4" fmla="*/ 10173 w 19532"/>
                <a:gd name="T5" fmla="*/ 7751 h 11070"/>
                <a:gd name="T6" fmla="*/ 10173 w 19532"/>
                <a:gd name="T7" fmla="*/ 3114 h 11070"/>
                <a:gd name="T8" fmla="*/ 10173 w 19532"/>
                <a:gd name="T9" fmla="*/ 3114 h 11070"/>
                <a:gd name="T10" fmla="*/ 9940 w 19532"/>
                <a:gd name="T11" fmla="*/ 2881 h 11070"/>
                <a:gd name="T12" fmla="*/ 9940 w 19532"/>
                <a:gd name="T13" fmla="*/ 2881 h 11070"/>
                <a:gd name="T14" fmla="*/ 9708 w 19532"/>
                <a:gd name="T15" fmla="*/ 3114 h 11070"/>
                <a:gd name="T16" fmla="*/ 9708 w 19532"/>
                <a:gd name="T17" fmla="*/ 7426 h 11070"/>
                <a:gd name="T18" fmla="*/ 9708 w 19532"/>
                <a:gd name="T19" fmla="*/ 7426 h 11070"/>
                <a:gd name="T20" fmla="*/ 6116 w 19532"/>
                <a:gd name="T21" fmla="*/ 11018 h 11070"/>
                <a:gd name="T22" fmla="*/ 6116 w 19532"/>
                <a:gd name="T23" fmla="*/ 11018 h 11070"/>
                <a:gd name="T24" fmla="*/ 2524 w 19532"/>
                <a:gd name="T25" fmla="*/ 7426 h 11070"/>
                <a:gd name="T26" fmla="*/ 2524 w 19532"/>
                <a:gd name="T27" fmla="*/ 4964 h 11070"/>
                <a:gd name="T28" fmla="*/ 2524 w 19532"/>
                <a:gd name="T29" fmla="*/ 4964 h 11070"/>
                <a:gd name="T30" fmla="*/ 1470 w 19532"/>
                <a:gd name="T31" fmla="*/ 3911 h 11070"/>
                <a:gd name="T32" fmla="*/ 0 w 19532"/>
                <a:gd name="T33" fmla="*/ 3911 h 11070"/>
                <a:gd name="T34" fmla="*/ 0 w 19532"/>
                <a:gd name="T35" fmla="*/ 1030 h 11070"/>
                <a:gd name="T36" fmla="*/ 1470 w 19532"/>
                <a:gd name="T37" fmla="*/ 1030 h 11070"/>
                <a:gd name="T38" fmla="*/ 1470 w 19532"/>
                <a:gd name="T39" fmla="*/ 1030 h 11070"/>
                <a:gd name="T40" fmla="*/ 5404 w 19532"/>
                <a:gd name="T41" fmla="*/ 4964 h 11070"/>
                <a:gd name="T42" fmla="*/ 5404 w 19532"/>
                <a:gd name="T43" fmla="*/ 7426 h 11070"/>
                <a:gd name="T44" fmla="*/ 5404 w 19532"/>
                <a:gd name="T45" fmla="*/ 7426 h 11070"/>
                <a:gd name="T46" fmla="*/ 6116 w 19532"/>
                <a:gd name="T47" fmla="*/ 8138 h 11070"/>
                <a:gd name="T48" fmla="*/ 6116 w 19532"/>
                <a:gd name="T49" fmla="*/ 8138 h 11070"/>
                <a:gd name="T50" fmla="*/ 6828 w 19532"/>
                <a:gd name="T51" fmla="*/ 7426 h 11070"/>
                <a:gd name="T52" fmla="*/ 6828 w 19532"/>
                <a:gd name="T53" fmla="*/ 3114 h 11070"/>
                <a:gd name="T54" fmla="*/ 6828 w 19532"/>
                <a:gd name="T55" fmla="*/ 3114 h 11070"/>
                <a:gd name="T56" fmla="*/ 9940 w 19532"/>
                <a:gd name="T57" fmla="*/ 0 h 11070"/>
                <a:gd name="T58" fmla="*/ 9940 w 19532"/>
                <a:gd name="T59" fmla="*/ 0 h 11070"/>
                <a:gd name="T60" fmla="*/ 13053 w 19532"/>
                <a:gd name="T61" fmla="*/ 3114 h 11070"/>
                <a:gd name="T62" fmla="*/ 13053 w 19532"/>
                <a:gd name="T63" fmla="*/ 7751 h 11070"/>
                <a:gd name="T64" fmla="*/ 13053 w 19532"/>
                <a:gd name="T65" fmla="*/ 7751 h 11070"/>
                <a:gd name="T66" fmla="*/ 13491 w 19532"/>
                <a:gd name="T67" fmla="*/ 8188 h 11070"/>
                <a:gd name="T68" fmla="*/ 13491 w 19532"/>
                <a:gd name="T69" fmla="*/ 8188 h 11070"/>
                <a:gd name="T70" fmla="*/ 13928 w 19532"/>
                <a:gd name="T71" fmla="*/ 7751 h 11070"/>
                <a:gd name="T72" fmla="*/ 13928 w 19532"/>
                <a:gd name="T73" fmla="*/ 5284 h 11070"/>
                <a:gd name="T74" fmla="*/ 13928 w 19532"/>
                <a:gd name="T75" fmla="*/ 5284 h 11070"/>
                <a:gd name="T76" fmla="*/ 18280 w 19532"/>
                <a:gd name="T77" fmla="*/ 933 h 11070"/>
                <a:gd name="T78" fmla="*/ 19531 w 19532"/>
                <a:gd name="T79" fmla="*/ 933 h 11070"/>
                <a:gd name="T80" fmla="*/ 19531 w 19532"/>
                <a:gd name="T81" fmla="*/ 3813 h 11070"/>
                <a:gd name="T82" fmla="*/ 18280 w 19532"/>
                <a:gd name="T83" fmla="*/ 3813 h 11070"/>
                <a:gd name="T84" fmla="*/ 18280 w 19532"/>
                <a:gd name="T85" fmla="*/ 3813 h 11070"/>
                <a:gd name="T86" fmla="*/ 16809 w 19532"/>
                <a:gd name="T87" fmla="*/ 5284 h 11070"/>
                <a:gd name="T88" fmla="*/ 16809 w 19532"/>
                <a:gd name="T89" fmla="*/ 7751 h 11070"/>
                <a:gd name="T90" fmla="*/ 16809 w 19532"/>
                <a:gd name="T91" fmla="*/ 7751 h 11070"/>
                <a:gd name="T92" fmla="*/ 13491 w 19532"/>
                <a:gd name="T93" fmla="*/ 11069 h 1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532" h="11070">
                  <a:moveTo>
                    <a:pt x="13491" y="11069"/>
                  </a:moveTo>
                  <a:lnTo>
                    <a:pt x="13491" y="11069"/>
                  </a:lnTo>
                  <a:cubicBezTo>
                    <a:pt x="11661" y="11069"/>
                    <a:pt x="10173" y="9580"/>
                    <a:pt x="10173" y="7751"/>
                  </a:cubicBezTo>
                  <a:lnTo>
                    <a:pt x="10173" y="3114"/>
                  </a:lnTo>
                  <a:lnTo>
                    <a:pt x="10173" y="3114"/>
                  </a:lnTo>
                  <a:cubicBezTo>
                    <a:pt x="10173" y="2985"/>
                    <a:pt x="10069" y="2881"/>
                    <a:pt x="9940" y="2881"/>
                  </a:cubicBezTo>
                  <a:lnTo>
                    <a:pt x="9940" y="2881"/>
                  </a:lnTo>
                  <a:cubicBezTo>
                    <a:pt x="9811" y="2881"/>
                    <a:pt x="9708" y="2985"/>
                    <a:pt x="9708" y="3114"/>
                  </a:cubicBezTo>
                  <a:lnTo>
                    <a:pt x="9708" y="7426"/>
                  </a:lnTo>
                  <a:lnTo>
                    <a:pt x="9708" y="7426"/>
                  </a:lnTo>
                  <a:cubicBezTo>
                    <a:pt x="9708" y="9407"/>
                    <a:pt x="8097" y="11018"/>
                    <a:pt x="6116" y="11018"/>
                  </a:cubicBezTo>
                  <a:lnTo>
                    <a:pt x="6116" y="11018"/>
                  </a:lnTo>
                  <a:cubicBezTo>
                    <a:pt x="4135" y="11018"/>
                    <a:pt x="2524" y="9407"/>
                    <a:pt x="2524" y="7426"/>
                  </a:cubicBezTo>
                  <a:lnTo>
                    <a:pt x="2524" y="4964"/>
                  </a:lnTo>
                  <a:lnTo>
                    <a:pt x="2524" y="4964"/>
                  </a:lnTo>
                  <a:cubicBezTo>
                    <a:pt x="2524" y="4383"/>
                    <a:pt x="2051" y="3911"/>
                    <a:pt x="1470" y="3911"/>
                  </a:cubicBezTo>
                  <a:lnTo>
                    <a:pt x="0" y="3911"/>
                  </a:lnTo>
                  <a:lnTo>
                    <a:pt x="0" y="1030"/>
                  </a:lnTo>
                  <a:lnTo>
                    <a:pt x="1470" y="1030"/>
                  </a:lnTo>
                  <a:lnTo>
                    <a:pt x="1470" y="1030"/>
                  </a:lnTo>
                  <a:cubicBezTo>
                    <a:pt x="3639" y="1030"/>
                    <a:pt x="5404" y="2795"/>
                    <a:pt x="5404" y="4964"/>
                  </a:cubicBezTo>
                  <a:lnTo>
                    <a:pt x="5404" y="7426"/>
                  </a:lnTo>
                  <a:lnTo>
                    <a:pt x="5404" y="7426"/>
                  </a:lnTo>
                  <a:cubicBezTo>
                    <a:pt x="5404" y="7819"/>
                    <a:pt x="5724" y="8138"/>
                    <a:pt x="6116" y="8138"/>
                  </a:cubicBezTo>
                  <a:lnTo>
                    <a:pt x="6116" y="8138"/>
                  </a:lnTo>
                  <a:cubicBezTo>
                    <a:pt x="6508" y="8138"/>
                    <a:pt x="6828" y="7819"/>
                    <a:pt x="6828" y="7426"/>
                  </a:cubicBezTo>
                  <a:lnTo>
                    <a:pt x="6828" y="3114"/>
                  </a:lnTo>
                  <a:lnTo>
                    <a:pt x="6828" y="3114"/>
                  </a:lnTo>
                  <a:cubicBezTo>
                    <a:pt x="6828" y="1397"/>
                    <a:pt x="8224" y="0"/>
                    <a:pt x="9940" y="0"/>
                  </a:cubicBezTo>
                  <a:lnTo>
                    <a:pt x="9940" y="0"/>
                  </a:lnTo>
                  <a:cubicBezTo>
                    <a:pt x="11657" y="0"/>
                    <a:pt x="13053" y="1397"/>
                    <a:pt x="13053" y="3114"/>
                  </a:cubicBezTo>
                  <a:lnTo>
                    <a:pt x="13053" y="7751"/>
                  </a:lnTo>
                  <a:lnTo>
                    <a:pt x="13053" y="7751"/>
                  </a:lnTo>
                  <a:cubicBezTo>
                    <a:pt x="13053" y="7992"/>
                    <a:pt x="13250" y="8188"/>
                    <a:pt x="13491" y="8188"/>
                  </a:cubicBezTo>
                  <a:lnTo>
                    <a:pt x="13491" y="8188"/>
                  </a:lnTo>
                  <a:cubicBezTo>
                    <a:pt x="13732" y="8188"/>
                    <a:pt x="13928" y="7992"/>
                    <a:pt x="13928" y="7751"/>
                  </a:cubicBezTo>
                  <a:lnTo>
                    <a:pt x="13928" y="5284"/>
                  </a:lnTo>
                  <a:lnTo>
                    <a:pt x="13928" y="5284"/>
                  </a:lnTo>
                  <a:cubicBezTo>
                    <a:pt x="13928" y="2884"/>
                    <a:pt x="15880" y="933"/>
                    <a:pt x="18280" y="933"/>
                  </a:cubicBezTo>
                  <a:lnTo>
                    <a:pt x="19531" y="933"/>
                  </a:lnTo>
                  <a:lnTo>
                    <a:pt x="19531" y="3813"/>
                  </a:lnTo>
                  <a:lnTo>
                    <a:pt x="18280" y="3813"/>
                  </a:lnTo>
                  <a:lnTo>
                    <a:pt x="18280" y="3813"/>
                  </a:lnTo>
                  <a:cubicBezTo>
                    <a:pt x="17468" y="3813"/>
                    <a:pt x="16809" y="4473"/>
                    <a:pt x="16809" y="5284"/>
                  </a:cubicBezTo>
                  <a:lnTo>
                    <a:pt x="16809" y="7751"/>
                  </a:lnTo>
                  <a:lnTo>
                    <a:pt x="16809" y="7751"/>
                  </a:lnTo>
                  <a:cubicBezTo>
                    <a:pt x="16809" y="9580"/>
                    <a:pt x="15320" y="11069"/>
                    <a:pt x="13491" y="11069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4" name="Freeform 2">
              <a:extLst>
                <a:ext uri="{FF2B5EF4-FFF2-40B4-BE49-F238E27FC236}">
                  <a16:creationId xmlns:a16="http://schemas.microsoft.com/office/drawing/2014/main" id="{D2C8509D-5EFA-B047-9575-6A265EA1BF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362708" y="3202830"/>
              <a:ext cx="13692399" cy="7286743"/>
            </a:xfrm>
            <a:custGeom>
              <a:avLst/>
              <a:gdLst>
                <a:gd name="T0" fmla="*/ 13491 w 19532"/>
                <a:gd name="T1" fmla="*/ 10393 h 10394"/>
                <a:gd name="T2" fmla="*/ 13491 w 19532"/>
                <a:gd name="T3" fmla="*/ 10393 h 10394"/>
                <a:gd name="T4" fmla="*/ 10511 w 19532"/>
                <a:gd name="T5" fmla="*/ 7413 h 10394"/>
                <a:gd name="T6" fmla="*/ 10511 w 19532"/>
                <a:gd name="T7" fmla="*/ 2776 h 10394"/>
                <a:gd name="T8" fmla="*/ 10511 w 19532"/>
                <a:gd name="T9" fmla="*/ 2776 h 10394"/>
                <a:gd name="T10" fmla="*/ 9940 w 19532"/>
                <a:gd name="T11" fmla="*/ 2205 h 10394"/>
                <a:gd name="T12" fmla="*/ 9940 w 19532"/>
                <a:gd name="T13" fmla="*/ 2205 h 10394"/>
                <a:gd name="T14" fmla="*/ 9371 w 19532"/>
                <a:gd name="T15" fmla="*/ 2776 h 10394"/>
                <a:gd name="T16" fmla="*/ 9371 w 19532"/>
                <a:gd name="T17" fmla="*/ 7088 h 10394"/>
                <a:gd name="T18" fmla="*/ 9371 w 19532"/>
                <a:gd name="T19" fmla="*/ 7088 h 10394"/>
                <a:gd name="T20" fmla="*/ 6116 w 19532"/>
                <a:gd name="T21" fmla="*/ 10343 h 10394"/>
                <a:gd name="T22" fmla="*/ 6116 w 19532"/>
                <a:gd name="T23" fmla="*/ 10343 h 10394"/>
                <a:gd name="T24" fmla="*/ 2862 w 19532"/>
                <a:gd name="T25" fmla="*/ 7088 h 10394"/>
                <a:gd name="T26" fmla="*/ 2862 w 19532"/>
                <a:gd name="T27" fmla="*/ 4626 h 10394"/>
                <a:gd name="T28" fmla="*/ 2862 w 19532"/>
                <a:gd name="T29" fmla="*/ 4626 h 10394"/>
                <a:gd name="T30" fmla="*/ 1470 w 19532"/>
                <a:gd name="T31" fmla="*/ 3235 h 10394"/>
                <a:gd name="T32" fmla="*/ 0 w 19532"/>
                <a:gd name="T33" fmla="*/ 3235 h 10394"/>
                <a:gd name="T34" fmla="*/ 0 w 19532"/>
                <a:gd name="T35" fmla="*/ 1029 h 10394"/>
                <a:gd name="T36" fmla="*/ 1470 w 19532"/>
                <a:gd name="T37" fmla="*/ 1029 h 10394"/>
                <a:gd name="T38" fmla="*/ 1470 w 19532"/>
                <a:gd name="T39" fmla="*/ 1029 h 10394"/>
                <a:gd name="T40" fmla="*/ 5067 w 19532"/>
                <a:gd name="T41" fmla="*/ 4626 h 10394"/>
                <a:gd name="T42" fmla="*/ 5067 w 19532"/>
                <a:gd name="T43" fmla="*/ 7088 h 10394"/>
                <a:gd name="T44" fmla="*/ 5067 w 19532"/>
                <a:gd name="T45" fmla="*/ 7088 h 10394"/>
                <a:gd name="T46" fmla="*/ 6116 w 19532"/>
                <a:gd name="T47" fmla="*/ 8137 h 10394"/>
                <a:gd name="T48" fmla="*/ 6116 w 19532"/>
                <a:gd name="T49" fmla="*/ 8137 h 10394"/>
                <a:gd name="T50" fmla="*/ 7166 w 19532"/>
                <a:gd name="T51" fmla="*/ 7088 h 10394"/>
                <a:gd name="T52" fmla="*/ 7166 w 19532"/>
                <a:gd name="T53" fmla="*/ 2776 h 10394"/>
                <a:gd name="T54" fmla="*/ 7166 w 19532"/>
                <a:gd name="T55" fmla="*/ 2776 h 10394"/>
                <a:gd name="T56" fmla="*/ 9940 w 19532"/>
                <a:gd name="T57" fmla="*/ 0 h 10394"/>
                <a:gd name="T58" fmla="*/ 9940 w 19532"/>
                <a:gd name="T59" fmla="*/ 0 h 10394"/>
                <a:gd name="T60" fmla="*/ 12716 w 19532"/>
                <a:gd name="T61" fmla="*/ 2776 h 10394"/>
                <a:gd name="T62" fmla="*/ 12716 w 19532"/>
                <a:gd name="T63" fmla="*/ 7413 h 10394"/>
                <a:gd name="T64" fmla="*/ 12716 w 19532"/>
                <a:gd name="T65" fmla="*/ 7413 h 10394"/>
                <a:gd name="T66" fmla="*/ 13491 w 19532"/>
                <a:gd name="T67" fmla="*/ 8187 h 10394"/>
                <a:gd name="T68" fmla="*/ 13491 w 19532"/>
                <a:gd name="T69" fmla="*/ 8187 h 10394"/>
                <a:gd name="T70" fmla="*/ 14266 w 19532"/>
                <a:gd name="T71" fmla="*/ 7413 h 10394"/>
                <a:gd name="T72" fmla="*/ 14266 w 19532"/>
                <a:gd name="T73" fmla="*/ 4946 h 10394"/>
                <a:gd name="T74" fmla="*/ 14266 w 19532"/>
                <a:gd name="T75" fmla="*/ 4946 h 10394"/>
                <a:gd name="T76" fmla="*/ 18280 w 19532"/>
                <a:gd name="T77" fmla="*/ 932 h 10394"/>
                <a:gd name="T78" fmla="*/ 19531 w 19532"/>
                <a:gd name="T79" fmla="*/ 932 h 10394"/>
                <a:gd name="T80" fmla="*/ 19531 w 19532"/>
                <a:gd name="T81" fmla="*/ 3137 h 10394"/>
                <a:gd name="T82" fmla="*/ 18280 w 19532"/>
                <a:gd name="T83" fmla="*/ 3137 h 10394"/>
                <a:gd name="T84" fmla="*/ 18280 w 19532"/>
                <a:gd name="T85" fmla="*/ 3137 h 10394"/>
                <a:gd name="T86" fmla="*/ 16471 w 19532"/>
                <a:gd name="T87" fmla="*/ 4946 h 10394"/>
                <a:gd name="T88" fmla="*/ 16471 w 19532"/>
                <a:gd name="T89" fmla="*/ 7413 h 10394"/>
                <a:gd name="T90" fmla="*/ 16471 w 19532"/>
                <a:gd name="T91" fmla="*/ 7413 h 10394"/>
                <a:gd name="T92" fmla="*/ 13491 w 19532"/>
                <a:gd name="T93" fmla="*/ 10393 h 10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532" h="10394">
                  <a:moveTo>
                    <a:pt x="13491" y="10393"/>
                  </a:moveTo>
                  <a:lnTo>
                    <a:pt x="13491" y="10393"/>
                  </a:lnTo>
                  <a:cubicBezTo>
                    <a:pt x="11848" y="10393"/>
                    <a:pt x="10511" y="9056"/>
                    <a:pt x="10511" y="7413"/>
                  </a:cubicBezTo>
                  <a:lnTo>
                    <a:pt x="10511" y="2776"/>
                  </a:lnTo>
                  <a:lnTo>
                    <a:pt x="10511" y="2776"/>
                  </a:lnTo>
                  <a:cubicBezTo>
                    <a:pt x="10511" y="2461"/>
                    <a:pt x="10255" y="2205"/>
                    <a:pt x="9940" y="2205"/>
                  </a:cubicBezTo>
                  <a:lnTo>
                    <a:pt x="9940" y="2205"/>
                  </a:lnTo>
                  <a:cubicBezTo>
                    <a:pt x="9626" y="2205"/>
                    <a:pt x="9371" y="2461"/>
                    <a:pt x="9371" y="2776"/>
                  </a:cubicBezTo>
                  <a:lnTo>
                    <a:pt x="9371" y="7088"/>
                  </a:lnTo>
                  <a:lnTo>
                    <a:pt x="9371" y="7088"/>
                  </a:lnTo>
                  <a:cubicBezTo>
                    <a:pt x="9371" y="8883"/>
                    <a:pt x="7911" y="10343"/>
                    <a:pt x="6116" y="10343"/>
                  </a:cubicBezTo>
                  <a:lnTo>
                    <a:pt x="6116" y="10343"/>
                  </a:lnTo>
                  <a:cubicBezTo>
                    <a:pt x="4322" y="10343"/>
                    <a:pt x="2862" y="8883"/>
                    <a:pt x="2862" y="7088"/>
                  </a:cubicBezTo>
                  <a:lnTo>
                    <a:pt x="2862" y="4626"/>
                  </a:lnTo>
                  <a:lnTo>
                    <a:pt x="2862" y="4626"/>
                  </a:lnTo>
                  <a:cubicBezTo>
                    <a:pt x="2862" y="3859"/>
                    <a:pt x="2237" y="3235"/>
                    <a:pt x="1470" y="3235"/>
                  </a:cubicBezTo>
                  <a:lnTo>
                    <a:pt x="0" y="3235"/>
                  </a:lnTo>
                  <a:lnTo>
                    <a:pt x="0" y="1029"/>
                  </a:lnTo>
                  <a:lnTo>
                    <a:pt x="1470" y="1029"/>
                  </a:lnTo>
                  <a:lnTo>
                    <a:pt x="1470" y="1029"/>
                  </a:lnTo>
                  <a:cubicBezTo>
                    <a:pt x="3453" y="1029"/>
                    <a:pt x="5067" y="2643"/>
                    <a:pt x="5067" y="4626"/>
                  </a:cubicBezTo>
                  <a:lnTo>
                    <a:pt x="5067" y="7088"/>
                  </a:lnTo>
                  <a:lnTo>
                    <a:pt x="5067" y="7088"/>
                  </a:lnTo>
                  <a:cubicBezTo>
                    <a:pt x="5067" y="7666"/>
                    <a:pt x="5537" y="8137"/>
                    <a:pt x="6116" y="8137"/>
                  </a:cubicBezTo>
                  <a:lnTo>
                    <a:pt x="6116" y="8137"/>
                  </a:lnTo>
                  <a:cubicBezTo>
                    <a:pt x="6694" y="8137"/>
                    <a:pt x="7166" y="7666"/>
                    <a:pt x="7166" y="7088"/>
                  </a:cubicBezTo>
                  <a:lnTo>
                    <a:pt x="7166" y="2776"/>
                  </a:lnTo>
                  <a:lnTo>
                    <a:pt x="7166" y="2776"/>
                  </a:lnTo>
                  <a:cubicBezTo>
                    <a:pt x="7166" y="1245"/>
                    <a:pt x="8411" y="0"/>
                    <a:pt x="9940" y="0"/>
                  </a:cubicBezTo>
                  <a:lnTo>
                    <a:pt x="9940" y="0"/>
                  </a:lnTo>
                  <a:cubicBezTo>
                    <a:pt x="11471" y="0"/>
                    <a:pt x="12716" y="1245"/>
                    <a:pt x="12716" y="2776"/>
                  </a:cubicBezTo>
                  <a:lnTo>
                    <a:pt x="12716" y="7413"/>
                  </a:lnTo>
                  <a:lnTo>
                    <a:pt x="12716" y="7413"/>
                  </a:lnTo>
                  <a:cubicBezTo>
                    <a:pt x="12716" y="7840"/>
                    <a:pt x="13063" y="8187"/>
                    <a:pt x="13491" y="8187"/>
                  </a:cubicBezTo>
                  <a:lnTo>
                    <a:pt x="13491" y="8187"/>
                  </a:lnTo>
                  <a:cubicBezTo>
                    <a:pt x="13918" y="8187"/>
                    <a:pt x="14266" y="7840"/>
                    <a:pt x="14266" y="7413"/>
                  </a:cubicBezTo>
                  <a:lnTo>
                    <a:pt x="14266" y="4946"/>
                  </a:lnTo>
                  <a:lnTo>
                    <a:pt x="14266" y="4946"/>
                  </a:lnTo>
                  <a:cubicBezTo>
                    <a:pt x="14266" y="2733"/>
                    <a:pt x="16066" y="932"/>
                    <a:pt x="18280" y="932"/>
                  </a:cubicBezTo>
                  <a:lnTo>
                    <a:pt x="19531" y="932"/>
                  </a:lnTo>
                  <a:lnTo>
                    <a:pt x="19531" y="3137"/>
                  </a:lnTo>
                  <a:lnTo>
                    <a:pt x="18280" y="3137"/>
                  </a:lnTo>
                  <a:lnTo>
                    <a:pt x="18280" y="3137"/>
                  </a:lnTo>
                  <a:cubicBezTo>
                    <a:pt x="17283" y="3137"/>
                    <a:pt x="16471" y="3949"/>
                    <a:pt x="16471" y="4946"/>
                  </a:cubicBezTo>
                  <a:lnTo>
                    <a:pt x="16471" y="7413"/>
                  </a:lnTo>
                  <a:lnTo>
                    <a:pt x="16471" y="7413"/>
                  </a:lnTo>
                  <a:cubicBezTo>
                    <a:pt x="16471" y="9056"/>
                    <a:pt x="15134" y="10393"/>
                    <a:pt x="13491" y="10393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45BE737-CC44-3D47-A75D-7055B6345D9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-381032" y="3955562"/>
              <a:ext cx="13694788" cy="5826092"/>
            </a:xfrm>
            <a:custGeom>
              <a:avLst/>
              <a:gdLst>
                <a:gd name="connsiteX0" fmla="*/ 5108140 w 7032263"/>
                <a:gd name="connsiteY0" fmla="*/ 2896664 h 2991694"/>
                <a:gd name="connsiteX1" fmla="*/ 5126859 w 7032263"/>
                <a:gd name="connsiteY1" fmla="*/ 2941659 h 2991694"/>
                <a:gd name="connsiteX2" fmla="*/ 4933189 w 7032263"/>
                <a:gd name="connsiteY2" fmla="*/ 2991694 h 2991694"/>
                <a:gd name="connsiteX3" fmla="*/ 4928149 w 7032263"/>
                <a:gd name="connsiteY3" fmla="*/ 2943459 h 2991694"/>
                <a:gd name="connsiteX4" fmla="*/ 5108140 w 7032263"/>
                <a:gd name="connsiteY4" fmla="*/ 2896664 h 2991694"/>
                <a:gd name="connsiteX5" fmla="*/ 1944986 w 7032263"/>
                <a:gd name="connsiteY5" fmla="*/ 2884065 h 2991694"/>
                <a:gd name="connsiteX6" fmla="*/ 2127136 w 7032263"/>
                <a:gd name="connsiteY6" fmla="*/ 2925461 h 2991694"/>
                <a:gd name="connsiteX7" fmla="*/ 2122457 w 7032263"/>
                <a:gd name="connsiteY7" fmla="*/ 2974056 h 2991694"/>
                <a:gd name="connsiteX8" fmla="*/ 1928427 w 7032263"/>
                <a:gd name="connsiteY8" fmla="*/ 2929781 h 2991694"/>
                <a:gd name="connsiteX9" fmla="*/ 4566008 w 7032263"/>
                <a:gd name="connsiteY9" fmla="*/ 2879026 h 2991694"/>
                <a:gd name="connsiteX10" fmla="*/ 4742399 w 7032263"/>
                <a:gd name="connsiteY10" fmla="*/ 2937340 h 2991694"/>
                <a:gd name="connsiteX11" fmla="*/ 4733760 w 7032263"/>
                <a:gd name="connsiteY11" fmla="*/ 2985215 h 2991694"/>
                <a:gd name="connsiteX12" fmla="*/ 4544410 w 7032263"/>
                <a:gd name="connsiteY12" fmla="*/ 2922581 h 2991694"/>
                <a:gd name="connsiteX13" fmla="*/ 2493957 w 7032263"/>
                <a:gd name="connsiteY13" fmla="*/ 2870027 h 2991694"/>
                <a:gd name="connsiteX14" fmla="*/ 2513037 w 7032263"/>
                <a:gd name="connsiteY14" fmla="*/ 2914662 h 2991694"/>
                <a:gd name="connsiteX15" fmla="*/ 2321526 w 7032263"/>
                <a:gd name="connsiteY15" fmla="*/ 2969016 h 2991694"/>
                <a:gd name="connsiteX16" fmla="*/ 2313967 w 7032263"/>
                <a:gd name="connsiteY16" fmla="*/ 2920781 h 2991694"/>
                <a:gd name="connsiteX17" fmla="*/ 2493957 w 7032263"/>
                <a:gd name="connsiteY17" fmla="*/ 2870027 h 2991694"/>
                <a:gd name="connsiteX18" fmla="*/ 1638642 w 7032263"/>
                <a:gd name="connsiteY18" fmla="*/ 2675287 h 2991694"/>
                <a:gd name="connsiteX19" fmla="*/ 1778675 w 7032263"/>
                <a:gd name="connsiteY19" fmla="*/ 2798754 h 2991694"/>
                <a:gd name="connsiteX20" fmla="*/ 1751316 w 7032263"/>
                <a:gd name="connsiteY20" fmla="*/ 2839070 h 2991694"/>
                <a:gd name="connsiteX21" fmla="*/ 1602284 w 7032263"/>
                <a:gd name="connsiteY21" fmla="*/ 2707323 h 2991694"/>
                <a:gd name="connsiteX22" fmla="*/ 5393245 w 7032263"/>
                <a:gd name="connsiteY22" fmla="*/ 2664488 h 2991694"/>
                <a:gd name="connsiteX23" fmla="*/ 5433563 w 7032263"/>
                <a:gd name="connsiteY23" fmla="*/ 2691845 h 2991694"/>
                <a:gd name="connsiteX24" fmla="*/ 5297850 w 7032263"/>
                <a:gd name="connsiteY24" fmla="*/ 2838710 h 2991694"/>
                <a:gd name="connsiteX25" fmla="*/ 5267252 w 7032263"/>
                <a:gd name="connsiteY25" fmla="*/ 2800914 h 2991694"/>
                <a:gd name="connsiteX26" fmla="*/ 5393245 w 7032263"/>
                <a:gd name="connsiteY26" fmla="*/ 2664488 h 2991694"/>
                <a:gd name="connsiteX27" fmla="*/ 2789142 w 7032263"/>
                <a:gd name="connsiteY27" fmla="*/ 2645410 h 2991694"/>
                <a:gd name="connsiteX28" fmla="*/ 2826940 w 7032263"/>
                <a:gd name="connsiteY28" fmla="*/ 2675647 h 2991694"/>
                <a:gd name="connsiteX29" fmla="*/ 2685108 w 7032263"/>
                <a:gd name="connsiteY29" fmla="*/ 2814952 h 2991694"/>
                <a:gd name="connsiteX30" fmla="*/ 2655589 w 7032263"/>
                <a:gd name="connsiteY30" fmla="*/ 2776436 h 2991694"/>
                <a:gd name="connsiteX31" fmla="*/ 2789142 w 7032263"/>
                <a:gd name="connsiteY31" fmla="*/ 2645410 h 2991694"/>
                <a:gd name="connsiteX32" fmla="*/ 4296023 w 7032263"/>
                <a:gd name="connsiteY32" fmla="*/ 2628851 h 2991694"/>
                <a:gd name="connsiteX33" fmla="*/ 4413017 w 7032263"/>
                <a:gd name="connsiteY33" fmla="*/ 2773197 h 2991694"/>
                <a:gd name="connsiteX34" fmla="*/ 4379898 w 7032263"/>
                <a:gd name="connsiteY34" fmla="*/ 2808833 h 2991694"/>
                <a:gd name="connsiteX35" fmla="*/ 4254625 w 7032263"/>
                <a:gd name="connsiteY35" fmla="*/ 2653689 h 2991694"/>
                <a:gd name="connsiteX36" fmla="*/ 1469451 w 7032263"/>
                <a:gd name="connsiteY36" fmla="*/ 2345200 h 2991694"/>
                <a:gd name="connsiteX37" fmla="*/ 1533528 w 7032263"/>
                <a:gd name="connsiteY37" fmla="*/ 2520862 h 2991694"/>
                <a:gd name="connsiteX38" fmla="*/ 1489970 w 7032263"/>
                <a:gd name="connsiteY38" fmla="*/ 2542820 h 2991694"/>
                <a:gd name="connsiteX39" fmla="*/ 1422293 w 7032263"/>
                <a:gd name="connsiteY39" fmla="*/ 2355639 h 2991694"/>
                <a:gd name="connsiteX40" fmla="*/ 5507719 w 7032263"/>
                <a:gd name="connsiteY40" fmla="*/ 2314604 h 2991694"/>
                <a:gd name="connsiteX41" fmla="*/ 5555957 w 7032263"/>
                <a:gd name="connsiteY41" fmla="*/ 2316403 h 2991694"/>
                <a:gd name="connsiteX42" fmla="*/ 5521758 w 7032263"/>
                <a:gd name="connsiteY42" fmla="*/ 2512943 h 2991694"/>
                <a:gd name="connsiteX43" fmla="*/ 5476041 w 7032263"/>
                <a:gd name="connsiteY43" fmla="*/ 2497825 h 2991694"/>
                <a:gd name="connsiteX44" fmla="*/ 5507719 w 7032263"/>
                <a:gd name="connsiteY44" fmla="*/ 2314604 h 2991694"/>
                <a:gd name="connsiteX45" fmla="*/ 2940694 w 7032263"/>
                <a:gd name="connsiteY45" fmla="*/ 2307044 h 2991694"/>
                <a:gd name="connsiteX46" fmla="*/ 2988931 w 7032263"/>
                <a:gd name="connsiteY46" fmla="*/ 2315323 h 2991694"/>
                <a:gd name="connsiteX47" fmla="*/ 2930614 w 7032263"/>
                <a:gd name="connsiteY47" fmla="*/ 2505744 h 2991694"/>
                <a:gd name="connsiteX48" fmla="*/ 2886337 w 7032263"/>
                <a:gd name="connsiteY48" fmla="*/ 2485946 h 2991694"/>
                <a:gd name="connsiteX49" fmla="*/ 2940694 w 7032263"/>
                <a:gd name="connsiteY49" fmla="*/ 2307044 h 2991694"/>
                <a:gd name="connsiteX50" fmla="*/ 4156350 w 7032263"/>
                <a:gd name="connsiteY50" fmla="*/ 2271408 h 2991694"/>
                <a:gd name="connsiteX51" fmla="*/ 4204588 w 7032263"/>
                <a:gd name="connsiteY51" fmla="*/ 2271408 h 2991694"/>
                <a:gd name="connsiteX52" fmla="*/ 4204588 w 7032263"/>
                <a:gd name="connsiteY52" fmla="*/ 2295885 h 2991694"/>
                <a:gd name="connsiteX53" fmla="*/ 4224747 w 7032263"/>
                <a:gd name="connsiteY53" fmla="*/ 2457149 h 2991694"/>
                <a:gd name="connsiteX54" fmla="*/ 4177949 w 7032263"/>
                <a:gd name="connsiteY54" fmla="*/ 2469028 h 2991694"/>
                <a:gd name="connsiteX55" fmla="*/ 4156350 w 7032263"/>
                <a:gd name="connsiteY55" fmla="*/ 2295885 h 2991694"/>
                <a:gd name="connsiteX56" fmla="*/ 1402495 w 7032263"/>
                <a:gd name="connsiteY56" fmla="*/ 1964719 h 2991694"/>
                <a:gd name="connsiteX57" fmla="*/ 1451092 w 7032263"/>
                <a:gd name="connsiteY57" fmla="*/ 1964719 h 2991694"/>
                <a:gd name="connsiteX58" fmla="*/ 1451092 w 7032263"/>
                <a:gd name="connsiteY58" fmla="*/ 2158380 h 2991694"/>
                <a:gd name="connsiteX59" fmla="*/ 1402495 w 7032263"/>
                <a:gd name="connsiteY59" fmla="*/ 2158380 h 2991694"/>
                <a:gd name="connsiteX60" fmla="*/ 5507719 w 7032263"/>
                <a:gd name="connsiteY60" fmla="*/ 1928363 h 2991694"/>
                <a:gd name="connsiteX61" fmla="*/ 5556317 w 7032263"/>
                <a:gd name="connsiteY61" fmla="*/ 1928363 h 2991694"/>
                <a:gd name="connsiteX62" fmla="*/ 5556317 w 7032263"/>
                <a:gd name="connsiteY62" fmla="*/ 2122023 h 2991694"/>
                <a:gd name="connsiteX63" fmla="*/ 5507719 w 7032263"/>
                <a:gd name="connsiteY63" fmla="*/ 2122023 h 2991694"/>
                <a:gd name="connsiteX64" fmla="*/ 2951853 w 7032263"/>
                <a:gd name="connsiteY64" fmla="*/ 1925124 h 2991694"/>
                <a:gd name="connsiteX65" fmla="*/ 3000451 w 7032263"/>
                <a:gd name="connsiteY65" fmla="*/ 1925124 h 2991694"/>
                <a:gd name="connsiteX66" fmla="*/ 3000451 w 7032263"/>
                <a:gd name="connsiteY66" fmla="*/ 2118424 h 2991694"/>
                <a:gd name="connsiteX67" fmla="*/ 2951853 w 7032263"/>
                <a:gd name="connsiteY67" fmla="*/ 2118424 h 2991694"/>
                <a:gd name="connsiteX68" fmla="*/ 4156350 w 7032263"/>
                <a:gd name="connsiteY68" fmla="*/ 1884448 h 2991694"/>
                <a:gd name="connsiteX69" fmla="*/ 4204588 w 7032263"/>
                <a:gd name="connsiteY69" fmla="*/ 1884448 h 2991694"/>
                <a:gd name="connsiteX70" fmla="*/ 4204588 w 7032263"/>
                <a:gd name="connsiteY70" fmla="*/ 2078108 h 2991694"/>
                <a:gd name="connsiteX71" fmla="*/ 4156350 w 7032263"/>
                <a:gd name="connsiteY71" fmla="*/ 2078108 h 2991694"/>
                <a:gd name="connsiteX72" fmla="*/ 1402495 w 7032263"/>
                <a:gd name="connsiteY72" fmla="*/ 1578119 h 2991694"/>
                <a:gd name="connsiteX73" fmla="*/ 1451092 w 7032263"/>
                <a:gd name="connsiteY73" fmla="*/ 1578119 h 2991694"/>
                <a:gd name="connsiteX74" fmla="*/ 1451092 w 7032263"/>
                <a:gd name="connsiteY74" fmla="*/ 1771419 h 2991694"/>
                <a:gd name="connsiteX75" fmla="*/ 1402495 w 7032263"/>
                <a:gd name="connsiteY75" fmla="*/ 1771419 h 2991694"/>
                <a:gd name="connsiteX76" fmla="*/ 5507719 w 7032263"/>
                <a:gd name="connsiteY76" fmla="*/ 1541403 h 2991694"/>
                <a:gd name="connsiteX77" fmla="*/ 5556317 w 7032263"/>
                <a:gd name="connsiteY77" fmla="*/ 1541403 h 2991694"/>
                <a:gd name="connsiteX78" fmla="*/ 5556317 w 7032263"/>
                <a:gd name="connsiteY78" fmla="*/ 1735063 h 2991694"/>
                <a:gd name="connsiteX79" fmla="*/ 5507719 w 7032263"/>
                <a:gd name="connsiteY79" fmla="*/ 1735063 h 2991694"/>
                <a:gd name="connsiteX80" fmla="*/ 2951853 w 7032263"/>
                <a:gd name="connsiteY80" fmla="*/ 1537803 h 2991694"/>
                <a:gd name="connsiteX81" fmla="*/ 3000451 w 7032263"/>
                <a:gd name="connsiteY81" fmla="*/ 1537803 h 2991694"/>
                <a:gd name="connsiteX82" fmla="*/ 3000451 w 7032263"/>
                <a:gd name="connsiteY82" fmla="*/ 1731463 h 2991694"/>
                <a:gd name="connsiteX83" fmla="*/ 2951853 w 7032263"/>
                <a:gd name="connsiteY83" fmla="*/ 1731463 h 2991694"/>
                <a:gd name="connsiteX84" fmla="*/ 4156350 w 7032263"/>
                <a:gd name="connsiteY84" fmla="*/ 1497487 h 2991694"/>
                <a:gd name="connsiteX85" fmla="*/ 4204588 w 7032263"/>
                <a:gd name="connsiteY85" fmla="*/ 1497487 h 2991694"/>
                <a:gd name="connsiteX86" fmla="*/ 4204588 w 7032263"/>
                <a:gd name="connsiteY86" fmla="*/ 1691148 h 2991694"/>
                <a:gd name="connsiteX87" fmla="*/ 4156350 w 7032263"/>
                <a:gd name="connsiteY87" fmla="*/ 1691148 h 2991694"/>
                <a:gd name="connsiteX88" fmla="*/ 1445333 w 7032263"/>
                <a:gd name="connsiteY88" fmla="*/ 1188999 h 2991694"/>
                <a:gd name="connsiteX89" fmla="*/ 1451092 w 7032263"/>
                <a:gd name="connsiteY89" fmla="*/ 1292668 h 2991694"/>
                <a:gd name="connsiteX90" fmla="*/ 1451092 w 7032263"/>
                <a:gd name="connsiteY90" fmla="*/ 1384819 h 2991694"/>
                <a:gd name="connsiteX91" fmla="*/ 1402495 w 7032263"/>
                <a:gd name="connsiteY91" fmla="*/ 1384819 h 2991694"/>
                <a:gd name="connsiteX92" fmla="*/ 1402495 w 7032263"/>
                <a:gd name="connsiteY92" fmla="*/ 1292668 h 2991694"/>
                <a:gd name="connsiteX93" fmla="*/ 1397095 w 7032263"/>
                <a:gd name="connsiteY93" fmla="*/ 1194398 h 2991694"/>
                <a:gd name="connsiteX94" fmla="*/ 5538677 w 7032263"/>
                <a:gd name="connsiteY94" fmla="*/ 1151563 h 2991694"/>
                <a:gd name="connsiteX95" fmla="*/ 5585835 w 7032263"/>
                <a:gd name="connsiteY95" fmla="*/ 1163442 h 2991694"/>
                <a:gd name="connsiteX96" fmla="*/ 5558116 w 7032263"/>
                <a:gd name="connsiteY96" fmla="*/ 1349902 h 2991694"/>
                <a:gd name="connsiteX97" fmla="*/ 5509519 w 7032263"/>
                <a:gd name="connsiteY97" fmla="*/ 1347383 h 2991694"/>
                <a:gd name="connsiteX98" fmla="*/ 5538677 w 7032263"/>
                <a:gd name="connsiteY98" fmla="*/ 1151563 h 2991694"/>
                <a:gd name="connsiteX99" fmla="*/ 2951853 w 7032263"/>
                <a:gd name="connsiteY99" fmla="*/ 1151563 h 2991694"/>
                <a:gd name="connsiteX100" fmla="*/ 3000451 w 7032263"/>
                <a:gd name="connsiteY100" fmla="*/ 1151563 h 2991694"/>
                <a:gd name="connsiteX101" fmla="*/ 3000451 w 7032263"/>
                <a:gd name="connsiteY101" fmla="*/ 1344863 h 2991694"/>
                <a:gd name="connsiteX102" fmla="*/ 2951853 w 7032263"/>
                <a:gd name="connsiteY102" fmla="*/ 1344863 h 2991694"/>
                <a:gd name="connsiteX103" fmla="*/ 4156350 w 7032263"/>
                <a:gd name="connsiteY103" fmla="*/ 1110887 h 2991694"/>
                <a:gd name="connsiteX104" fmla="*/ 4204588 w 7032263"/>
                <a:gd name="connsiteY104" fmla="*/ 1110887 h 2991694"/>
                <a:gd name="connsiteX105" fmla="*/ 4204588 w 7032263"/>
                <a:gd name="connsiteY105" fmla="*/ 1304187 h 2991694"/>
                <a:gd name="connsiteX106" fmla="*/ 4156350 w 7032263"/>
                <a:gd name="connsiteY106" fmla="*/ 1304187 h 2991694"/>
                <a:gd name="connsiteX107" fmla="*/ 1318259 w 7032263"/>
                <a:gd name="connsiteY107" fmla="*/ 815717 h 2991694"/>
                <a:gd name="connsiteX108" fmla="*/ 1402135 w 7032263"/>
                <a:gd name="connsiteY108" fmla="*/ 995339 h 2991694"/>
                <a:gd name="connsiteX109" fmla="*/ 1356057 w 7032263"/>
                <a:gd name="connsiteY109" fmla="*/ 1011177 h 2991694"/>
                <a:gd name="connsiteX110" fmla="*/ 1276861 w 7032263"/>
                <a:gd name="connsiteY110" fmla="*/ 840915 h 2991694"/>
                <a:gd name="connsiteX111" fmla="*/ 5701389 w 7032263"/>
                <a:gd name="connsiteY111" fmla="*/ 793040 h 2991694"/>
                <a:gd name="connsiteX112" fmla="*/ 5741347 w 7032263"/>
                <a:gd name="connsiteY112" fmla="*/ 821117 h 2991694"/>
                <a:gd name="connsiteX113" fmla="*/ 5647392 w 7032263"/>
                <a:gd name="connsiteY113" fmla="*/ 984900 h 2991694"/>
                <a:gd name="connsiteX114" fmla="*/ 5603474 w 7032263"/>
                <a:gd name="connsiteY114" fmla="*/ 964742 h 2991694"/>
                <a:gd name="connsiteX115" fmla="*/ 5701389 w 7032263"/>
                <a:gd name="connsiteY115" fmla="*/ 793040 h 2991694"/>
                <a:gd name="connsiteX116" fmla="*/ 2951853 w 7032263"/>
                <a:gd name="connsiteY116" fmla="*/ 764602 h 2991694"/>
                <a:gd name="connsiteX117" fmla="*/ 3000451 w 7032263"/>
                <a:gd name="connsiteY117" fmla="*/ 764602 h 2991694"/>
                <a:gd name="connsiteX118" fmla="*/ 3000451 w 7032263"/>
                <a:gd name="connsiteY118" fmla="*/ 957903 h 2991694"/>
                <a:gd name="connsiteX119" fmla="*/ 2951853 w 7032263"/>
                <a:gd name="connsiteY119" fmla="*/ 957903 h 2991694"/>
                <a:gd name="connsiteX120" fmla="*/ 4156350 w 7032263"/>
                <a:gd name="connsiteY120" fmla="*/ 723927 h 2991694"/>
                <a:gd name="connsiteX121" fmla="*/ 4204588 w 7032263"/>
                <a:gd name="connsiteY121" fmla="*/ 723927 h 2991694"/>
                <a:gd name="connsiteX122" fmla="*/ 4204588 w 7032263"/>
                <a:gd name="connsiteY122" fmla="*/ 917587 h 2991694"/>
                <a:gd name="connsiteX123" fmla="*/ 4156350 w 7032263"/>
                <a:gd name="connsiteY123" fmla="*/ 917587 h 2991694"/>
                <a:gd name="connsiteX124" fmla="*/ 1046833 w 7032263"/>
                <a:gd name="connsiteY124" fmla="*/ 529906 h 2991694"/>
                <a:gd name="connsiteX125" fmla="*/ 1198026 w 7032263"/>
                <a:gd name="connsiteY125" fmla="*/ 658053 h 2991694"/>
                <a:gd name="connsiteX126" fmla="*/ 1162747 w 7032263"/>
                <a:gd name="connsiteY126" fmla="*/ 691530 h 2991694"/>
                <a:gd name="connsiteX127" fmla="*/ 1019835 w 7032263"/>
                <a:gd name="connsiteY127" fmla="*/ 569862 h 2991694"/>
                <a:gd name="connsiteX128" fmla="*/ 5982174 w 7032263"/>
                <a:gd name="connsiteY128" fmla="*/ 517308 h 2991694"/>
                <a:gd name="connsiteX129" fmla="*/ 6009533 w 7032263"/>
                <a:gd name="connsiteY129" fmla="*/ 557624 h 2991694"/>
                <a:gd name="connsiteX130" fmla="*/ 5863020 w 7032263"/>
                <a:gd name="connsiteY130" fmla="*/ 677131 h 2991694"/>
                <a:gd name="connsiteX131" fmla="*/ 5829182 w 7032263"/>
                <a:gd name="connsiteY131" fmla="*/ 642215 h 2991694"/>
                <a:gd name="connsiteX132" fmla="*/ 5982174 w 7032263"/>
                <a:gd name="connsiteY132" fmla="*/ 517308 h 2991694"/>
                <a:gd name="connsiteX133" fmla="*/ 680733 w 7032263"/>
                <a:gd name="connsiteY133" fmla="*/ 383042 h 2991694"/>
                <a:gd name="connsiteX134" fmla="*/ 871882 w 7032263"/>
                <a:gd name="connsiteY134" fmla="*/ 436316 h 2991694"/>
                <a:gd name="connsiteX135" fmla="*/ 853884 w 7032263"/>
                <a:gd name="connsiteY135" fmla="*/ 481311 h 2991694"/>
                <a:gd name="connsiteX136" fmla="*/ 672813 w 7032263"/>
                <a:gd name="connsiteY136" fmla="*/ 430917 h 2991694"/>
                <a:gd name="connsiteX137" fmla="*/ 3004411 w 7032263"/>
                <a:gd name="connsiteY137" fmla="*/ 374762 h 2991694"/>
                <a:gd name="connsiteX138" fmla="*/ 3049048 w 7032263"/>
                <a:gd name="connsiteY138" fmla="*/ 394560 h 2991694"/>
                <a:gd name="connsiteX139" fmla="*/ 3002611 w 7032263"/>
                <a:gd name="connsiteY139" fmla="*/ 573102 h 2991694"/>
                <a:gd name="connsiteX140" fmla="*/ 2954373 w 7032263"/>
                <a:gd name="connsiteY140" fmla="*/ 569142 h 2991694"/>
                <a:gd name="connsiteX141" fmla="*/ 3004411 w 7032263"/>
                <a:gd name="connsiteY141" fmla="*/ 374762 h 2991694"/>
                <a:gd name="connsiteX142" fmla="*/ 0 w 7032263"/>
                <a:gd name="connsiteY142" fmla="*/ 371091 h 2991694"/>
                <a:gd name="connsiteX143" fmla="*/ 96481 w 7032263"/>
                <a:gd name="connsiteY143" fmla="*/ 371091 h 2991694"/>
                <a:gd name="connsiteX144" fmla="*/ 96481 w 7032263"/>
                <a:gd name="connsiteY144" fmla="*/ 419942 h 2991694"/>
                <a:gd name="connsiteX145" fmla="*/ 0 w 7032263"/>
                <a:gd name="connsiteY145" fmla="*/ 419942 h 2991694"/>
                <a:gd name="connsiteX146" fmla="*/ 290513 w 7032263"/>
                <a:gd name="connsiteY146" fmla="*/ 370443 h 2991694"/>
                <a:gd name="connsiteX147" fmla="*/ 484183 w 7032263"/>
                <a:gd name="connsiteY147" fmla="*/ 370443 h 2991694"/>
                <a:gd name="connsiteX148" fmla="*/ 484183 w 7032263"/>
                <a:gd name="connsiteY148" fmla="*/ 419038 h 2991694"/>
                <a:gd name="connsiteX149" fmla="*/ 290513 w 7032263"/>
                <a:gd name="connsiteY149" fmla="*/ 419038 h 2991694"/>
                <a:gd name="connsiteX150" fmla="*/ 6343595 w 7032263"/>
                <a:gd name="connsiteY150" fmla="*/ 361804 h 2991694"/>
                <a:gd name="connsiteX151" fmla="*/ 6354395 w 7032263"/>
                <a:gd name="connsiteY151" fmla="*/ 409319 h 2991694"/>
                <a:gd name="connsiteX152" fmla="*/ 6175124 w 7032263"/>
                <a:gd name="connsiteY152" fmla="*/ 467273 h 2991694"/>
                <a:gd name="connsiteX153" fmla="*/ 6155685 w 7032263"/>
                <a:gd name="connsiteY153" fmla="*/ 422637 h 2991694"/>
                <a:gd name="connsiteX154" fmla="*/ 6343595 w 7032263"/>
                <a:gd name="connsiteY154" fmla="*/ 361804 h 2991694"/>
                <a:gd name="connsiteX155" fmla="*/ 4134031 w 7032263"/>
                <a:gd name="connsiteY155" fmla="*/ 336966 h 2991694"/>
                <a:gd name="connsiteX156" fmla="*/ 4197028 w 7032263"/>
                <a:gd name="connsiteY156" fmla="*/ 527027 h 2991694"/>
                <a:gd name="connsiteX157" fmla="*/ 4149150 w 7032263"/>
                <a:gd name="connsiteY157" fmla="*/ 534946 h 2991694"/>
                <a:gd name="connsiteX158" fmla="*/ 4090834 w 7032263"/>
                <a:gd name="connsiteY158" fmla="*/ 359284 h 2991694"/>
                <a:gd name="connsiteX159" fmla="*/ 6934200 w 7032263"/>
                <a:gd name="connsiteY159" fmla="*/ 336166 h 2991694"/>
                <a:gd name="connsiteX160" fmla="*/ 7032263 w 7032263"/>
                <a:gd name="connsiteY160" fmla="*/ 336166 h 2991694"/>
                <a:gd name="connsiteX161" fmla="*/ 7032263 w 7032263"/>
                <a:gd name="connsiteY161" fmla="*/ 385017 h 2991694"/>
                <a:gd name="connsiteX162" fmla="*/ 6934200 w 7032263"/>
                <a:gd name="connsiteY162" fmla="*/ 385017 h 2991694"/>
                <a:gd name="connsiteX163" fmla="*/ 6580463 w 7032263"/>
                <a:gd name="connsiteY163" fmla="*/ 335526 h 2991694"/>
                <a:gd name="connsiteX164" fmla="*/ 6733815 w 7032263"/>
                <a:gd name="connsiteY164" fmla="*/ 335526 h 2991694"/>
                <a:gd name="connsiteX165" fmla="*/ 6733815 w 7032263"/>
                <a:gd name="connsiteY165" fmla="*/ 384121 h 2991694"/>
                <a:gd name="connsiteX166" fmla="*/ 6580463 w 7032263"/>
                <a:gd name="connsiteY166" fmla="*/ 384121 h 2991694"/>
                <a:gd name="connsiteX167" fmla="*/ 6541225 w 7032263"/>
                <a:gd name="connsiteY167" fmla="*/ 384841 h 2991694"/>
                <a:gd name="connsiteX168" fmla="*/ 6539785 w 7032263"/>
                <a:gd name="connsiteY168" fmla="*/ 336246 h 2991694"/>
                <a:gd name="connsiteX169" fmla="*/ 6580463 w 7032263"/>
                <a:gd name="connsiteY169" fmla="*/ 335526 h 2991694"/>
                <a:gd name="connsiteX170" fmla="*/ 3269717 w 7032263"/>
                <a:gd name="connsiteY170" fmla="*/ 81392 h 2991694"/>
                <a:gd name="connsiteX171" fmla="*/ 3293475 w 7032263"/>
                <a:gd name="connsiteY171" fmla="*/ 123508 h 2991694"/>
                <a:gd name="connsiteX172" fmla="*/ 3149483 w 7032263"/>
                <a:gd name="connsiteY172" fmla="*/ 239056 h 2991694"/>
                <a:gd name="connsiteX173" fmla="*/ 3113485 w 7032263"/>
                <a:gd name="connsiteY173" fmla="*/ 206659 h 2991694"/>
                <a:gd name="connsiteX174" fmla="*/ 3269717 w 7032263"/>
                <a:gd name="connsiteY174" fmla="*/ 81392 h 2991694"/>
                <a:gd name="connsiteX175" fmla="*/ 3849646 w 7032263"/>
                <a:gd name="connsiteY175" fmla="*/ 61594 h 2991694"/>
                <a:gd name="connsiteX176" fmla="*/ 4013798 w 7032263"/>
                <a:gd name="connsiteY176" fmla="*/ 176422 h 2991694"/>
                <a:gd name="connsiteX177" fmla="*/ 3980319 w 7032263"/>
                <a:gd name="connsiteY177" fmla="*/ 211339 h 2991694"/>
                <a:gd name="connsiteX178" fmla="*/ 3828407 w 7032263"/>
                <a:gd name="connsiteY178" fmla="*/ 105510 h 2991694"/>
                <a:gd name="connsiteX179" fmla="*/ 3556981 w 7032263"/>
                <a:gd name="connsiteY179" fmla="*/ 356 h 2991694"/>
                <a:gd name="connsiteX180" fmla="*/ 3657416 w 7032263"/>
                <a:gd name="connsiteY180" fmla="*/ 5080 h 2991694"/>
                <a:gd name="connsiteX181" fmla="*/ 3651297 w 7032263"/>
                <a:gd name="connsiteY181" fmla="*/ 53315 h 2991694"/>
                <a:gd name="connsiteX182" fmla="*/ 3466986 w 7032263"/>
                <a:gd name="connsiteY182" fmla="*/ 59434 h 2991694"/>
                <a:gd name="connsiteX183" fmla="*/ 3457627 w 7032263"/>
                <a:gd name="connsiteY183" fmla="*/ 11559 h 2991694"/>
                <a:gd name="connsiteX184" fmla="*/ 3556981 w 7032263"/>
                <a:gd name="connsiteY184" fmla="*/ 356 h 299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7032263" h="2991694">
                  <a:moveTo>
                    <a:pt x="5108140" y="2896664"/>
                  </a:moveTo>
                  <a:lnTo>
                    <a:pt x="5126859" y="2941659"/>
                  </a:lnTo>
                  <a:cubicBezTo>
                    <a:pt x="5065302" y="2967217"/>
                    <a:pt x="5000146" y="2984495"/>
                    <a:pt x="4933189" y="2991694"/>
                  </a:cubicBezTo>
                  <a:lnTo>
                    <a:pt x="4928149" y="2943459"/>
                  </a:lnTo>
                  <a:cubicBezTo>
                    <a:pt x="4990066" y="2936620"/>
                    <a:pt x="5050543" y="2920781"/>
                    <a:pt x="5108140" y="2896664"/>
                  </a:cubicBezTo>
                  <a:close/>
                  <a:moveTo>
                    <a:pt x="1944986" y="2884065"/>
                  </a:moveTo>
                  <a:cubicBezTo>
                    <a:pt x="2003663" y="2905303"/>
                    <a:pt x="2064860" y="2919342"/>
                    <a:pt x="2127136" y="2925461"/>
                  </a:cubicBezTo>
                  <a:lnTo>
                    <a:pt x="2122457" y="2974056"/>
                  </a:lnTo>
                  <a:cubicBezTo>
                    <a:pt x="2055861" y="2967217"/>
                    <a:pt x="1990704" y="2952458"/>
                    <a:pt x="1928427" y="2929781"/>
                  </a:cubicBezTo>
                  <a:close/>
                  <a:moveTo>
                    <a:pt x="4566008" y="2879026"/>
                  </a:moveTo>
                  <a:cubicBezTo>
                    <a:pt x="4621806" y="2907103"/>
                    <a:pt x="4681202" y="2926541"/>
                    <a:pt x="4742399" y="2937340"/>
                  </a:cubicBezTo>
                  <a:lnTo>
                    <a:pt x="4733760" y="2985215"/>
                  </a:lnTo>
                  <a:cubicBezTo>
                    <a:pt x="4667883" y="2973696"/>
                    <a:pt x="4604166" y="2952458"/>
                    <a:pt x="4544410" y="2922581"/>
                  </a:cubicBezTo>
                  <a:close/>
                  <a:moveTo>
                    <a:pt x="2493957" y="2870027"/>
                  </a:moveTo>
                  <a:lnTo>
                    <a:pt x="2513037" y="2914662"/>
                  </a:lnTo>
                  <a:cubicBezTo>
                    <a:pt x="2451480" y="2940939"/>
                    <a:pt x="2387043" y="2958938"/>
                    <a:pt x="2321526" y="2969016"/>
                  </a:cubicBezTo>
                  <a:lnTo>
                    <a:pt x="2313967" y="2920781"/>
                  </a:lnTo>
                  <a:cubicBezTo>
                    <a:pt x="2375883" y="2911422"/>
                    <a:pt x="2436360" y="2894504"/>
                    <a:pt x="2493957" y="2870027"/>
                  </a:cubicBezTo>
                  <a:close/>
                  <a:moveTo>
                    <a:pt x="1638642" y="2675287"/>
                  </a:moveTo>
                  <a:cubicBezTo>
                    <a:pt x="1680040" y="2722082"/>
                    <a:pt x="1727197" y="2763478"/>
                    <a:pt x="1778675" y="2798754"/>
                  </a:cubicBezTo>
                  <a:lnTo>
                    <a:pt x="1751316" y="2839070"/>
                  </a:lnTo>
                  <a:cubicBezTo>
                    <a:pt x="1696599" y="2801634"/>
                    <a:pt x="1646202" y="2757358"/>
                    <a:pt x="1602284" y="2707323"/>
                  </a:cubicBezTo>
                  <a:close/>
                  <a:moveTo>
                    <a:pt x="5393245" y="2664488"/>
                  </a:moveTo>
                  <a:lnTo>
                    <a:pt x="5433563" y="2691845"/>
                  </a:lnTo>
                  <a:cubicBezTo>
                    <a:pt x="5395405" y="2747279"/>
                    <a:pt x="5350047" y="2796594"/>
                    <a:pt x="5297850" y="2838710"/>
                  </a:cubicBezTo>
                  <a:lnTo>
                    <a:pt x="5267252" y="2800914"/>
                  </a:lnTo>
                  <a:cubicBezTo>
                    <a:pt x="5315849" y="2761678"/>
                    <a:pt x="5357967" y="2715962"/>
                    <a:pt x="5393245" y="2664488"/>
                  </a:cubicBezTo>
                  <a:close/>
                  <a:moveTo>
                    <a:pt x="2789142" y="2645410"/>
                  </a:moveTo>
                  <a:lnTo>
                    <a:pt x="2826940" y="2675647"/>
                  </a:lnTo>
                  <a:cubicBezTo>
                    <a:pt x="2785902" y="2727841"/>
                    <a:pt x="2737665" y="2774636"/>
                    <a:pt x="2685108" y="2814952"/>
                  </a:cubicBezTo>
                  <a:lnTo>
                    <a:pt x="2655589" y="2776436"/>
                  </a:lnTo>
                  <a:cubicBezTo>
                    <a:pt x="2705266" y="2738640"/>
                    <a:pt x="2750264" y="2694365"/>
                    <a:pt x="2789142" y="2645410"/>
                  </a:cubicBezTo>
                  <a:close/>
                  <a:moveTo>
                    <a:pt x="4296023" y="2628851"/>
                  </a:moveTo>
                  <a:cubicBezTo>
                    <a:pt x="4328061" y="2682126"/>
                    <a:pt x="4367299" y="2730721"/>
                    <a:pt x="4413017" y="2773197"/>
                  </a:cubicBezTo>
                  <a:lnTo>
                    <a:pt x="4379898" y="2808833"/>
                  </a:lnTo>
                  <a:cubicBezTo>
                    <a:pt x="4330941" y="2763118"/>
                    <a:pt x="4288823" y="2710923"/>
                    <a:pt x="4254625" y="2653689"/>
                  </a:cubicBezTo>
                  <a:close/>
                  <a:moveTo>
                    <a:pt x="1469451" y="2345200"/>
                  </a:moveTo>
                  <a:cubicBezTo>
                    <a:pt x="1483131" y="2405674"/>
                    <a:pt x="1504729" y="2465068"/>
                    <a:pt x="1533528" y="2520862"/>
                  </a:cubicBezTo>
                  <a:lnTo>
                    <a:pt x="1489970" y="2542820"/>
                  </a:lnTo>
                  <a:cubicBezTo>
                    <a:pt x="1459731" y="2483786"/>
                    <a:pt x="1436693" y="2420793"/>
                    <a:pt x="1422293" y="2355639"/>
                  </a:cubicBezTo>
                  <a:close/>
                  <a:moveTo>
                    <a:pt x="5507719" y="2314604"/>
                  </a:moveTo>
                  <a:lnTo>
                    <a:pt x="5555957" y="2316403"/>
                  </a:lnTo>
                  <a:cubicBezTo>
                    <a:pt x="5554157" y="2383357"/>
                    <a:pt x="5542637" y="2449590"/>
                    <a:pt x="5521758" y="2512943"/>
                  </a:cubicBezTo>
                  <a:lnTo>
                    <a:pt x="5476041" y="2497825"/>
                  </a:lnTo>
                  <a:cubicBezTo>
                    <a:pt x="5495120" y="2438791"/>
                    <a:pt x="5505559" y="2377237"/>
                    <a:pt x="5507719" y="2314604"/>
                  </a:cubicBezTo>
                  <a:close/>
                  <a:moveTo>
                    <a:pt x="2940694" y="2307044"/>
                  </a:moveTo>
                  <a:lnTo>
                    <a:pt x="2988931" y="2315323"/>
                  </a:lnTo>
                  <a:cubicBezTo>
                    <a:pt x="2977412" y="2381197"/>
                    <a:pt x="2957973" y="2444910"/>
                    <a:pt x="2930614" y="2505744"/>
                  </a:cubicBezTo>
                  <a:lnTo>
                    <a:pt x="2886337" y="2485946"/>
                  </a:lnTo>
                  <a:cubicBezTo>
                    <a:pt x="2911895" y="2429072"/>
                    <a:pt x="2930254" y="2368958"/>
                    <a:pt x="2940694" y="2307044"/>
                  </a:cubicBezTo>
                  <a:close/>
                  <a:moveTo>
                    <a:pt x="4156350" y="2271408"/>
                  </a:moveTo>
                  <a:lnTo>
                    <a:pt x="4204588" y="2271408"/>
                  </a:lnTo>
                  <a:lnTo>
                    <a:pt x="4204588" y="2295885"/>
                  </a:lnTo>
                  <a:cubicBezTo>
                    <a:pt x="4204588" y="2350240"/>
                    <a:pt x="4211427" y="2404594"/>
                    <a:pt x="4224747" y="2457149"/>
                  </a:cubicBezTo>
                  <a:lnTo>
                    <a:pt x="4177949" y="2469028"/>
                  </a:lnTo>
                  <a:cubicBezTo>
                    <a:pt x="4163550" y="2412514"/>
                    <a:pt x="4156350" y="2354199"/>
                    <a:pt x="4156350" y="2295885"/>
                  </a:cubicBezTo>
                  <a:close/>
                  <a:moveTo>
                    <a:pt x="1402495" y="1964719"/>
                  </a:moveTo>
                  <a:lnTo>
                    <a:pt x="1451092" y="1964719"/>
                  </a:lnTo>
                  <a:lnTo>
                    <a:pt x="1451092" y="2158380"/>
                  </a:lnTo>
                  <a:lnTo>
                    <a:pt x="1402495" y="2158380"/>
                  </a:lnTo>
                  <a:close/>
                  <a:moveTo>
                    <a:pt x="5507719" y="1928363"/>
                  </a:moveTo>
                  <a:lnTo>
                    <a:pt x="5556317" y="1928363"/>
                  </a:lnTo>
                  <a:lnTo>
                    <a:pt x="5556317" y="2122023"/>
                  </a:lnTo>
                  <a:lnTo>
                    <a:pt x="5507719" y="2122023"/>
                  </a:lnTo>
                  <a:close/>
                  <a:moveTo>
                    <a:pt x="2951853" y="1925124"/>
                  </a:moveTo>
                  <a:lnTo>
                    <a:pt x="3000451" y="1925124"/>
                  </a:lnTo>
                  <a:lnTo>
                    <a:pt x="3000451" y="2118424"/>
                  </a:lnTo>
                  <a:lnTo>
                    <a:pt x="2951853" y="2118424"/>
                  </a:lnTo>
                  <a:close/>
                  <a:moveTo>
                    <a:pt x="4156350" y="1884448"/>
                  </a:moveTo>
                  <a:lnTo>
                    <a:pt x="4204588" y="1884448"/>
                  </a:lnTo>
                  <a:lnTo>
                    <a:pt x="4204588" y="2078108"/>
                  </a:lnTo>
                  <a:lnTo>
                    <a:pt x="4156350" y="2078108"/>
                  </a:lnTo>
                  <a:close/>
                  <a:moveTo>
                    <a:pt x="1402495" y="1578119"/>
                  </a:moveTo>
                  <a:lnTo>
                    <a:pt x="1451092" y="1578119"/>
                  </a:lnTo>
                  <a:lnTo>
                    <a:pt x="1451092" y="1771419"/>
                  </a:lnTo>
                  <a:lnTo>
                    <a:pt x="1402495" y="1771419"/>
                  </a:lnTo>
                  <a:close/>
                  <a:moveTo>
                    <a:pt x="5507719" y="1541403"/>
                  </a:moveTo>
                  <a:lnTo>
                    <a:pt x="5556317" y="1541403"/>
                  </a:lnTo>
                  <a:lnTo>
                    <a:pt x="5556317" y="1735063"/>
                  </a:lnTo>
                  <a:lnTo>
                    <a:pt x="5507719" y="1735063"/>
                  </a:lnTo>
                  <a:close/>
                  <a:moveTo>
                    <a:pt x="2951853" y="1537803"/>
                  </a:moveTo>
                  <a:lnTo>
                    <a:pt x="3000451" y="1537803"/>
                  </a:lnTo>
                  <a:lnTo>
                    <a:pt x="3000451" y="1731463"/>
                  </a:lnTo>
                  <a:lnTo>
                    <a:pt x="2951853" y="1731463"/>
                  </a:lnTo>
                  <a:close/>
                  <a:moveTo>
                    <a:pt x="4156350" y="1497487"/>
                  </a:moveTo>
                  <a:lnTo>
                    <a:pt x="4204588" y="1497487"/>
                  </a:lnTo>
                  <a:lnTo>
                    <a:pt x="4204588" y="1691148"/>
                  </a:lnTo>
                  <a:lnTo>
                    <a:pt x="4156350" y="1691148"/>
                  </a:lnTo>
                  <a:close/>
                  <a:moveTo>
                    <a:pt x="1445333" y="1188999"/>
                  </a:moveTo>
                  <a:cubicBezTo>
                    <a:pt x="1449292" y="1223195"/>
                    <a:pt x="1451092" y="1258112"/>
                    <a:pt x="1451092" y="1292668"/>
                  </a:cubicBezTo>
                  <a:lnTo>
                    <a:pt x="1451092" y="1384819"/>
                  </a:lnTo>
                  <a:lnTo>
                    <a:pt x="1402495" y="1384819"/>
                  </a:lnTo>
                  <a:lnTo>
                    <a:pt x="1402495" y="1292668"/>
                  </a:lnTo>
                  <a:cubicBezTo>
                    <a:pt x="1402495" y="1259912"/>
                    <a:pt x="1400695" y="1226795"/>
                    <a:pt x="1397095" y="1194398"/>
                  </a:cubicBezTo>
                  <a:close/>
                  <a:moveTo>
                    <a:pt x="5538677" y="1151563"/>
                  </a:moveTo>
                  <a:lnTo>
                    <a:pt x="5585835" y="1163442"/>
                  </a:lnTo>
                  <a:cubicBezTo>
                    <a:pt x="5571076" y="1224275"/>
                    <a:pt x="5561356" y="1286909"/>
                    <a:pt x="5558116" y="1349902"/>
                  </a:cubicBezTo>
                  <a:lnTo>
                    <a:pt x="5509519" y="1347383"/>
                  </a:lnTo>
                  <a:cubicBezTo>
                    <a:pt x="5513119" y="1281509"/>
                    <a:pt x="5523198" y="1215636"/>
                    <a:pt x="5538677" y="1151563"/>
                  </a:cubicBezTo>
                  <a:close/>
                  <a:moveTo>
                    <a:pt x="2951853" y="1151563"/>
                  </a:moveTo>
                  <a:lnTo>
                    <a:pt x="3000451" y="1151563"/>
                  </a:lnTo>
                  <a:lnTo>
                    <a:pt x="3000451" y="1344863"/>
                  </a:lnTo>
                  <a:lnTo>
                    <a:pt x="2951853" y="1344863"/>
                  </a:lnTo>
                  <a:close/>
                  <a:moveTo>
                    <a:pt x="4156350" y="1110887"/>
                  </a:moveTo>
                  <a:lnTo>
                    <a:pt x="4204588" y="1110887"/>
                  </a:lnTo>
                  <a:lnTo>
                    <a:pt x="4204588" y="1304187"/>
                  </a:lnTo>
                  <a:lnTo>
                    <a:pt x="4156350" y="1304187"/>
                  </a:lnTo>
                  <a:close/>
                  <a:moveTo>
                    <a:pt x="1318259" y="815717"/>
                  </a:moveTo>
                  <a:cubicBezTo>
                    <a:pt x="1352457" y="872591"/>
                    <a:pt x="1380896" y="932705"/>
                    <a:pt x="1402135" y="995339"/>
                  </a:cubicBezTo>
                  <a:lnTo>
                    <a:pt x="1356057" y="1011177"/>
                  </a:lnTo>
                  <a:cubicBezTo>
                    <a:pt x="1335898" y="951783"/>
                    <a:pt x="1309259" y="894549"/>
                    <a:pt x="1276861" y="840915"/>
                  </a:cubicBezTo>
                  <a:close/>
                  <a:moveTo>
                    <a:pt x="5701389" y="793040"/>
                  </a:moveTo>
                  <a:lnTo>
                    <a:pt x="5741347" y="821117"/>
                  </a:lnTo>
                  <a:cubicBezTo>
                    <a:pt x="5704989" y="872591"/>
                    <a:pt x="5673670" y="928026"/>
                    <a:pt x="5647392" y="984900"/>
                  </a:cubicBezTo>
                  <a:lnTo>
                    <a:pt x="5603474" y="964742"/>
                  </a:lnTo>
                  <a:cubicBezTo>
                    <a:pt x="5630473" y="904988"/>
                    <a:pt x="5663591" y="847394"/>
                    <a:pt x="5701389" y="793040"/>
                  </a:cubicBezTo>
                  <a:close/>
                  <a:moveTo>
                    <a:pt x="2951853" y="764602"/>
                  </a:moveTo>
                  <a:lnTo>
                    <a:pt x="3000451" y="764602"/>
                  </a:lnTo>
                  <a:lnTo>
                    <a:pt x="3000451" y="957903"/>
                  </a:lnTo>
                  <a:lnTo>
                    <a:pt x="2951853" y="957903"/>
                  </a:lnTo>
                  <a:close/>
                  <a:moveTo>
                    <a:pt x="4156350" y="723927"/>
                  </a:moveTo>
                  <a:lnTo>
                    <a:pt x="4204588" y="723927"/>
                  </a:lnTo>
                  <a:lnTo>
                    <a:pt x="4204588" y="917587"/>
                  </a:lnTo>
                  <a:lnTo>
                    <a:pt x="4156350" y="917587"/>
                  </a:lnTo>
                  <a:close/>
                  <a:moveTo>
                    <a:pt x="1046833" y="529906"/>
                  </a:moveTo>
                  <a:cubicBezTo>
                    <a:pt x="1101550" y="566983"/>
                    <a:pt x="1152308" y="610178"/>
                    <a:pt x="1198026" y="658053"/>
                  </a:cubicBezTo>
                  <a:lnTo>
                    <a:pt x="1162747" y="691530"/>
                  </a:lnTo>
                  <a:cubicBezTo>
                    <a:pt x="1119549" y="645815"/>
                    <a:pt x="1071312" y="605139"/>
                    <a:pt x="1019835" y="569862"/>
                  </a:cubicBezTo>
                  <a:close/>
                  <a:moveTo>
                    <a:pt x="5982174" y="517308"/>
                  </a:moveTo>
                  <a:lnTo>
                    <a:pt x="6009533" y="557624"/>
                  </a:lnTo>
                  <a:cubicBezTo>
                    <a:pt x="5957335" y="592900"/>
                    <a:pt x="5908018" y="633216"/>
                    <a:pt x="5863020" y="677131"/>
                  </a:cubicBezTo>
                  <a:lnTo>
                    <a:pt x="5829182" y="642215"/>
                  </a:lnTo>
                  <a:cubicBezTo>
                    <a:pt x="5875980" y="596500"/>
                    <a:pt x="5927817" y="554024"/>
                    <a:pt x="5982174" y="517308"/>
                  </a:cubicBezTo>
                  <a:close/>
                  <a:moveTo>
                    <a:pt x="680733" y="383042"/>
                  </a:moveTo>
                  <a:cubicBezTo>
                    <a:pt x="746249" y="393840"/>
                    <a:pt x="810686" y="411839"/>
                    <a:pt x="871882" y="436316"/>
                  </a:cubicBezTo>
                  <a:lnTo>
                    <a:pt x="853884" y="481311"/>
                  </a:lnTo>
                  <a:cubicBezTo>
                    <a:pt x="795567" y="458274"/>
                    <a:pt x="734730" y="441356"/>
                    <a:pt x="672813" y="430917"/>
                  </a:cubicBezTo>
                  <a:close/>
                  <a:moveTo>
                    <a:pt x="3004411" y="374762"/>
                  </a:moveTo>
                  <a:lnTo>
                    <a:pt x="3049048" y="394560"/>
                  </a:lnTo>
                  <a:cubicBezTo>
                    <a:pt x="3023849" y="451435"/>
                    <a:pt x="3008370" y="511188"/>
                    <a:pt x="3002611" y="573102"/>
                  </a:cubicBezTo>
                  <a:lnTo>
                    <a:pt x="2954373" y="569142"/>
                  </a:lnTo>
                  <a:cubicBezTo>
                    <a:pt x="2960493" y="501829"/>
                    <a:pt x="2977412" y="436316"/>
                    <a:pt x="3004411" y="374762"/>
                  </a:cubicBezTo>
                  <a:close/>
                  <a:moveTo>
                    <a:pt x="0" y="371091"/>
                  </a:moveTo>
                  <a:lnTo>
                    <a:pt x="96481" y="371091"/>
                  </a:lnTo>
                  <a:lnTo>
                    <a:pt x="96481" y="419942"/>
                  </a:lnTo>
                  <a:lnTo>
                    <a:pt x="0" y="419942"/>
                  </a:lnTo>
                  <a:close/>
                  <a:moveTo>
                    <a:pt x="290513" y="370443"/>
                  </a:moveTo>
                  <a:lnTo>
                    <a:pt x="484183" y="370443"/>
                  </a:lnTo>
                  <a:lnTo>
                    <a:pt x="484183" y="419038"/>
                  </a:lnTo>
                  <a:lnTo>
                    <a:pt x="290513" y="419038"/>
                  </a:lnTo>
                  <a:close/>
                  <a:moveTo>
                    <a:pt x="6343595" y="361804"/>
                  </a:moveTo>
                  <a:lnTo>
                    <a:pt x="6354395" y="409319"/>
                  </a:lnTo>
                  <a:cubicBezTo>
                    <a:pt x="6292838" y="422997"/>
                    <a:pt x="6232721" y="442795"/>
                    <a:pt x="6175124" y="467273"/>
                  </a:cubicBezTo>
                  <a:lnTo>
                    <a:pt x="6155685" y="422637"/>
                  </a:lnTo>
                  <a:cubicBezTo>
                    <a:pt x="6216162" y="396720"/>
                    <a:pt x="6279519" y="376202"/>
                    <a:pt x="6343595" y="361804"/>
                  </a:cubicBezTo>
                  <a:close/>
                  <a:moveTo>
                    <a:pt x="4134031" y="336966"/>
                  </a:moveTo>
                  <a:cubicBezTo>
                    <a:pt x="4164990" y="396360"/>
                    <a:pt x="4186229" y="460434"/>
                    <a:pt x="4197028" y="527027"/>
                  </a:cubicBezTo>
                  <a:lnTo>
                    <a:pt x="4149150" y="534946"/>
                  </a:lnTo>
                  <a:cubicBezTo>
                    <a:pt x="4139071" y="473392"/>
                    <a:pt x="4119632" y="414358"/>
                    <a:pt x="4090834" y="359284"/>
                  </a:cubicBezTo>
                  <a:close/>
                  <a:moveTo>
                    <a:pt x="6934200" y="336166"/>
                  </a:moveTo>
                  <a:lnTo>
                    <a:pt x="7032263" y="336166"/>
                  </a:lnTo>
                  <a:lnTo>
                    <a:pt x="7032263" y="385017"/>
                  </a:lnTo>
                  <a:lnTo>
                    <a:pt x="6934200" y="385017"/>
                  </a:lnTo>
                  <a:close/>
                  <a:moveTo>
                    <a:pt x="6580463" y="335526"/>
                  </a:moveTo>
                  <a:lnTo>
                    <a:pt x="6733815" y="335526"/>
                  </a:lnTo>
                  <a:lnTo>
                    <a:pt x="6733815" y="384121"/>
                  </a:lnTo>
                  <a:lnTo>
                    <a:pt x="6580463" y="384121"/>
                  </a:lnTo>
                  <a:cubicBezTo>
                    <a:pt x="6567144" y="384121"/>
                    <a:pt x="6554184" y="384121"/>
                    <a:pt x="6541225" y="384841"/>
                  </a:cubicBezTo>
                  <a:lnTo>
                    <a:pt x="6539785" y="336246"/>
                  </a:lnTo>
                  <a:cubicBezTo>
                    <a:pt x="6553104" y="335886"/>
                    <a:pt x="6566424" y="335526"/>
                    <a:pt x="6580463" y="335526"/>
                  </a:cubicBezTo>
                  <a:close/>
                  <a:moveTo>
                    <a:pt x="3269717" y="81392"/>
                  </a:moveTo>
                  <a:lnTo>
                    <a:pt x="3293475" y="123508"/>
                  </a:lnTo>
                  <a:cubicBezTo>
                    <a:pt x="3239478" y="154105"/>
                    <a:pt x="3191241" y="192981"/>
                    <a:pt x="3149483" y="239056"/>
                  </a:cubicBezTo>
                  <a:lnTo>
                    <a:pt x="3113485" y="206659"/>
                  </a:lnTo>
                  <a:cubicBezTo>
                    <a:pt x="3158482" y="156624"/>
                    <a:pt x="3211040" y="114509"/>
                    <a:pt x="3269717" y="81392"/>
                  </a:cubicBezTo>
                  <a:close/>
                  <a:moveTo>
                    <a:pt x="3849646" y="61594"/>
                  </a:moveTo>
                  <a:cubicBezTo>
                    <a:pt x="3910123" y="90751"/>
                    <a:pt x="3965560" y="129627"/>
                    <a:pt x="4013798" y="176422"/>
                  </a:cubicBezTo>
                  <a:lnTo>
                    <a:pt x="3980319" y="211339"/>
                  </a:lnTo>
                  <a:cubicBezTo>
                    <a:pt x="3935322" y="167783"/>
                    <a:pt x="3884564" y="132507"/>
                    <a:pt x="3828407" y="105510"/>
                  </a:cubicBezTo>
                  <a:close/>
                  <a:moveTo>
                    <a:pt x="3556981" y="356"/>
                  </a:moveTo>
                  <a:cubicBezTo>
                    <a:pt x="3590550" y="-769"/>
                    <a:pt x="3624298" y="760"/>
                    <a:pt x="3657416" y="5080"/>
                  </a:cubicBezTo>
                  <a:lnTo>
                    <a:pt x="3651297" y="53315"/>
                  </a:lnTo>
                  <a:cubicBezTo>
                    <a:pt x="3590460" y="45396"/>
                    <a:pt x="3526743" y="47556"/>
                    <a:pt x="3466986" y="59434"/>
                  </a:cubicBezTo>
                  <a:lnTo>
                    <a:pt x="3457627" y="11559"/>
                  </a:lnTo>
                  <a:cubicBezTo>
                    <a:pt x="3490025" y="5260"/>
                    <a:pt x="3523413" y="1480"/>
                    <a:pt x="3556981" y="3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076" name="Freeform 4">
            <a:extLst>
              <a:ext uri="{FF2B5EF4-FFF2-40B4-BE49-F238E27FC236}">
                <a16:creationId xmlns:a16="http://schemas.microsoft.com/office/drawing/2014/main" id="{00274849-5EF8-2D4A-B87F-B878EA685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3864" y="2103277"/>
            <a:ext cx="1475167" cy="2263796"/>
          </a:xfrm>
          <a:custGeom>
            <a:avLst/>
            <a:gdLst>
              <a:gd name="T0" fmla="*/ 922 w 1846"/>
              <a:gd name="T1" fmla="*/ 1496 h 2836"/>
              <a:gd name="T2" fmla="*/ 922 w 1846"/>
              <a:gd name="T3" fmla="*/ 1496 h 2836"/>
              <a:gd name="T4" fmla="*/ 308 w 1846"/>
              <a:gd name="T5" fmla="*/ 882 h 2836"/>
              <a:gd name="T6" fmla="*/ 308 w 1846"/>
              <a:gd name="T7" fmla="*/ 882 h 2836"/>
              <a:gd name="T8" fmla="*/ 922 w 1846"/>
              <a:gd name="T9" fmla="*/ 268 h 2836"/>
              <a:gd name="T10" fmla="*/ 922 w 1846"/>
              <a:gd name="T11" fmla="*/ 268 h 2836"/>
              <a:gd name="T12" fmla="*/ 1537 w 1846"/>
              <a:gd name="T13" fmla="*/ 882 h 2836"/>
              <a:gd name="T14" fmla="*/ 1537 w 1846"/>
              <a:gd name="T15" fmla="*/ 882 h 2836"/>
              <a:gd name="T16" fmla="*/ 922 w 1846"/>
              <a:gd name="T17" fmla="*/ 1496 h 2836"/>
              <a:gd name="T18" fmla="*/ 922 w 1846"/>
              <a:gd name="T19" fmla="*/ 0 h 2836"/>
              <a:gd name="T20" fmla="*/ 922 w 1846"/>
              <a:gd name="T21" fmla="*/ 0 h 2836"/>
              <a:gd name="T22" fmla="*/ 0 w 1846"/>
              <a:gd name="T23" fmla="*/ 923 h 2836"/>
              <a:gd name="T24" fmla="*/ 0 w 1846"/>
              <a:gd name="T25" fmla="*/ 923 h 2836"/>
              <a:gd name="T26" fmla="*/ 922 w 1846"/>
              <a:gd name="T27" fmla="*/ 2835 h 2836"/>
              <a:gd name="T28" fmla="*/ 922 w 1846"/>
              <a:gd name="T29" fmla="*/ 2835 h 2836"/>
              <a:gd name="T30" fmla="*/ 1845 w 1846"/>
              <a:gd name="T31" fmla="*/ 923 h 2836"/>
              <a:gd name="T32" fmla="*/ 1845 w 1846"/>
              <a:gd name="T33" fmla="*/ 923 h 2836"/>
              <a:gd name="T34" fmla="*/ 922 w 1846"/>
              <a:gd name="T35" fmla="*/ 0 h 2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846" h="2836">
                <a:moveTo>
                  <a:pt x="922" y="1496"/>
                </a:moveTo>
                <a:lnTo>
                  <a:pt x="922" y="1496"/>
                </a:lnTo>
                <a:cubicBezTo>
                  <a:pt x="583" y="1496"/>
                  <a:pt x="308" y="1221"/>
                  <a:pt x="308" y="882"/>
                </a:cubicBezTo>
                <a:lnTo>
                  <a:pt x="308" y="882"/>
                </a:lnTo>
                <a:cubicBezTo>
                  <a:pt x="308" y="543"/>
                  <a:pt x="583" y="268"/>
                  <a:pt x="922" y="268"/>
                </a:cubicBezTo>
                <a:lnTo>
                  <a:pt x="922" y="268"/>
                </a:lnTo>
                <a:cubicBezTo>
                  <a:pt x="1261" y="268"/>
                  <a:pt x="1537" y="543"/>
                  <a:pt x="1537" y="882"/>
                </a:cubicBezTo>
                <a:lnTo>
                  <a:pt x="1537" y="882"/>
                </a:lnTo>
                <a:cubicBezTo>
                  <a:pt x="1537" y="1221"/>
                  <a:pt x="1261" y="1496"/>
                  <a:pt x="922" y="1496"/>
                </a:cubicBezTo>
                <a:close/>
                <a:moveTo>
                  <a:pt x="922" y="0"/>
                </a:moveTo>
                <a:lnTo>
                  <a:pt x="922" y="0"/>
                </a:lnTo>
                <a:cubicBezTo>
                  <a:pt x="412" y="0"/>
                  <a:pt x="0" y="414"/>
                  <a:pt x="0" y="923"/>
                </a:cubicBezTo>
                <a:lnTo>
                  <a:pt x="0" y="923"/>
                </a:lnTo>
                <a:cubicBezTo>
                  <a:pt x="0" y="1432"/>
                  <a:pt x="922" y="2835"/>
                  <a:pt x="922" y="2835"/>
                </a:cubicBezTo>
                <a:lnTo>
                  <a:pt x="922" y="2835"/>
                </a:lnTo>
                <a:cubicBezTo>
                  <a:pt x="922" y="2835"/>
                  <a:pt x="1845" y="1432"/>
                  <a:pt x="1845" y="923"/>
                </a:cubicBezTo>
                <a:lnTo>
                  <a:pt x="1845" y="923"/>
                </a:lnTo>
                <a:cubicBezTo>
                  <a:pt x="1845" y="414"/>
                  <a:pt x="1432" y="0"/>
                  <a:pt x="9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077" name="Freeform 5">
            <a:extLst>
              <a:ext uri="{FF2B5EF4-FFF2-40B4-BE49-F238E27FC236}">
                <a16:creationId xmlns:a16="http://schemas.microsoft.com/office/drawing/2014/main" id="{63510C7C-4E1B-8F48-A5A2-361C683DB1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172" y="4556479"/>
            <a:ext cx="1471643" cy="2263798"/>
          </a:xfrm>
          <a:custGeom>
            <a:avLst/>
            <a:gdLst>
              <a:gd name="T0" fmla="*/ 921 w 1845"/>
              <a:gd name="T1" fmla="*/ 1497 h 2837"/>
              <a:gd name="T2" fmla="*/ 921 w 1845"/>
              <a:gd name="T3" fmla="*/ 1497 h 2837"/>
              <a:gd name="T4" fmla="*/ 308 w 1845"/>
              <a:gd name="T5" fmla="*/ 882 h 2837"/>
              <a:gd name="T6" fmla="*/ 308 w 1845"/>
              <a:gd name="T7" fmla="*/ 882 h 2837"/>
              <a:gd name="T8" fmla="*/ 921 w 1845"/>
              <a:gd name="T9" fmla="*/ 268 h 2837"/>
              <a:gd name="T10" fmla="*/ 921 w 1845"/>
              <a:gd name="T11" fmla="*/ 268 h 2837"/>
              <a:gd name="T12" fmla="*/ 1536 w 1845"/>
              <a:gd name="T13" fmla="*/ 882 h 2837"/>
              <a:gd name="T14" fmla="*/ 1536 w 1845"/>
              <a:gd name="T15" fmla="*/ 882 h 2837"/>
              <a:gd name="T16" fmla="*/ 921 w 1845"/>
              <a:gd name="T17" fmla="*/ 1497 h 2837"/>
              <a:gd name="T18" fmla="*/ 921 w 1845"/>
              <a:gd name="T19" fmla="*/ 0 h 2837"/>
              <a:gd name="T20" fmla="*/ 921 w 1845"/>
              <a:gd name="T21" fmla="*/ 0 h 2837"/>
              <a:gd name="T22" fmla="*/ 0 w 1845"/>
              <a:gd name="T23" fmla="*/ 923 h 2837"/>
              <a:gd name="T24" fmla="*/ 0 w 1845"/>
              <a:gd name="T25" fmla="*/ 923 h 2837"/>
              <a:gd name="T26" fmla="*/ 921 w 1845"/>
              <a:gd name="T27" fmla="*/ 2836 h 2837"/>
              <a:gd name="T28" fmla="*/ 921 w 1845"/>
              <a:gd name="T29" fmla="*/ 2836 h 2837"/>
              <a:gd name="T30" fmla="*/ 1844 w 1845"/>
              <a:gd name="T31" fmla="*/ 923 h 2837"/>
              <a:gd name="T32" fmla="*/ 1844 w 1845"/>
              <a:gd name="T33" fmla="*/ 923 h 2837"/>
              <a:gd name="T34" fmla="*/ 921 w 1845"/>
              <a:gd name="T35" fmla="*/ 0 h 2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845" h="2837">
                <a:moveTo>
                  <a:pt x="921" y="1497"/>
                </a:moveTo>
                <a:lnTo>
                  <a:pt x="921" y="1497"/>
                </a:lnTo>
                <a:cubicBezTo>
                  <a:pt x="583" y="1497"/>
                  <a:pt x="308" y="1221"/>
                  <a:pt x="308" y="882"/>
                </a:cubicBezTo>
                <a:lnTo>
                  <a:pt x="308" y="882"/>
                </a:lnTo>
                <a:cubicBezTo>
                  <a:pt x="308" y="543"/>
                  <a:pt x="583" y="268"/>
                  <a:pt x="921" y="268"/>
                </a:cubicBezTo>
                <a:lnTo>
                  <a:pt x="921" y="268"/>
                </a:lnTo>
                <a:cubicBezTo>
                  <a:pt x="1260" y="268"/>
                  <a:pt x="1536" y="543"/>
                  <a:pt x="1536" y="882"/>
                </a:cubicBezTo>
                <a:lnTo>
                  <a:pt x="1536" y="882"/>
                </a:lnTo>
                <a:cubicBezTo>
                  <a:pt x="1536" y="1221"/>
                  <a:pt x="1260" y="1497"/>
                  <a:pt x="921" y="1497"/>
                </a:cubicBezTo>
                <a:close/>
                <a:moveTo>
                  <a:pt x="921" y="0"/>
                </a:moveTo>
                <a:lnTo>
                  <a:pt x="921" y="0"/>
                </a:lnTo>
                <a:cubicBezTo>
                  <a:pt x="412" y="0"/>
                  <a:pt x="0" y="413"/>
                  <a:pt x="0" y="923"/>
                </a:cubicBezTo>
                <a:lnTo>
                  <a:pt x="0" y="923"/>
                </a:lnTo>
                <a:cubicBezTo>
                  <a:pt x="0" y="1433"/>
                  <a:pt x="921" y="2836"/>
                  <a:pt x="921" y="2836"/>
                </a:cubicBezTo>
                <a:lnTo>
                  <a:pt x="921" y="2836"/>
                </a:lnTo>
                <a:cubicBezTo>
                  <a:pt x="921" y="2836"/>
                  <a:pt x="1844" y="1433"/>
                  <a:pt x="1844" y="923"/>
                </a:cubicBezTo>
                <a:lnTo>
                  <a:pt x="1844" y="923"/>
                </a:lnTo>
                <a:cubicBezTo>
                  <a:pt x="1844" y="413"/>
                  <a:pt x="1430" y="0"/>
                  <a:pt x="921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078" name="Freeform 6">
            <a:extLst>
              <a:ext uri="{FF2B5EF4-FFF2-40B4-BE49-F238E27FC236}">
                <a16:creationId xmlns:a16="http://schemas.microsoft.com/office/drawing/2014/main" id="{DE16BFE2-E1F1-5742-A356-6EDBFF091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3864" y="7982889"/>
            <a:ext cx="1475165" cy="2263798"/>
          </a:xfrm>
          <a:custGeom>
            <a:avLst/>
            <a:gdLst>
              <a:gd name="T0" fmla="*/ 922 w 1846"/>
              <a:gd name="T1" fmla="*/ 1495 h 2835"/>
              <a:gd name="T2" fmla="*/ 922 w 1846"/>
              <a:gd name="T3" fmla="*/ 1495 h 2835"/>
              <a:gd name="T4" fmla="*/ 308 w 1846"/>
              <a:gd name="T5" fmla="*/ 881 h 2835"/>
              <a:gd name="T6" fmla="*/ 308 w 1846"/>
              <a:gd name="T7" fmla="*/ 881 h 2835"/>
              <a:gd name="T8" fmla="*/ 922 w 1846"/>
              <a:gd name="T9" fmla="*/ 267 h 2835"/>
              <a:gd name="T10" fmla="*/ 922 w 1846"/>
              <a:gd name="T11" fmla="*/ 267 h 2835"/>
              <a:gd name="T12" fmla="*/ 1537 w 1846"/>
              <a:gd name="T13" fmla="*/ 881 h 2835"/>
              <a:gd name="T14" fmla="*/ 1537 w 1846"/>
              <a:gd name="T15" fmla="*/ 881 h 2835"/>
              <a:gd name="T16" fmla="*/ 922 w 1846"/>
              <a:gd name="T17" fmla="*/ 1495 h 2835"/>
              <a:gd name="T18" fmla="*/ 922 w 1846"/>
              <a:gd name="T19" fmla="*/ 0 h 2835"/>
              <a:gd name="T20" fmla="*/ 922 w 1846"/>
              <a:gd name="T21" fmla="*/ 0 h 2835"/>
              <a:gd name="T22" fmla="*/ 0 w 1846"/>
              <a:gd name="T23" fmla="*/ 921 h 2835"/>
              <a:gd name="T24" fmla="*/ 0 w 1846"/>
              <a:gd name="T25" fmla="*/ 921 h 2835"/>
              <a:gd name="T26" fmla="*/ 922 w 1846"/>
              <a:gd name="T27" fmla="*/ 2834 h 2835"/>
              <a:gd name="T28" fmla="*/ 922 w 1846"/>
              <a:gd name="T29" fmla="*/ 2834 h 2835"/>
              <a:gd name="T30" fmla="*/ 1845 w 1846"/>
              <a:gd name="T31" fmla="*/ 921 h 2835"/>
              <a:gd name="T32" fmla="*/ 1845 w 1846"/>
              <a:gd name="T33" fmla="*/ 921 h 2835"/>
              <a:gd name="T34" fmla="*/ 922 w 1846"/>
              <a:gd name="T35" fmla="*/ 0 h 28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846" h="2835">
                <a:moveTo>
                  <a:pt x="922" y="1495"/>
                </a:moveTo>
                <a:lnTo>
                  <a:pt x="922" y="1495"/>
                </a:lnTo>
                <a:cubicBezTo>
                  <a:pt x="583" y="1495"/>
                  <a:pt x="308" y="1220"/>
                  <a:pt x="308" y="881"/>
                </a:cubicBezTo>
                <a:lnTo>
                  <a:pt x="308" y="881"/>
                </a:lnTo>
                <a:cubicBezTo>
                  <a:pt x="308" y="541"/>
                  <a:pt x="583" y="267"/>
                  <a:pt x="922" y="267"/>
                </a:cubicBezTo>
                <a:lnTo>
                  <a:pt x="922" y="267"/>
                </a:lnTo>
                <a:cubicBezTo>
                  <a:pt x="1262" y="267"/>
                  <a:pt x="1537" y="541"/>
                  <a:pt x="1537" y="881"/>
                </a:cubicBezTo>
                <a:lnTo>
                  <a:pt x="1537" y="881"/>
                </a:lnTo>
                <a:cubicBezTo>
                  <a:pt x="1537" y="1220"/>
                  <a:pt x="1262" y="1495"/>
                  <a:pt x="922" y="1495"/>
                </a:cubicBezTo>
                <a:close/>
                <a:moveTo>
                  <a:pt x="922" y="0"/>
                </a:moveTo>
                <a:lnTo>
                  <a:pt x="922" y="0"/>
                </a:lnTo>
                <a:cubicBezTo>
                  <a:pt x="413" y="0"/>
                  <a:pt x="0" y="412"/>
                  <a:pt x="0" y="921"/>
                </a:cubicBezTo>
                <a:lnTo>
                  <a:pt x="0" y="921"/>
                </a:lnTo>
                <a:cubicBezTo>
                  <a:pt x="0" y="1431"/>
                  <a:pt x="922" y="2834"/>
                  <a:pt x="922" y="2834"/>
                </a:cubicBezTo>
                <a:lnTo>
                  <a:pt x="922" y="2834"/>
                </a:lnTo>
                <a:cubicBezTo>
                  <a:pt x="922" y="2834"/>
                  <a:pt x="1845" y="1431"/>
                  <a:pt x="1845" y="921"/>
                </a:cubicBezTo>
                <a:lnTo>
                  <a:pt x="1845" y="921"/>
                </a:lnTo>
                <a:cubicBezTo>
                  <a:pt x="1845" y="412"/>
                  <a:pt x="1432" y="0"/>
                  <a:pt x="92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079" name="Freeform 7">
            <a:extLst>
              <a:ext uri="{FF2B5EF4-FFF2-40B4-BE49-F238E27FC236}">
                <a16:creationId xmlns:a16="http://schemas.microsoft.com/office/drawing/2014/main" id="{0B116E19-D630-3949-AA04-89CD2A76D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4285" y="10377727"/>
            <a:ext cx="1471643" cy="2263796"/>
          </a:xfrm>
          <a:custGeom>
            <a:avLst/>
            <a:gdLst>
              <a:gd name="T0" fmla="*/ 922 w 1845"/>
              <a:gd name="T1" fmla="*/ 1496 h 2837"/>
              <a:gd name="T2" fmla="*/ 922 w 1845"/>
              <a:gd name="T3" fmla="*/ 1496 h 2837"/>
              <a:gd name="T4" fmla="*/ 308 w 1845"/>
              <a:gd name="T5" fmla="*/ 882 h 2837"/>
              <a:gd name="T6" fmla="*/ 308 w 1845"/>
              <a:gd name="T7" fmla="*/ 882 h 2837"/>
              <a:gd name="T8" fmla="*/ 922 w 1845"/>
              <a:gd name="T9" fmla="*/ 268 h 2837"/>
              <a:gd name="T10" fmla="*/ 922 w 1845"/>
              <a:gd name="T11" fmla="*/ 268 h 2837"/>
              <a:gd name="T12" fmla="*/ 1536 w 1845"/>
              <a:gd name="T13" fmla="*/ 882 h 2837"/>
              <a:gd name="T14" fmla="*/ 1536 w 1845"/>
              <a:gd name="T15" fmla="*/ 882 h 2837"/>
              <a:gd name="T16" fmla="*/ 922 w 1845"/>
              <a:gd name="T17" fmla="*/ 1496 h 2837"/>
              <a:gd name="T18" fmla="*/ 922 w 1845"/>
              <a:gd name="T19" fmla="*/ 0 h 2837"/>
              <a:gd name="T20" fmla="*/ 922 w 1845"/>
              <a:gd name="T21" fmla="*/ 0 h 2837"/>
              <a:gd name="T22" fmla="*/ 0 w 1845"/>
              <a:gd name="T23" fmla="*/ 923 h 2837"/>
              <a:gd name="T24" fmla="*/ 0 w 1845"/>
              <a:gd name="T25" fmla="*/ 923 h 2837"/>
              <a:gd name="T26" fmla="*/ 922 w 1845"/>
              <a:gd name="T27" fmla="*/ 2836 h 2837"/>
              <a:gd name="T28" fmla="*/ 922 w 1845"/>
              <a:gd name="T29" fmla="*/ 2836 h 2837"/>
              <a:gd name="T30" fmla="*/ 1844 w 1845"/>
              <a:gd name="T31" fmla="*/ 923 h 2837"/>
              <a:gd name="T32" fmla="*/ 1844 w 1845"/>
              <a:gd name="T33" fmla="*/ 923 h 2837"/>
              <a:gd name="T34" fmla="*/ 922 w 1845"/>
              <a:gd name="T35" fmla="*/ 0 h 28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845" h="2837">
                <a:moveTo>
                  <a:pt x="922" y="1496"/>
                </a:moveTo>
                <a:lnTo>
                  <a:pt x="922" y="1496"/>
                </a:lnTo>
                <a:cubicBezTo>
                  <a:pt x="583" y="1496"/>
                  <a:pt x="308" y="1221"/>
                  <a:pt x="308" y="882"/>
                </a:cubicBezTo>
                <a:lnTo>
                  <a:pt x="308" y="882"/>
                </a:lnTo>
                <a:cubicBezTo>
                  <a:pt x="308" y="543"/>
                  <a:pt x="583" y="268"/>
                  <a:pt x="922" y="268"/>
                </a:cubicBezTo>
                <a:lnTo>
                  <a:pt x="922" y="268"/>
                </a:lnTo>
                <a:cubicBezTo>
                  <a:pt x="1261" y="268"/>
                  <a:pt x="1536" y="543"/>
                  <a:pt x="1536" y="882"/>
                </a:cubicBezTo>
                <a:lnTo>
                  <a:pt x="1536" y="882"/>
                </a:lnTo>
                <a:cubicBezTo>
                  <a:pt x="1536" y="1221"/>
                  <a:pt x="1261" y="1496"/>
                  <a:pt x="922" y="1496"/>
                </a:cubicBezTo>
                <a:close/>
                <a:moveTo>
                  <a:pt x="922" y="0"/>
                </a:moveTo>
                <a:lnTo>
                  <a:pt x="922" y="0"/>
                </a:lnTo>
                <a:cubicBezTo>
                  <a:pt x="412" y="0"/>
                  <a:pt x="0" y="413"/>
                  <a:pt x="0" y="923"/>
                </a:cubicBezTo>
                <a:lnTo>
                  <a:pt x="0" y="923"/>
                </a:lnTo>
                <a:cubicBezTo>
                  <a:pt x="0" y="1432"/>
                  <a:pt x="922" y="2836"/>
                  <a:pt x="922" y="2836"/>
                </a:cubicBezTo>
                <a:lnTo>
                  <a:pt x="922" y="2836"/>
                </a:lnTo>
                <a:cubicBezTo>
                  <a:pt x="922" y="2836"/>
                  <a:pt x="1844" y="1432"/>
                  <a:pt x="1844" y="923"/>
                </a:cubicBezTo>
                <a:lnTo>
                  <a:pt x="1844" y="923"/>
                </a:lnTo>
                <a:cubicBezTo>
                  <a:pt x="1844" y="413"/>
                  <a:pt x="1432" y="0"/>
                  <a:pt x="922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BB9C391-5045-284F-B922-F27785B15472}"/>
              </a:ext>
            </a:extLst>
          </p:cNvPr>
          <p:cNvSpPr txBox="1"/>
          <p:nvPr/>
        </p:nvSpPr>
        <p:spPr>
          <a:xfrm>
            <a:off x="13483850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437BC78-04D4-CA45-ADAB-C445CCD80BE2}"/>
              </a:ext>
            </a:extLst>
          </p:cNvPr>
          <p:cNvCxnSpPr/>
          <p:nvPr/>
        </p:nvCxnSpPr>
        <p:spPr>
          <a:xfrm>
            <a:off x="17049537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A4E427F9-0484-6A40-ABC5-46DB6BEE5DF1}"/>
              </a:ext>
            </a:extLst>
          </p:cNvPr>
          <p:cNvSpPr txBox="1"/>
          <p:nvPr/>
        </p:nvSpPr>
        <p:spPr>
          <a:xfrm>
            <a:off x="15119855" y="10468972"/>
            <a:ext cx="1576072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uccess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618D9BB-B217-8C44-BFCC-CEBB38DB9492}"/>
              </a:ext>
            </a:extLst>
          </p:cNvPr>
          <p:cNvSpPr txBox="1">
            <a:spLocks/>
          </p:cNvSpPr>
          <p:nvPr/>
        </p:nvSpPr>
        <p:spPr>
          <a:xfrm>
            <a:off x="15009309" y="11073770"/>
            <a:ext cx="7216959" cy="111928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FDC5428-8639-B44D-8F0F-625D9F72521B}"/>
              </a:ext>
            </a:extLst>
          </p:cNvPr>
          <p:cNvSpPr txBox="1"/>
          <p:nvPr/>
        </p:nvSpPr>
        <p:spPr>
          <a:xfrm>
            <a:off x="15119855" y="2628412"/>
            <a:ext cx="1845377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uctur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E4D6BF1-C633-0549-8A97-3C83DB47E757}"/>
              </a:ext>
            </a:extLst>
          </p:cNvPr>
          <p:cNvSpPr txBox="1">
            <a:spLocks/>
          </p:cNvSpPr>
          <p:nvPr/>
        </p:nvSpPr>
        <p:spPr>
          <a:xfrm>
            <a:off x="15009309" y="3233210"/>
            <a:ext cx="7216959" cy="111928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3B9C1E1-77B9-4442-B692-9516C809FE1C}"/>
              </a:ext>
            </a:extLst>
          </p:cNvPr>
          <p:cNvSpPr txBox="1"/>
          <p:nvPr/>
        </p:nvSpPr>
        <p:spPr>
          <a:xfrm>
            <a:off x="15119855" y="5241179"/>
            <a:ext cx="199766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ategies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C59AC8B6-BC99-9B49-9D7E-E3B198019684}"/>
              </a:ext>
            </a:extLst>
          </p:cNvPr>
          <p:cNvSpPr txBox="1">
            <a:spLocks/>
          </p:cNvSpPr>
          <p:nvPr/>
        </p:nvSpPr>
        <p:spPr>
          <a:xfrm>
            <a:off x="15009309" y="5845977"/>
            <a:ext cx="7216959" cy="111928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1ADF3F3-2AD1-E840-B2E9-887C18050992}"/>
              </a:ext>
            </a:extLst>
          </p:cNvPr>
          <p:cNvSpPr txBox="1"/>
          <p:nvPr/>
        </p:nvSpPr>
        <p:spPr>
          <a:xfrm>
            <a:off x="15119855" y="7930330"/>
            <a:ext cx="1851789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tions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6C55093E-82E5-F141-AB02-741F0C78FFE1}"/>
              </a:ext>
            </a:extLst>
          </p:cNvPr>
          <p:cNvSpPr txBox="1">
            <a:spLocks/>
          </p:cNvSpPr>
          <p:nvPr/>
        </p:nvSpPr>
        <p:spPr>
          <a:xfrm>
            <a:off x="15009309" y="8535128"/>
            <a:ext cx="7216959" cy="1119284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43" name="Freeform 248">
            <a:extLst>
              <a:ext uri="{FF2B5EF4-FFF2-40B4-BE49-F238E27FC236}">
                <a16:creationId xmlns:a16="http://schemas.microsoft.com/office/drawing/2014/main" id="{8736F92E-CD5B-8346-9060-F323052A7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22257" y="3073887"/>
            <a:ext cx="629484" cy="984742"/>
          </a:xfrm>
          <a:custGeom>
            <a:avLst/>
            <a:gdLst>
              <a:gd name="T0" fmla="*/ 419 w 445"/>
              <a:gd name="T1" fmla="*/ 253 h 698"/>
              <a:gd name="T2" fmla="*/ 234 w 445"/>
              <a:gd name="T3" fmla="*/ 253 h 698"/>
              <a:gd name="T4" fmla="*/ 234 w 445"/>
              <a:gd name="T5" fmla="*/ 232 h 698"/>
              <a:gd name="T6" fmla="*/ 234 w 445"/>
              <a:gd name="T7" fmla="*/ 232 h 698"/>
              <a:gd name="T8" fmla="*/ 276 w 445"/>
              <a:gd name="T9" fmla="*/ 180 h 698"/>
              <a:gd name="T10" fmla="*/ 276 w 445"/>
              <a:gd name="T11" fmla="*/ 97 h 698"/>
              <a:gd name="T12" fmla="*/ 276 w 445"/>
              <a:gd name="T13" fmla="*/ 97 h 698"/>
              <a:gd name="T14" fmla="*/ 234 w 445"/>
              <a:gd name="T15" fmla="*/ 46 h 698"/>
              <a:gd name="T16" fmla="*/ 234 w 445"/>
              <a:gd name="T17" fmla="*/ 27 h 698"/>
              <a:gd name="T18" fmla="*/ 234 w 445"/>
              <a:gd name="T19" fmla="*/ 27 h 698"/>
              <a:gd name="T20" fmla="*/ 419 w 445"/>
              <a:gd name="T21" fmla="*/ 223 h 698"/>
              <a:gd name="T22" fmla="*/ 419 w 445"/>
              <a:gd name="T23" fmla="*/ 253 h 698"/>
              <a:gd name="T24" fmla="*/ 222 w 445"/>
              <a:gd name="T25" fmla="*/ 673 h 698"/>
              <a:gd name="T26" fmla="*/ 222 w 445"/>
              <a:gd name="T27" fmla="*/ 673 h 698"/>
              <a:gd name="T28" fmla="*/ 24 w 445"/>
              <a:gd name="T29" fmla="*/ 475 h 698"/>
              <a:gd name="T30" fmla="*/ 24 w 445"/>
              <a:gd name="T31" fmla="*/ 277 h 698"/>
              <a:gd name="T32" fmla="*/ 419 w 445"/>
              <a:gd name="T33" fmla="*/ 277 h 698"/>
              <a:gd name="T34" fmla="*/ 419 w 445"/>
              <a:gd name="T35" fmla="*/ 475 h 698"/>
              <a:gd name="T36" fmla="*/ 419 w 445"/>
              <a:gd name="T37" fmla="*/ 475 h 698"/>
              <a:gd name="T38" fmla="*/ 222 w 445"/>
              <a:gd name="T39" fmla="*/ 673 h 698"/>
              <a:gd name="T40" fmla="*/ 209 w 445"/>
              <a:gd name="T41" fmla="*/ 27 h 698"/>
              <a:gd name="T42" fmla="*/ 209 w 445"/>
              <a:gd name="T43" fmla="*/ 46 h 698"/>
              <a:gd name="T44" fmla="*/ 209 w 445"/>
              <a:gd name="T45" fmla="*/ 46 h 698"/>
              <a:gd name="T46" fmla="*/ 167 w 445"/>
              <a:gd name="T47" fmla="*/ 97 h 698"/>
              <a:gd name="T48" fmla="*/ 167 w 445"/>
              <a:gd name="T49" fmla="*/ 180 h 698"/>
              <a:gd name="T50" fmla="*/ 167 w 445"/>
              <a:gd name="T51" fmla="*/ 180 h 698"/>
              <a:gd name="T52" fmla="*/ 209 w 445"/>
              <a:gd name="T53" fmla="*/ 232 h 698"/>
              <a:gd name="T54" fmla="*/ 209 w 445"/>
              <a:gd name="T55" fmla="*/ 253 h 698"/>
              <a:gd name="T56" fmla="*/ 24 w 445"/>
              <a:gd name="T57" fmla="*/ 253 h 698"/>
              <a:gd name="T58" fmla="*/ 24 w 445"/>
              <a:gd name="T59" fmla="*/ 223 h 698"/>
              <a:gd name="T60" fmla="*/ 24 w 445"/>
              <a:gd name="T61" fmla="*/ 223 h 698"/>
              <a:gd name="T62" fmla="*/ 209 w 445"/>
              <a:gd name="T63" fmla="*/ 27 h 698"/>
              <a:gd name="T64" fmla="*/ 222 w 445"/>
              <a:gd name="T65" fmla="*/ 210 h 698"/>
              <a:gd name="T66" fmla="*/ 222 w 445"/>
              <a:gd name="T67" fmla="*/ 210 h 698"/>
              <a:gd name="T68" fmla="*/ 192 w 445"/>
              <a:gd name="T69" fmla="*/ 180 h 698"/>
              <a:gd name="T70" fmla="*/ 192 w 445"/>
              <a:gd name="T71" fmla="*/ 97 h 698"/>
              <a:gd name="T72" fmla="*/ 192 w 445"/>
              <a:gd name="T73" fmla="*/ 97 h 698"/>
              <a:gd name="T74" fmla="*/ 222 w 445"/>
              <a:gd name="T75" fmla="*/ 67 h 698"/>
              <a:gd name="T76" fmla="*/ 222 w 445"/>
              <a:gd name="T77" fmla="*/ 67 h 698"/>
              <a:gd name="T78" fmla="*/ 251 w 445"/>
              <a:gd name="T79" fmla="*/ 97 h 698"/>
              <a:gd name="T80" fmla="*/ 251 w 445"/>
              <a:gd name="T81" fmla="*/ 180 h 698"/>
              <a:gd name="T82" fmla="*/ 251 w 445"/>
              <a:gd name="T83" fmla="*/ 180 h 698"/>
              <a:gd name="T84" fmla="*/ 222 w 445"/>
              <a:gd name="T85" fmla="*/ 210 h 698"/>
              <a:gd name="T86" fmla="*/ 222 w 445"/>
              <a:gd name="T87" fmla="*/ 0 h 698"/>
              <a:gd name="T88" fmla="*/ 222 w 445"/>
              <a:gd name="T89" fmla="*/ 0 h 698"/>
              <a:gd name="T90" fmla="*/ 0 w 445"/>
              <a:gd name="T91" fmla="*/ 223 h 698"/>
              <a:gd name="T92" fmla="*/ 0 w 445"/>
              <a:gd name="T93" fmla="*/ 475 h 698"/>
              <a:gd name="T94" fmla="*/ 0 w 445"/>
              <a:gd name="T95" fmla="*/ 475 h 698"/>
              <a:gd name="T96" fmla="*/ 222 w 445"/>
              <a:gd name="T97" fmla="*/ 697 h 698"/>
              <a:gd name="T98" fmla="*/ 222 w 445"/>
              <a:gd name="T99" fmla="*/ 697 h 698"/>
              <a:gd name="T100" fmla="*/ 444 w 445"/>
              <a:gd name="T101" fmla="*/ 475 h 698"/>
              <a:gd name="T102" fmla="*/ 444 w 445"/>
              <a:gd name="T103" fmla="*/ 223 h 698"/>
              <a:gd name="T104" fmla="*/ 444 w 445"/>
              <a:gd name="T105" fmla="*/ 223 h 698"/>
              <a:gd name="T106" fmla="*/ 222 w 445"/>
              <a:gd name="T107" fmla="*/ 0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5" h="698">
                <a:moveTo>
                  <a:pt x="419" y="253"/>
                </a:moveTo>
                <a:lnTo>
                  <a:pt x="234" y="253"/>
                </a:lnTo>
                <a:lnTo>
                  <a:pt x="234" y="232"/>
                </a:lnTo>
                <a:lnTo>
                  <a:pt x="234" y="232"/>
                </a:lnTo>
                <a:cubicBezTo>
                  <a:pt x="258" y="227"/>
                  <a:pt x="276" y="207"/>
                  <a:pt x="276" y="180"/>
                </a:cubicBezTo>
                <a:lnTo>
                  <a:pt x="276" y="97"/>
                </a:lnTo>
                <a:lnTo>
                  <a:pt x="276" y="97"/>
                </a:lnTo>
                <a:cubicBezTo>
                  <a:pt x="276" y="71"/>
                  <a:pt x="258" y="50"/>
                  <a:pt x="234" y="46"/>
                </a:cubicBezTo>
                <a:lnTo>
                  <a:pt x="234" y="27"/>
                </a:lnTo>
                <a:lnTo>
                  <a:pt x="234" y="27"/>
                </a:lnTo>
                <a:cubicBezTo>
                  <a:pt x="337" y="34"/>
                  <a:pt x="419" y="119"/>
                  <a:pt x="419" y="223"/>
                </a:cubicBezTo>
                <a:lnTo>
                  <a:pt x="419" y="253"/>
                </a:lnTo>
                <a:close/>
                <a:moveTo>
                  <a:pt x="222" y="673"/>
                </a:moveTo>
                <a:lnTo>
                  <a:pt x="222" y="673"/>
                </a:lnTo>
                <a:cubicBezTo>
                  <a:pt x="113" y="673"/>
                  <a:pt x="24" y="583"/>
                  <a:pt x="24" y="475"/>
                </a:cubicBezTo>
                <a:lnTo>
                  <a:pt x="24" y="277"/>
                </a:lnTo>
                <a:lnTo>
                  <a:pt x="419" y="277"/>
                </a:lnTo>
                <a:lnTo>
                  <a:pt x="419" y="475"/>
                </a:lnTo>
                <a:lnTo>
                  <a:pt x="419" y="475"/>
                </a:lnTo>
                <a:cubicBezTo>
                  <a:pt x="419" y="583"/>
                  <a:pt x="331" y="673"/>
                  <a:pt x="222" y="673"/>
                </a:cubicBezTo>
                <a:close/>
                <a:moveTo>
                  <a:pt x="209" y="27"/>
                </a:moveTo>
                <a:lnTo>
                  <a:pt x="209" y="46"/>
                </a:lnTo>
                <a:lnTo>
                  <a:pt x="209" y="46"/>
                </a:lnTo>
                <a:cubicBezTo>
                  <a:pt x="185" y="50"/>
                  <a:pt x="167" y="71"/>
                  <a:pt x="167" y="97"/>
                </a:cubicBezTo>
                <a:lnTo>
                  <a:pt x="167" y="180"/>
                </a:lnTo>
                <a:lnTo>
                  <a:pt x="167" y="180"/>
                </a:lnTo>
                <a:cubicBezTo>
                  <a:pt x="167" y="207"/>
                  <a:pt x="185" y="227"/>
                  <a:pt x="209" y="232"/>
                </a:cubicBezTo>
                <a:lnTo>
                  <a:pt x="209" y="253"/>
                </a:lnTo>
                <a:lnTo>
                  <a:pt x="24" y="253"/>
                </a:lnTo>
                <a:lnTo>
                  <a:pt x="24" y="223"/>
                </a:lnTo>
                <a:lnTo>
                  <a:pt x="24" y="223"/>
                </a:lnTo>
                <a:cubicBezTo>
                  <a:pt x="24" y="119"/>
                  <a:pt x="106" y="34"/>
                  <a:pt x="209" y="27"/>
                </a:cubicBezTo>
                <a:close/>
                <a:moveTo>
                  <a:pt x="222" y="210"/>
                </a:moveTo>
                <a:lnTo>
                  <a:pt x="222" y="210"/>
                </a:lnTo>
                <a:cubicBezTo>
                  <a:pt x="205" y="210"/>
                  <a:pt x="192" y="197"/>
                  <a:pt x="192" y="180"/>
                </a:cubicBezTo>
                <a:lnTo>
                  <a:pt x="192" y="97"/>
                </a:lnTo>
                <a:lnTo>
                  <a:pt x="192" y="97"/>
                </a:lnTo>
                <a:cubicBezTo>
                  <a:pt x="192" y="81"/>
                  <a:pt x="205" y="67"/>
                  <a:pt x="222" y="67"/>
                </a:cubicBezTo>
                <a:lnTo>
                  <a:pt x="222" y="67"/>
                </a:lnTo>
                <a:cubicBezTo>
                  <a:pt x="239" y="67"/>
                  <a:pt x="251" y="81"/>
                  <a:pt x="251" y="97"/>
                </a:cubicBezTo>
                <a:lnTo>
                  <a:pt x="251" y="180"/>
                </a:lnTo>
                <a:lnTo>
                  <a:pt x="251" y="180"/>
                </a:lnTo>
                <a:cubicBezTo>
                  <a:pt x="251" y="197"/>
                  <a:pt x="239" y="210"/>
                  <a:pt x="222" y="210"/>
                </a:cubicBezTo>
                <a:close/>
                <a:moveTo>
                  <a:pt x="222" y="0"/>
                </a:moveTo>
                <a:lnTo>
                  <a:pt x="222" y="0"/>
                </a:lnTo>
                <a:cubicBezTo>
                  <a:pt x="100" y="0"/>
                  <a:pt x="0" y="100"/>
                  <a:pt x="0" y="223"/>
                </a:cubicBezTo>
                <a:lnTo>
                  <a:pt x="0" y="475"/>
                </a:lnTo>
                <a:lnTo>
                  <a:pt x="0" y="475"/>
                </a:lnTo>
                <a:cubicBezTo>
                  <a:pt x="0" y="597"/>
                  <a:pt x="100" y="697"/>
                  <a:pt x="222" y="697"/>
                </a:cubicBezTo>
                <a:lnTo>
                  <a:pt x="222" y="697"/>
                </a:lnTo>
                <a:cubicBezTo>
                  <a:pt x="344" y="697"/>
                  <a:pt x="444" y="597"/>
                  <a:pt x="444" y="475"/>
                </a:cubicBezTo>
                <a:lnTo>
                  <a:pt x="444" y="223"/>
                </a:lnTo>
                <a:lnTo>
                  <a:pt x="444" y="223"/>
                </a:lnTo>
                <a:cubicBezTo>
                  <a:pt x="444" y="100"/>
                  <a:pt x="344" y="0"/>
                  <a:pt x="2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4E2C5446-CBFE-2743-A52C-357D18B632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7533" y="5725744"/>
            <a:ext cx="995156" cy="904493"/>
          </a:xfrm>
          <a:custGeom>
            <a:avLst/>
            <a:gdLst>
              <a:gd name="connsiteX0" fmla="*/ 239002 w 995156"/>
              <a:gd name="connsiteY0" fmla="*/ 571332 h 904493"/>
              <a:gd name="connsiteX1" fmla="*/ 37087 w 995156"/>
              <a:gd name="connsiteY1" fmla="*/ 867245 h 904493"/>
              <a:gd name="connsiteX2" fmla="*/ 958069 w 995156"/>
              <a:gd name="connsiteY2" fmla="*/ 867245 h 904493"/>
              <a:gd name="connsiteX3" fmla="*/ 760274 w 995156"/>
              <a:gd name="connsiteY3" fmla="*/ 571332 h 904493"/>
              <a:gd name="connsiteX4" fmla="*/ 498608 w 995156"/>
              <a:gd name="connsiteY4" fmla="*/ 716185 h 904493"/>
              <a:gd name="connsiteX5" fmla="*/ 239002 w 995156"/>
              <a:gd name="connsiteY5" fmla="*/ 571332 h 904493"/>
              <a:gd name="connsiteX6" fmla="*/ 249562 w 995156"/>
              <a:gd name="connsiteY6" fmla="*/ 529687 h 904493"/>
              <a:gd name="connsiteX7" fmla="*/ 259606 w 995156"/>
              <a:gd name="connsiteY7" fmla="*/ 540292 h 904493"/>
              <a:gd name="connsiteX8" fmla="*/ 498608 w 995156"/>
              <a:gd name="connsiteY8" fmla="*/ 678937 h 904493"/>
              <a:gd name="connsiteX9" fmla="*/ 735550 w 995156"/>
              <a:gd name="connsiteY9" fmla="*/ 540292 h 904493"/>
              <a:gd name="connsiteX10" fmla="*/ 760274 w 995156"/>
              <a:gd name="connsiteY10" fmla="*/ 529946 h 904493"/>
              <a:gd name="connsiteX11" fmla="*/ 995156 w 995156"/>
              <a:gd name="connsiteY11" fmla="*/ 883800 h 904493"/>
              <a:gd name="connsiteX12" fmla="*/ 991035 w 995156"/>
              <a:gd name="connsiteY12" fmla="*/ 896216 h 904493"/>
              <a:gd name="connsiteX13" fmla="*/ 978673 w 995156"/>
              <a:gd name="connsiteY13" fmla="*/ 904493 h 904493"/>
              <a:gd name="connsiteX14" fmla="*/ 18543 w 995156"/>
              <a:gd name="connsiteY14" fmla="*/ 904493 h 904493"/>
              <a:gd name="connsiteX15" fmla="*/ 4121 w 995156"/>
              <a:gd name="connsiteY15" fmla="*/ 896216 h 904493"/>
              <a:gd name="connsiteX16" fmla="*/ 0 w 995156"/>
              <a:gd name="connsiteY16" fmla="*/ 883800 h 904493"/>
              <a:gd name="connsiteX17" fmla="*/ 234882 w 995156"/>
              <a:gd name="connsiteY17" fmla="*/ 529946 h 904493"/>
              <a:gd name="connsiteX18" fmla="*/ 249562 w 995156"/>
              <a:gd name="connsiteY18" fmla="*/ 529687 h 904493"/>
              <a:gd name="connsiteX19" fmla="*/ 498607 w 995156"/>
              <a:gd name="connsiteY19" fmla="*/ 37111 h 904493"/>
              <a:gd name="connsiteX20" fmla="*/ 326894 w 995156"/>
              <a:gd name="connsiteY20" fmla="*/ 210298 h 904493"/>
              <a:gd name="connsiteX21" fmla="*/ 326894 w 995156"/>
              <a:gd name="connsiteY21" fmla="*/ 404102 h 904493"/>
              <a:gd name="connsiteX22" fmla="*/ 498607 w 995156"/>
              <a:gd name="connsiteY22" fmla="*/ 577289 h 904493"/>
              <a:gd name="connsiteX23" fmla="*/ 672364 w 995156"/>
              <a:gd name="connsiteY23" fmla="*/ 404102 h 904493"/>
              <a:gd name="connsiteX24" fmla="*/ 672364 w 995156"/>
              <a:gd name="connsiteY24" fmla="*/ 210298 h 904493"/>
              <a:gd name="connsiteX25" fmla="*/ 498607 w 995156"/>
              <a:gd name="connsiteY25" fmla="*/ 37111 h 904493"/>
              <a:gd name="connsiteX26" fmla="*/ 498607 w 995156"/>
              <a:gd name="connsiteY26" fmla="*/ 0 h 904493"/>
              <a:gd name="connsiteX27" fmla="*/ 705071 w 995156"/>
              <a:gd name="connsiteY27" fmla="*/ 210298 h 904493"/>
              <a:gd name="connsiteX28" fmla="*/ 705071 w 995156"/>
              <a:gd name="connsiteY28" fmla="*/ 404102 h 904493"/>
              <a:gd name="connsiteX29" fmla="*/ 498607 w 995156"/>
              <a:gd name="connsiteY29" fmla="*/ 614400 h 904493"/>
              <a:gd name="connsiteX30" fmla="*/ 290098 w 995156"/>
              <a:gd name="connsiteY30" fmla="*/ 404102 h 904493"/>
              <a:gd name="connsiteX31" fmla="*/ 290098 w 995156"/>
              <a:gd name="connsiteY31" fmla="*/ 210298 h 904493"/>
              <a:gd name="connsiteX32" fmla="*/ 498607 w 995156"/>
              <a:gd name="connsiteY32" fmla="*/ 0 h 904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995156" h="904493">
                <a:moveTo>
                  <a:pt x="239002" y="571332"/>
                </a:moveTo>
                <a:cubicBezTo>
                  <a:pt x="70052" y="656174"/>
                  <a:pt x="41207" y="813443"/>
                  <a:pt x="37087" y="867245"/>
                </a:cubicBezTo>
                <a:lnTo>
                  <a:pt x="958069" y="867245"/>
                </a:lnTo>
                <a:cubicBezTo>
                  <a:pt x="953949" y="813443"/>
                  <a:pt x="925103" y="656174"/>
                  <a:pt x="760274" y="571332"/>
                </a:cubicBezTo>
                <a:cubicBezTo>
                  <a:pt x="704645" y="660313"/>
                  <a:pt x="603687" y="716185"/>
                  <a:pt x="498608" y="716185"/>
                </a:cubicBezTo>
                <a:cubicBezTo>
                  <a:pt x="393530" y="716185"/>
                  <a:pt x="294632" y="660313"/>
                  <a:pt x="239002" y="571332"/>
                </a:cubicBezTo>
                <a:close/>
                <a:moveTo>
                  <a:pt x="249562" y="529687"/>
                </a:moveTo>
                <a:cubicBezTo>
                  <a:pt x="253940" y="531498"/>
                  <a:pt x="257546" y="535119"/>
                  <a:pt x="259606" y="540292"/>
                </a:cubicBezTo>
                <a:cubicBezTo>
                  <a:pt x="309055" y="627204"/>
                  <a:pt x="399711" y="678937"/>
                  <a:pt x="498608" y="678937"/>
                </a:cubicBezTo>
                <a:cubicBezTo>
                  <a:pt x="595445" y="678937"/>
                  <a:pt x="688162" y="627204"/>
                  <a:pt x="735550" y="540292"/>
                </a:cubicBezTo>
                <a:cubicBezTo>
                  <a:pt x="741731" y="529946"/>
                  <a:pt x="752033" y="525807"/>
                  <a:pt x="760274" y="529946"/>
                </a:cubicBezTo>
                <a:cubicBezTo>
                  <a:pt x="993095" y="637551"/>
                  <a:pt x="995156" y="881730"/>
                  <a:pt x="995156" y="883800"/>
                </a:cubicBezTo>
                <a:cubicBezTo>
                  <a:pt x="995156" y="892077"/>
                  <a:pt x="995156" y="894146"/>
                  <a:pt x="991035" y="896216"/>
                </a:cubicBezTo>
                <a:cubicBezTo>
                  <a:pt x="986914" y="900354"/>
                  <a:pt x="982794" y="904493"/>
                  <a:pt x="978673" y="904493"/>
                </a:cubicBezTo>
                <a:lnTo>
                  <a:pt x="18543" y="904493"/>
                </a:lnTo>
                <a:cubicBezTo>
                  <a:pt x="12362" y="904493"/>
                  <a:pt x="8242" y="900354"/>
                  <a:pt x="4121" y="896216"/>
                </a:cubicBezTo>
                <a:cubicBezTo>
                  <a:pt x="2060" y="894146"/>
                  <a:pt x="0" y="892077"/>
                  <a:pt x="0" y="883800"/>
                </a:cubicBezTo>
                <a:cubicBezTo>
                  <a:pt x="0" y="881730"/>
                  <a:pt x="2060" y="637551"/>
                  <a:pt x="234882" y="529946"/>
                </a:cubicBezTo>
                <a:cubicBezTo>
                  <a:pt x="240033" y="527876"/>
                  <a:pt x="245183" y="527876"/>
                  <a:pt x="249562" y="529687"/>
                </a:cubicBezTo>
                <a:close/>
                <a:moveTo>
                  <a:pt x="498607" y="37111"/>
                </a:moveTo>
                <a:cubicBezTo>
                  <a:pt x="402529" y="37111"/>
                  <a:pt x="326894" y="115458"/>
                  <a:pt x="326894" y="210298"/>
                </a:cubicBezTo>
                <a:lnTo>
                  <a:pt x="326894" y="404102"/>
                </a:lnTo>
                <a:cubicBezTo>
                  <a:pt x="326894" y="498942"/>
                  <a:pt x="402529" y="577289"/>
                  <a:pt x="498607" y="577289"/>
                </a:cubicBezTo>
                <a:cubicBezTo>
                  <a:pt x="592640" y="577289"/>
                  <a:pt x="672364" y="498942"/>
                  <a:pt x="672364" y="404102"/>
                </a:cubicBezTo>
                <a:lnTo>
                  <a:pt x="672364" y="210298"/>
                </a:lnTo>
                <a:cubicBezTo>
                  <a:pt x="672364" y="115458"/>
                  <a:pt x="592640" y="37111"/>
                  <a:pt x="498607" y="37111"/>
                </a:cubicBezTo>
                <a:close/>
                <a:moveTo>
                  <a:pt x="498607" y="0"/>
                </a:moveTo>
                <a:cubicBezTo>
                  <a:pt x="613082" y="0"/>
                  <a:pt x="705071" y="94840"/>
                  <a:pt x="705071" y="210298"/>
                </a:cubicBezTo>
                <a:lnTo>
                  <a:pt x="705071" y="404102"/>
                </a:lnTo>
                <a:cubicBezTo>
                  <a:pt x="705071" y="517498"/>
                  <a:pt x="613082" y="614400"/>
                  <a:pt x="498607" y="614400"/>
                </a:cubicBezTo>
                <a:cubicBezTo>
                  <a:pt x="384131" y="614400"/>
                  <a:pt x="290098" y="517498"/>
                  <a:pt x="290098" y="404102"/>
                </a:cubicBezTo>
                <a:lnTo>
                  <a:pt x="290098" y="210298"/>
                </a:lnTo>
                <a:cubicBezTo>
                  <a:pt x="290098" y="94840"/>
                  <a:pt x="384131" y="0"/>
                  <a:pt x="498607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6D528540-9EBF-3943-BD5F-0D364B762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90157" y="8406894"/>
            <a:ext cx="916119" cy="866695"/>
          </a:xfrm>
          <a:custGeom>
            <a:avLst/>
            <a:gdLst>
              <a:gd name="connsiteX0" fmla="*/ 770054 w 916119"/>
              <a:gd name="connsiteY0" fmla="*/ 474709 h 866695"/>
              <a:gd name="connsiteX1" fmla="*/ 770054 w 916119"/>
              <a:gd name="connsiteY1" fmla="*/ 558706 h 866695"/>
              <a:gd name="connsiteX2" fmla="*/ 762989 w 916119"/>
              <a:gd name="connsiteY2" fmla="*/ 631036 h 866695"/>
              <a:gd name="connsiteX3" fmla="*/ 760635 w 916119"/>
              <a:gd name="connsiteY3" fmla="*/ 645036 h 866695"/>
              <a:gd name="connsiteX4" fmla="*/ 737086 w 916119"/>
              <a:gd name="connsiteY4" fmla="*/ 710367 h 866695"/>
              <a:gd name="connsiteX5" fmla="*/ 734731 w 916119"/>
              <a:gd name="connsiteY5" fmla="*/ 717367 h 866695"/>
              <a:gd name="connsiteX6" fmla="*/ 746505 w 916119"/>
              <a:gd name="connsiteY6" fmla="*/ 717367 h 866695"/>
              <a:gd name="connsiteX7" fmla="*/ 748860 w 916119"/>
              <a:gd name="connsiteY7" fmla="*/ 717367 h 866695"/>
              <a:gd name="connsiteX8" fmla="*/ 871315 w 916119"/>
              <a:gd name="connsiteY8" fmla="*/ 596038 h 866695"/>
              <a:gd name="connsiteX9" fmla="*/ 770054 w 916119"/>
              <a:gd name="connsiteY9" fmla="*/ 474709 h 866695"/>
              <a:gd name="connsiteX10" fmla="*/ 44743 w 916119"/>
              <a:gd name="connsiteY10" fmla="*/ 365046 h 866695"/>
              <a:gd name="connsiteX11" fmla="*/ 44743 w 916119"/>
              <a:gd name="connsiteY11" fmla="*/ 558706 h 866695"/>
              <a:gd name="connsiteX12" fmla="*/ 176618 w 916119"/>
              <a:gd name="connsiteY12" fmla="*/ 827029 h 866695"/>
              <a:gd name="connsiteX13" fmla="*/ 593436 w 916119"/>
              <a:gd name="connsiteY13" fmla="*/ 827029 h 866695"/>
              <a:gd name="connsiteX14" fmla="*/ 685278 w 916119"/>
              <a:gd name="connsiteY14" fmla="*/ 722033 h 866695"/>
              <a:gd name="connsiteX15" fmla="*/ 722956 w 916119"/>
              <a:gd name="connsiteY15" fmla="*/ 600704 h 866695"/>
              <a:gd name="connsiteX16" fmla="*/ 725311 w 916119"/>
              <a:gd name="connsiteY16" fmla="*/ 558706 h 866695"/>
              <a:gd name="connsiteX17" fmla="*/ 725311 w 916119"/>
              <a:gd name="connsiteY17" fmla="*/ 451376 h 866695"/>
              <a:gd name="connsiteX18" fmla="*/ 725311 w 916119"/>
              <a:gd name="connsiteY18" fmla="*/ 365046 h 866695"/>
              <a:gd name="connsiteX19" fmla="*/ 23549 w 916119"/>
              <a:gd name="connsiteY19" fmla="*/ 320714 h 866695"/>
              <a:gd name="connsiteX20" fmla="*/ 748860 w 916119"/>
              <a:gd name="connsiteY20" fmla="*/ 320714 h 866695"/>
              <a:gd name="connsiteX21" fmla="*/ 770054 w 916119"/>
              <a:gd name="connsiteY21" fmla="*/ 344047 h 866695"/>
              <a:gd name="connsiteX22" fmla="*/ 770054 w 916119"/>
              <a:gd name="connsiteY22" fmla="*/ 432710 h 866695"/>
              <a:gd name="connsiteX23" fmla="*/ 916058 w 916119"/>
              <a:gd name="connsiteY23" fmla="*/ 598371 h 866695"/>
              <a:gd name="connsiteX24" fmla="*/ 748860 w 916119"/>
              <a:gd name="connsiteY24" fmla="*/ 759365 h 866695"/>
              <a:gd name="connsiteX25" fmla="*/ 746505 w 916119"/>
              <a:gd name="connsiteY25" fmla="*/ 759365 h 866695"/>
              <a:gd name="connsiteX26" fmla="*/ 711182 w 916119"/>
              <a:gd name="connsiteY26" fmla="*/ 754699 h 866695"/>
              <a:gd name="connsiteX27" fmla="*/ 612276 w 916119"/>
              <a:gd name="connsiteY27" fmla="*/ 864362 h 866695"/>
              <a:gd name="connsiteX28" fmla="*/ 602856 w 916119"/>
              <a:gd name="connsiteY28" fmla="*/ 866695 h 866695"/>
              <a:gd name="connsiteX29" fmla="*/ 171908 w 916119"/>
              <a:gd name="connsiteY29" fmla="*/ 866695 h 866695"/>
              <a:gd name="connsiteX30" fmla="*/ 157779 w 916119"/>
              <a:gd name="connsiteY30" fmla="*/ 864362 h 866695"/>
              <a:gd name="connsiteX31" fmla="*/ 0 w 916119"/>
              <a:gd name="connsiteY31" fmla="*/ 558706 h 866695"/>
              <a:gd name="connsiteX32" fmla="*/ 0 w 916119"/>
              <a:gd name="connsiteY32" fmla="*/ 344047 h 866695"/>
              <a:gd name="connsiteX33" fmla="*/ 23549 w 916119"/>
              <a:gd name="connsiteY33" fmla="*/ 320714 h 866695"/>
              <a:gd name="connsiteX34" fmla="*/ 557579 w 916119"/>
              <a:gd name="connsiteY34" fmla="*/ 51728 h 866695"/>
              <a:gd name="connsiteX35" fmla="*/ 577181 w 916119"/>
              <a:gd name="connsiteY35" fmla="*/ 73215 h 866695"/>
              <a:gd name="connsiteX36" fmla="*/ 577181 w 916119"/>
              <a:gd name="connsiteY36" fmla="*/ 245109 h 866695"/>
              <a:gd name="connsiteX37" fmla="*/ 557579 w 916119"/>
              <a:gd name="connsiteY37" fmla="*/ 266596 h 866695"/>
              <a:gd name="connsiteX38" fmla="*/ 537976 w 916119"/>
              <a:gd name="connsiteY38" fmla="*/ 245109 h 866695"/>
              <a:gd name="connsiteX39" fmla="*/ 537976 w 916119"/>
              <a:gd name="connsiteY39" fmla="*/ 73215 h 866695"/>
              <a:gd name="connsiteX40" fmla="*/ 557579 w 916119"/>
              <a:gd name="connsiteY40" fmla="*/ 51728 h 866695"/>
              <a:gd name="connsiteX41" fmla="*/ 199158 w 916119"/>
              <a:gd name="connsiteY41" fmla="*/ 51728 h 866695"/>
              <a:gd name="connsiteX42" fmla="*/ 225021 w 916119"/>
              <a:gd name="connsiteY42" fmla="*/ 73215 h 866695"/>
              <a:gd name="connsiteX43" fmla="*/ 225021 w 916119"/>
              <a:gd name="connsiteY43" fmla="*/ 245109 h 866695"/>
              <a:gd name="connsiteX44" fmla="*/ 199158 w 916119"/>
              <a:gd name="connsiteY44" fmla="*/ 266596 h 866695"/>
              <a:gd name="connsiteX45" fmla="*/ 175882 w 916119"/>
              <a:gd name="connsiteY45" fmla="*/ 245109 h 866695"/>
              <a:gd name="connsiteX46" fmla="*/ 175882 w 916119"/>
              <a:gd name="connsiteY46" fmla="*/ 73215 h 866695"/>
              <a:gd name="connsiteX47" fmla="*/ 199158 w 916119"/>
              <a:gd name="connsiteY47" fmla="*/ 51728 h 866695"/>
              <a:gd name="connsiteX48" fmla="*/ 381705 w 916119"/>
              <a:gd name="connsiteY48" fmla="*/ 0 h 866695"/>
              <a:gd name="connsiteX49" fmla="*/ 401307 w 916119"/>
              <a:gd name="connsiteY49" fmla="*/ 21424 h 866695"/>
              <a:gd name="connsiteX50" fmla="*/ 401307 w 916119"/>
              <a:gd name="connsiteY50" fmla="*/ 245183 h 866695"/>
              <a:gd name="connsiteX51" fmla="*/ 381705 w 916119"/>
              <a:gd name="connsiteY51" fmla="*/ 266607 h 866695"/>
              <a:gd name="connsiteX52" fmla="*/ 362102 w 916119"/>
              <a:gd name="connsiteY52" fmla="*/ 245183 h 866695"/>
              <a:gd name="connsiteX53" fmla="*/ 362102 w 916119"/>
              <a:gd name="connsiteY53" fmla="*/ 21424 h 866695"/>
              <a:gd name="connsiteX54" fmla="*/ 381705 w 916119"/>
              <a:gd name="connsiteY54" fmla="*/ 0 h 866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916119" h="866695">
                <a:moveTo>
                  <a:pt x="770054" y="474709"/>
                </a:moveTo>
                <a:lnTo>
                  <a:pt x="770054" y="558706"/>
                </a:lnTo>
                <a:cubicBezTo>
                  <a:pt x="770054" y="584372"/>
                  <a:pt x="767699" y="610037"/>
                  <a:pt x="762989" y="631036"/>
                </a:cubicBezTo>
                <a:cubicBezTo>
                  <a:pt x="760635" y="635703"/>
                  <a:pt x="760635" y="640369"/>
                  <a:pt x="760635" y="645036"/>
                </a:cubicBezTo>
                <a:cubicBezTo>
                  <a:pt x="753570" y="666035"/>
                  <a:pt x="746505" y="689368"/>
                  <a:pt x="737086" y="710367"/>
                </a:cubicBezTo>
                <a:cubicBezTo>
                  <a:pt x="734731" y="712700"/>
                  <a:pt x="734731" y="715033"/>
                  <a:pt x="734731" y="717367"/>
                </a:cubicBezTo>
                <a:cubicBezTo>
                  <a:pt x="739440" y="717367"/>
                  <a:pt x="741795" y="717367"/>
                  <a:pt x="746505" y="717367"/>
                </a:cubicBezTo>
                <a:lnTo>
                  <a:pt x="748860" y="717367"/>
                </a:lnTo>
                <a:cubicBezTo>
                  <a:pt x="817152" y="717367"/>
                  <a:pt x="871315" y="663702"/>
                  <a:pt x="871315" y="596038"/>
                </a:cubicBezTo>
                <a:cubicBezTo>
                  <a:pt x="873670" y="535373"/>
                  <a:pt x="828927" y="486375"/>
                  <a:pt x="770054" y="474709"/>
                </a:cubicBezTo>
                <a:close/>
                <a:moveTo>
                  <a:pt x="44743" y="365046"/>
                </a:moveTo>
                <a:lnTo>
                  <a:pt x="44743" y="558706"/>
                </a:lnTo>
                <a:cubicBezTo>
                  <a:pt x="44743" y="663702"/>
                  <a:pt x="91841" y="759365"/>
                  <a:pt x="176618" y="827029"/>
                </a:cubicBezTo>
                <a:lnTo>
                  <a:pt x="593436" y="827029"/>
                </a:lnTo>
                <a:cubicBezTo>
                  <a:pt x="631115" y="796697"/>
                  <a:pt x="661729" y="761698"/>
                  <a:pt x="685278" y="722033"/>
                </a:cubicBezTo>
                <a:cubicBezTo>
                  <a:pt x="706472" y="682368"/>
                  <a:pt x="720601" y="645036"/>
                  <a:pt x="722956" y="600704"/>
                </a:cubicBezTo>
                <a:cubicBezTo>
                  <a:pt x="725311" y="586705"/>
                  <a:pt x="725311" y="572705"/>
                  <a:pt x="725311" y="558706"/>
                </a:cubicBezTo>
                <a:lnTo>
                  <a:pt x="725311" y="451376"/>
                </a:lnTo>
                <a:lnTo>
                  <a:pt x="725311" y="365046"/>
                </a:lnTo>
                <a:close/>
                <a:moveTo>
                  <a:pt x="23549" y="320714"/>
                </a:moveTo>
                <a:lnTo>
                  <a:pt x="748860" y="320714"/>
                </a:lnTo>
                <a:cubicBezTo>
                  <a:pt x="760635" y="320714"/>
                  <a:pt x="770054" y="332381"/>
                  <a:pt x="770054" y="344047"/>
                </a:cubicBezTo>
                <a:lnTo>
                  <a:pt x="770054" y="432710"/>
                </a:lnTo>
                <a:cubicBezTo>
                  <a:pt x="852476" y="442043"/>
                  <a:pt x="918413" y="514374"/>
                  <a:pt x="916058" y="598371"/>
                </a:cubicBezTo>
                <a:cubicBezTo>
                  <a:pt x="916058" y="687034"/>
                  <a:pt x="838346" y="759365"/>
                  <a:pt x="748860" y="759365"/>
                </a:cubicBezTo>
                <a:lnTo>
                  <a:pt x="746505" y="759365"/>
                </a:lnTo>
                <a:cubicBezTo>
                  <a:pt x="734731" y="759365"/>
                  <a:pt x="722956" y="757032"/>
                  <a:pt x="711182" y="754699"/>
                </a:cubicBezTo>
                <a:cubicBezTo>
                  <a:pt x="687633" y="796697"/>
                  <a:pt x="654664" y="834029"/>
                  <a:pt x="612276" y="864362"/>
                </a:cubicBezTo>
                <a:cubicBezTo>
                  <a:pt x="609921" y="866695"/>
                  <a:pt x="605211" y="866695"/>
                  <a:pt x="602856" y="866695"/>
                </a:cubicBezTo>
                <a:lnTo>
                  <a:pt x="171908" y="866695"/>
                </a:lnTo>
                <a:cubicBezTo>
                  <a:pt x="167198" y="866695"/>
                  <a:pt x="162488" y="866695"/>
                  <a:pt x="157779" y="864362"/>
                </a:cubicBezTo>
                <a:cubicBezTo>
                  <a:pt x="58873" y="792031"/>
                  <a:pt x="0" y="680035"/>
                  <a:pt x="0" y="558706"/>
                </a:cubicBezTo>
                <a:lnTo>
                  <a:pt x="0" y="344047"/>
                </a:lnTo>
                <a:cubicBezTo>
                  <a:pt x="0" y="332381"/>
                  <a:pt x="11774" y="320714"/>
                  <a:pt x="23549" y="320714"/>
                </a:cubicBezTo>
                <a:close/>
                <a:moveTo>
                  <a:pt x="557579" y="51728"/>
                </a:moveTo>
                <a:cubicBezTo>
                  <a:pt x="566291" y="51728"/>
                  <a:pt x="577181" y="61278"/>
                  <a:pt x="577181" y="73215"/>
                </a:cubicBezTo>
                <a:lnTo>
                  <a:pt x="577181" y="245109"/>
                </a:lnTo>
                <a:cubicBezTo>
                  <a:pt x="577181" y="257046"/>
                  <a:pt x="566291" y="266596"/>
                  <a:pt x="557579" y="266596"/>
                </a:cubicBezTo>
                <a:cubicBezTo>
                  <a:pt x="546688" y="266596"/>
                  <a:pt x="537976" y="257046"/>
                  <a:pt x="537976" y="245109"/>
                </a:cubicBezTo>
                <a:lnTo>
                  <a:pt x="537976" y="73215"/>
                </a:lnTo>
                <a:cubicBezTo>
                  <a:pt x="537976" y="61278"/>
                  <a:pt x="546688" y="51728"/>
                  <a:pt x="557579" y="51728"/>
                </a:cubicBezTo>
                <a:close/>
                <a:moveTo>
                  <a:pt x="199158" y="51728"/>
                </a:moveTo>
                <a:cubicBezTo>
                  <a:pt x="214676" y="51728"/>
                  <a:pt x="225021" y="61278"/>
                  <a:pt x="225021" y="73215"/>
                </a:cubicBezTo>
                <a:lnTo>
                  <a:pt x="225021" y="245109"/>
                </a:lnTo>
                <a:cubicBezTo>
                  <a:pt x="225021" y="257046"/>
                  <a:pt x="214676" y="266596"/>
                  <a:pt x="199158" y="266596"/>
                </a:cubicBezTo>
                <a:cubicBezTo>
                  <a:pt x="186227" y="266596"/>
                  <a:pt x="175882" y="257046"/>
                  <a:pt x="175882" y="245109"/>
                </a:cubicBezTo>
                <a:lnTo>
                  <a:pt x="175882" y="73215"/>
                </a:lnTo>
                <a:cubicBezTo>
                  <a:pt x="175882" y="61278"/>
                  <a:pt x="186227" y="51728"/>
                  <a:pt x="199158" y="51728"/>
                </a:cubicBezTo>
                <a:close/>
                <a:moveTo>
                  <a:pt x="381705" y="0"/>
                </a:moveTo>
                <a:cubicBezTo>
                  <a:pt x="390417" y="0"/>
                  <a:pt x="401307" y="9522"/>
                  <a:pt x="401307" y="21424"/>
                </a:cubicBezTo>
                <a:lnTo>
                  <a:pt x="401307" y="245183"/>
                </a:lnTo>
                <a:cubicBezTo>
                  <a:pt x="401307" y="257085"/>
                  <a:pt x="390417" y="266607"/>
                  <a:pt x="381705" y="266607"/>
                </a:cubicBezTo>
                <a:cubicBezTo>
                  <a:pt x="370814" y="266607"/>
                  <a:pt x="362102" y="257085"/>
                  <a:pt x="362102" y="245183"/>
                </a:cubicBezTo>
                <a:lnTo>
                  <a:pt x="362102" y="21424"/>
                </a:lnTo>
                <a:cubicBezTo>
                  <a:pt x="362102" y="9522"/>
                  <a:pt x="370814" y="0"/>
                  <a:pt x="38170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46" name="Shape 2588">
            <a:extLst>
              <a:ext uri="{FF2B5EF4-FFF2-40B4-BE49-F238E27FC236}">
                <a16:creationId xmlns:a16="http://schemas.microsoft.com/office/drawing/2014/main" id="{6411E824-6F82-904E-97A6-8C92910C387E}"/>
              </a:ext>
            </a:extLst>
          </p:cNvPr>
          <p:cNvSpPr/>
          <p:nvPr/>
        </p:nvSpPr>
        <p:spPr>
          <a:xfrm>
            <a:off x="13442500" y="11028604"/>
            <a:ext cx="816008" cy="7418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182" y="12420"/>
                </a:moveTo>
                <a:cubicBezTo>
                  <a:pt x="16368" y="12420"/>
                  <a:pt x="15709" y="11694"/>
                  <a:pt x="15709" y="10800"/>
                </a:cubicBezTo>
                <a:cubicBezTo>
                  <a:pt x="15709" y="9906"/>
                  <a:pt x="16368" y="9180"/>
                  <a:pt x="17182" y="9180"/>
                </a:cubicBezTo>
                <a:cubicBezTo>
                  <a:pt x="17995" y="9180"/>
                  <a:pt x="18655" y="9906"/>
                  <a:pt x="18655" y="10800"/>
                </a:cubicBezTo>
                <a:cubicBezTo>
                  <a:pt x="18655" y="11694"/>
                  <a:pt x="17995" y="12420"/>
                  <a:pt x="17182" y="12420"/>
                </a:cubicBezTo>
                <a:moveTo>
                  <a:pt x="21109" y="10260"/>
                </a:moveTo>
                <a:lnTo>
                  <a:pt x="19587" y="10260"/>
                </a:lnTo>
                <a:cubicBezTo>
                  <a:pt x="19360" y="9028"/>
                  <a:pt x="18369" y="8100"/>
                  <a:pt x="17182" y="8100"/>
                </a:cubicBezTo>
                <a:cubicBezTo>
                  <a:pt x="15994" y="8100"/>
                  <a:pt x="15004" y="9028"/>
                  <a:pt x="14777" y="10260"/>
                </a:cubicBezTo>
                <a:lnTo>
                  <a:pt x="491" y="10260"/>
                </a:lnTo>
                <a:cubicBezTo>
                  <a:pt x="220" y="10260"/>
                  <a:pt x="0" y="10502"/>
                  <a:pt x="0" y="10800"/>
                </a:cubicBezTo>
                <a:cubicBezTo>
                  <a:pt x="0" y="11098"/>
                  <a:pt x="220" y="11340"/>
                  <a:pt x="491" y="11340"/>
                </a:cubicBezTo>
                <a:lnTo>
                  <a:pt x="14777" y="11340"/>
                </a:lnTo>
                <a:cubicBezTo>
                  <a:pt x="15004" y="12572"/>
                  <a:pt x="15994" y="13500"/>
                  <a:pt x="17182" y="13500"/>
                </a:cubicBezTo>
                <a:cubicBezTo>
                  <a:pt x="18369" y="13500"/>
                  <a:pt x="19360" y="12572"/>
                  <a:pt x="19587" y="11340"/>
                </a:cubicBezTo>
                <a:lnTo>
                  <a:pt x="21109" y="11340"/>
                </a:lnTo>
                <a:cubicBezTo>
                  <a:pt x="21380" y="11340"/>
                  <a:pt x="21600" y="11098"/>
                  <a:pt x="21600" y="10800"/>
                </a:cubicBezTo>
                <a:cubicBezTo>
                  <a:pt x="21600" y="10502"/>
                  <a:pt x="21380" y="10260"/>
                  <a:pt x="21109" y="10260"/>
                </a:cubicBezTo>
                <a:moveTo>
                  <a:pt x="5400" y="1080"/>
                </a:moveTo>
                <a:cubicBezTo>
                  <a:pt x="6214" y="1080"/>
                  <a:pt x="6873" y="1806"/>
                  <a:pt x="6873" y="2700"/>
                </a:cubicBezTo>
                <a:cubicBezTo>
                  <a:pt x="6873" y="3595"/>
                  <a:pt x="6214" y="4320"/>
                  <a:pt x="5400" y="4320"/>
                </a:cubicBezTo>
                <a:cubicBezTo>
                  <a:pt x="4586" y="4320"/>
                  <a:pt x="3927" y="3595"/>
                  <a:pt x="3927" y="2700"/>
                </a:cubicBezTo>
                <a:cubicBezTo>
                  <a:pt x="3927" y="1806"/>
                  <a:pt x="4586" y="1080"/>
                  <a:pt x="5400" y="1080"/>
                </a:cubicBezTo>
                <a:moveTo>
                  <a:pt x="491" y="3240"/>
                </a:moveTo>
                <a:lnTo>
                  <a:pt x="2995" y="3240"/>
                </a:lnTo>
                <a:cubicBezTo>
                  <a:pt x="3222" y="4472"/>
                  <a:pt x="4213" y="5400"/>
                  <a:pt x="5400" y="5400"/>
                </a:cubicBezTo>
                <a:cubicBezTo>
                  <a:pt x="6587" y="5400"/>
                  <a:pt x="7578" y="4472"/>
                  <a:pt x="7805" y="3240"/>
                </a:cubicBezTo>
                <a:lnTo>
                  <a:pt x="21109" y="3240"/>
                </a:lnTo>
                <a:cubicBezTo>
                  <a:pt x="21380" y="3240"/>
                  <a:pt x="21600" y="2999"/>
                  <a:pt x="21600" y="2700"/>
                </a:cubicBezTo>
                <a:cubicBezTo>
                  <a:pt x="21600" y="2402"/>
                  <a:pt x="21380" y="2160"/>
                  <a:pt x="21109" y="2160"/>
                </a:cubicBezTo>
                <a:lnTo>
                  <a:pt x="7805" y="2160"/>
                </a:lnTo>
                <a:cubicBezTo>
                  <a:pt x="7578" y="928"/>
                  <a:pt x="6587" y="0"/>
                  <a:pt x="5400" y="0"/>
                </a:cubicBezTo>
                <a:cubicBezTo>
                  <a:pt x="4213" y="0"/>
                  <a:pt x="3222" y="928"/>
                  <a:pt x="2995" y="2160"/>
                </a:cubicBezTo>
                <a:lnTo>
                  <a:pt x="491" y="2160"/>
                </a:lnTo>
                <a:cubicBezTo>
                  <a:pt x="220" y="2160"/>
                  <a:pt x="0" y="2402"/>
                  <a:pt x="0" y="2700"/>
                </a:cubicBezTo>
                <a:cubicBezTo>
                  <a:pt x="0" y="2999"/>
                  <a:pt x="220" y="3240"/>
                  <a:pt x="491" y="3240"/>
                </a:cubicBezTo>
                <a:moveTo>
                  <a:pt x="9327" y="20519"/>
                </a:moveTo>
                <a:cubicBezTo>
                  <a:pt x="8514" y="20519"/>
                  <a:pt x="7855" y="19794"/>
                  <a:pt x="7855" y="18899"/>
                </a:cubicBezTo>
                <a:cubicBezTo>
                  <a:pt x="7855" y="18005"/>
                  <a:pt x="8514" y="17279"/>
                  <a:pt x="9327" y="17279"/>
                </a:cubicBezTo>
                <a:cubicBezTo>
                  <a:pt x="10141" y="17279"/>
                  <a:pt x="10800" y="18005"/>
                  <a:pt x="10800" y="18899"/>
                </a:cubicBezTo>
                <a:cubicBezTo>
                  <a:pt x="10800" y="19794"/>
                  <a:pt x="10141" y="20519"/>
                  <a:pt x="9327" y="20519"/>
                </a:cubicBezTo>
                <a:moveTo>
                  <a:pt x="21109" y="18359"/>
                </a:moveTo>
                <a:lnTo>
                  <a:pt x="11732" y="18359"/>
                </a:lnTo>
                <a:cubicBezTo>
                  <a:pt x="11505" y="17127"/>
                  <a:pt x="10515" y="16199"/>
                  <a:pt x="9327" y="16199"/>
                </a:cubicBezTo>
                <a:cubicBezTo>
                  <a:pt x="8140" y="16199"/>
                  <a:pt x="7150" y="17127"/>
                  <a:pt x="6922" y="18359"/>
                </a:cubicBezTo>
                <a:lnTo>
                  <a:pt x="491" y="18359"/>
                </a:lnTo>
                <a:cubicBezTo>
                  <a:pt x="220" y="18359"/>
                  <a:pt x="0" y="18601"/>
                  <a:pt x="0" y="18899"/>
                </a:cubicBezTo>
                <a:cubicBezTo>
                  <a:pt x="0" y="19198"/>
                  <a:pt x="220" y="19439"/>
                  <a:pt x="491" y="19439"/>
                </a:cubicBezTo>
                <a:lnTo>
                  <a:pt x="6922" y="19439"/>
                </a:lnTo>
                <a:cubicBezTo>
                  <a:pt x="7150" y="20672"/>
                  <a:pt x="8140" y="21600"/>
                  <a:pt x="9327" y="21600"/>
                </a:cubicBezTo>
                <a:cubicBezTo>
                  <a:pt x="10515" y="21600"/>
                  <a:pt x="11505" y="20672"/>
                  <a:pt x="11732" y="19439"/>
                </a:cubicBezTo>
                <a:lnTo>
                  <a:pt x="21109" y="19439"/>
                </a:lnTo>
                <a:cubicBezTo>
                  <a:pt x="21380" y="19439"/>
                  <a:pt x="21600" y="19198"/>
                  <a:pt x="21600" y="18899"/>
                </a:cubicBezTo>
                <a:cubicBezTo>
                  <a:pt x="21600" y="18601"/>
                  <a:pt x="21380" y="18359"/>
                  <a:pt x="21109" y="18359"/>
                </a:cubicBez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latin typeface="Fira Sans Light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92387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Box 98">
            <a:extLst>
              <a:ext uri="{FF2B5EF4-FFF2-40B4-BE49-F238E27FC236}">
                <a16:creationId xmlns:a16="http://schemas.microsoft.com/office/drawing/2014/main" id="{44BA6416-F6CC-104C-9C63-9B9CBBA8CA02}"/>
              </a:ext>
            </a:extLst>
          </p:cNvPr>
          <p:cNvSpPr txBox="1"/>
          <p:nvPr/>
        </p:nvSpPr>
        <p:spPr>
          <a:xfrm>
            <a:off x="11596832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1679ED8B-8E74-8B47-8B43-EE78C8B308C2}"/>
              </a:ext>
            </a:extLst>
          </p:cNvPr>
          <p:cNvCxnSpPr/>
          <p:nvPr/>
        </p:nvCxnSpPr>
        <p:spPr>
          <a:xfrm>
            <a:off x="15162519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462F81D-5CBD-E34A-AF48-778EE5C56DCF}"/>
              </a:ext>
            </a:extLst>
          </p:cNvPr>
          <p:cNvGrpSpPr/>
          <p:nvPr/>
        </p:nvGrpSpPr>
        <p:grpSpPr>
          <a:xfrm>
            <a:off x="6263905" y="0"/>
            <a:ext cx="9051323" cy="13716000"/>
            <a:chOff x="6263905" y="0"/>
            <a:chExt cx="9051323" cy="13716000"/>
          </a:xfrm>
        </p:grpSpPr>
        <p:sp>
          <p:nvSpPr>
            <p:cNvPr id="185" name="Freeform 1">
              <a:extLst>
                <a:ext uri="{FF2B5EF4-FFF2-40B4-BE49-F238E27FC236}">
                  <a16:creationId xmlns:a16="http://schemas.microsoft.com/office/drawing/2014/main" id="{28330879-8C3A-044D-BA38-5E9BA47A15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3905" y="0"/>
              <a:ext cx="9051323" cy="13716000"/>
            </a:xfrm>
            <a:custGeom>
              <a:avLst/>
              <a:gdLst>
                <a:gd name="T0" fmla="*/ 9787 w 12920"/>
                <a:gd name="T1" fmla="*/ 19577 h 19578"/>
                <a:gd name="T2" fmla="*/ 9787 w 12920"/>
                <a:gd name="T3" fmla="*/ 9515 h 19578"/>
                <a:gd name="T4" fmla="*/ 9787 w 12920"/>
                <a:gd name="T5" fmla="*/ 9515 h 19578"/>
                <a:gd name="T6" fmla="*/ 8930 w 12920"/>
                <a:gd name="T7" fmla="*/ 8658 h 19578"/>
                <a:gd name="T8" fmla="*/ 8930 w 12920"/>
                <a:gd name="T9" fmla="*/ 8658 h 19578"/>
                <a:gd name="T10" fmla="*/ 8073 w 12920"/>
                <a:gd name="T11" fmla="*/ 9515 h 19578"/>
                <a:gd name="T12" fmla="*/ 8073 w 12920"/>
                <a:gd name="T13" fmla="*/ 9949 h 19578"/>
                <a:gd name="T14" fmla="*/ 8073 w 12920"/>
                <a:gd name="T15" fmla="*/ 9949 h 19578"/>
                <a:gd name="T16" fmla="*/ 4084 w 12920"/>
                <a:gd name="T17" fmla="*/ 13938 h 19578"/>
                <a:gd name="T18" fmla="*/ 3989 w 12920"/>
                <a:gd name="T19" fmla="*/ 13938 h 19578"/>
                <a:gd name="T20" fmla="*/ 3989 w 12920"/>
                <a:gd name="T21" fmla="*/ 13938 h 19578"/>
                <a:gd name="T22" fmla="*/ 0 w 12920"/>
                <a:gd name="T23" fmla="*/ 9949 h 19578"/>
                <a:gd name="T24" fmla="*/ 0 w 12920"/>
                <a:gd name="T25" fmla="*/ 0 h 19578"/>
                <a:gd name="T26" fmla="*/ 3133 w 12920"/>
                <a:gd name="T27" fmla="*/ 0 h 19578"/>
                <a:gd name="T28" fmla="*/ 3133 w 12920"/>
                <a:gd name="T29" fmla="*/ 9949 h 19578"/>
                <a:gd name="T30" fmla="*/ 3133 w 12920"/>
                <a:gd name="T31" fmla="*/ 9949 h 19578"/>
                <a:gd name="T32" fmla="*/ 3989 w 12920"/>
                <a:gd name="T33" fmla="*/ 10805 h 19578"/>
                <a:gd name="T34" fmla="*/ 4084 w 12920"/>
                <a:gd name="T35" fmla="*/ 10805 h 19578"/>
                <a:gd name="T36" fmla="*/ 4084 w 12920"/>
                <a:gd name="T37" fmla="*/ 10805 h 19578"/>
                <a:gd name="T38" fmla="*/ 4940 w 12920"/>
                <a:gd name="T39" fmla="*/ 9949 h 19578"/>
                <a:gd name="T40" fmla="*/ 4940 w 12920"/>
                <a:gd name="T41" fmla="*/ 9515 h 19578"/>
                <a:gd name="T42" fmla="*/ 4940 w 12920"/>
                <a:gd name="T43" fmla="*/ 9515 h 19578"/>
                <a:gd name="T44" fmla="*/ 8930 w 12920"/>
                <a:gd name="T45" fmla="*/ 5526 h 19578"/>
                <a:gd name="T46" fmla="*/ 8930 w 12920"/>
                <a:gd name="T47" fmla="*/ 5526 h 19578"/>
                <a:gd name="T48" fmla="*/ 12919 w 12920"/>
                <a:gd name="T49" fmla="*/ 9515 h 19578"/>
                <a:gd name="T50" fmla="*/ 12919 w 12920"/>
                <a:gd name="T51" fmla="*/ 19577 h 19578"/>
                <a:gd name="T52" fmla="*/ 9787 w 12920"/>
                <a:gd name="T53" fmla="*/ 19577 h 19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20" h="19578">
                  <a:moveTo>
                    <a:pt x="9787" y="19577"/>
                  </a:moveTo>
                  <a:lnTo>
                    <a:pt x="9787" y="9515"/>
                  </a:lnTo>
                  <a:lnTo>
                    <a:pt x="9787" y="9515"/>
                  </a:lnTo>
                  <a:cubicBezTo>
                    <a:pt x="9787" y="9043"/>
                    <a:pt x="9402" y="8658"/>
                    <a:pt x="8930" y="8658"/>
                  </a:cubicBezTo>
                  <a:lnTo>
                    <a:pt x="8930" y="8658"/>
                  </a:lnTo>
                  <a:cubicBezTo>
                    <a:pt x="8457" y="8658"/>
                    <a:pt x="8073" y="9043"/>
                    <a:pt x="8073" y="9515"/>
                  </a:cubicBezTo>
                  <a:lnTo>
                    <a:pt x="8073" y="9949"/>
                  </a:lnTo>
                  <a:lnTo>
                    <a:pt x="8073" y="9949"/>
                  </a:lnTo>
                  <a:cubicBezTo>
                    <a:pt x="8073" y="12149"/>
                    <a:pt x="6283" y="13938"/>
                    <a:pt x="4084" y="13938"/>
                  </a:cubicBezTo>
                  <a:lnTo>
                    <a:pt x="3989" y="13938"/>
                  </a:lnTo>
                  <a:lnTo>
                    <a:pt x="3989" y="13938"/>
                  </a:lnTo>
                  <a:cubicBezTo>
                    <a:pt x="1790" y="13938"/>
                    <a:pt x="0" y="12149"/>
                    <a:pt x="0" y="9949"/>
                  </a:cubicBezTo>
                  <a:lnTo>
                    <a:pt x="0" y="0"/>
                  </a:lnTo>
                  <a:lnTo>
                    <a:pt x="3133" y="0"/>
                  </a:lnTo>
                  <a:lnTo>
                    <a:pt x="3133" y="9949"/>
                  </a:lnTo>
                  <a:lnTo>
                    <a:pt x="3133" y="9949"/>
                  </a:lnTo>
                  <a:cubicBezTo>
                    <a:pt x="3133" y="10421"/>
                    <a:pt x="3517" y="10805"/>
                    <a:pt x="3989" y="10805"/>
                  </a:cubicBezTo>
                  <a:lnTo>
                    <a:pt x="4084" y="10805"/>
                  </a:lnTo>
                  <a:lnTo>
                    <a:pt x="4084" y="10805"/>
                  </a:lnTo>
                  <a:cubicBezTo>
                    <a:pt x="4556" y="10805"/>
                    <a:pt x="4940" y="10421"/>
                    <a:pt x="4940" y="9949"/>
                  </a:cubicBezTo>
                  <a:lnTo>
                    <a:pt x="4940" y="9515"/>
                  </a:lnTo>
                  <a:lnTo>
                    <a:pt x="4940" y="9515"/>
                  </a:lnTo>
                  <a:cubicBezTo>
                    <a:pt x="4940" y="7316"/>
                    <a:pt x="6730" y="5526"/>
                    <a:pt x="8930" y="5526"/>
                  </a:cubicBezTo>
                  <a:lnTo>
                    <a:pt x="8930" y="5526"/>
                  </a:lnTo>
                  <a:cubicBezTo>
                    <a:pt x="11130" y="5526"/>
                    <a:pt x="12919" y="7316"/>
                    <a:pt x="12919" y="9515"/>
                  </a:cubicBezTo>
                  <a:lnTo>
                    <a:pt x="12919" y="19577"/>
                  </a:lnTo>
                  <a:lnTo>
                    <a:pt x="9787" y="19577"/>
                  </a:lnTo>
                </a:path>
              </a:pathLst>
            </a:custGeom>
            <a:solidFill>
              <a:srgbClr val="CEE3A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86" name="Freeform 2">
              <a:extLst>
                <a:ext uri="{FF2B5EF4-FFF2-40B4-BE49-F238E27FC236}">
                  <a16:creationId xmlns:a16="http://schemas.microsoft.com/office/drawing/2014/main" id="{25423859-04CF-314B-98A7-7C9C09525A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2918" y="0"/>
              <a:ext cx="8776386" cy="13716000"/>
            </a:xfrm>
            <a:custGeom>
              <a:avLst/>
              <a:gdLst>
                <a:gd name="T0" fmla="*/ 9786 w 12528"/>
                <a:gd name="T1" fmla="*/ 19577 h 19578"/>
                <a:gd name="T2" fmla="*/ 9786 w 12528"/>
                <a:gd name="T3" fmla="*/ 9515 h 19578"/>
                <a:gd name="T4" fmla="*/ 9786 w 12528"/>
                <a:gd name="T5" fmla="*/ 9515 h 19578"/>
                <a:gd name="T6" fmla="*/ 8734 w 12528"/>
                <a:gd name="T7" fmla="*/ 8463 h 19578"/>
                <a:gd name="T8" fmla="*/ 8734 w 12528"/>
                <a:gd name="T9" fmla="*/ 8463 h 19578"/>
                <a:gd name="T10" fmla="*/ 7681 w 12528"/>
                <a:gd name="T11" fmla="*/ 9515 h 19578"/>
                <a:gd name="T12" fmla="*/ 7681 w 12528"/>
                <a:gd name="T13" fmla="*/ 9949 h 19578"/>
                <a:gd name="T14" fmla="*/ 7681 w 12528"/>
                <a:gd name="T15" fmla="*/ 9949 h 19578"/>
                <a:gd name="T16" fmla="*/ 3888 w 12528"/>
                <a:gd name="T17" fmla="*/ 13742 h 19578"/>
                <a:gd name="T18" fmla="*/ 3793 w 12528"/>
                <a:gd name="T19" fmla="*/ 13742 h 19578"/>
                <a:gd name="T20" fmla="*/ 3793 w 12528"/>
                <a:gd name="T21" fmla="*/ 13742 h 19578"/>
                <a:gd name="T22" fmla="*/ 0 w 12528"/>
                <a:gd name="T23" fmla="*/ 9949 h 19578"/>
                <a:gd name="T24" fmla="*/ 0 w 12528"/>
                <a:gd name="T25" fmla="*/ 0 h 19578"/>
                <a:gd name="T26" fmla="*/ 2741 w 12528"/>
                <a:gd name="T27" fmla="*/ 0 h 19578"/>
                <a:gd name="T28" fmla="*/ 2741 w 12528"/>
                <a:gd name="T29" fmla="*/ 9949 h 19578"/>
                <a:gd name="T30" fmla="*/ 2741 w 12528"/>
                <a:gd name="T31" fmla="*/ 9949 h 19578"/>
                <a:gd name="T32" fmla="*/ 3793 w 12528"/>
                <a:gd name="T33" fmla="*/ 11002 h 19578"/>
                <a:gd name="T34" fmla="*/ 3888 w 12528"/>
                <a:gd name="T35" fmla="*/ 11002 h 19578"/>
                <a:gd name="T36" fmla="*/ 3888 w 12528"/>
                <a:gd name="T37" fmla="*/ 11002 h 19578"/>
                <a:gd name="T38" fmla="*/ 4940 w 12528"/>
                <a:gd name="T39" fmla="*/ 9949 h 19578"/>
                <a:gd name="T40" fmla="*/ 4940 w 12528"/>
                <a:gd name="T41" fmla="*/ 9515 h 19578"/>
                <a:gd name="T42" fmla="*/ 4940 w 12528"/>
                <a:gd name="T43" fmla="*/ 9515 h 19578"/>
                <a:gd name="T44" fmla="*/ 8734 w 12528"/>
                <a:gd name="T45" fmla="*/ 5722 h 19578"/>
                <a:gd name="T46" fmla="*/ 8734 w 12528"/>
                <a:gd name="T47" fmla="*/ 5722 h 19578"/>
                <a:gd name="T48" fmla="*/ 12527 w 12528"/>
                <a:gd name="T49" fmla="*/ 9515 h 19578"/>
                <a:gd name="T50" fmla="*/ 12527 w 12528"/>
                <a:gd name="T51" fmla="*/ 19577 h 19578"/>
                <a:gd name="T52" fmla="*/ 9786 w 12528"/>
                <a:gd name="T53" fmla="*/ 19577 h 19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528" h="19578">
                  <a:moveTo>
                    <a:pt x="9786" y="19577"/>
                  </a:moveTo>
                  <a:lnTo>
                    <a:pt x="9786" y="9515"/>
                  </a:lnTo>
                  <a:lnTo>
                    <a:pt x="9786" y="9515"/>
                  </a:lnTo>
                  <a:cubicBezTo>
                    <a:pt x="9786" y="8935"/>
                    <a:pt x="9314" y="8463"/>
                    <a:pt x="8734" y="8463"/>
                  </a:cubicBezTo>
                  <a:lnTo>
                    <a:pt x="8734" y="8463"/>
                  </a:lnTo>
                  <a:cubicBezTo>
                    <a:pt x="8153" y="8463"/>
                    <a:pt x="7681" y="8935"/>
                    <a:pt x="7681" y="9515"/>
                  </a:cubicBezTo>
                  <a:lnTo>
                    <a:pt x="7681" y="9949"/>
                  </a:lnTo>
                  <a:lnTo>
                    <a:pt x="7681" y="9949"/>
                  </a:lnTo>
                  <a:cubicBezTo>
                    <a:pt x="7681" y="12040"/>
                    <a:pt x="5979" y="13742"/>
                    <a:pt x="3888" y="13742"/>
                  </a:cubicBezTo>
                  <a:lnTo>
                    <a:pt x="3793" y="13742"/>
                  </a:lnTo>
                  <a:lnTo>
                    <a:pt x="3793" y="13742"/>
                  </a:lnTo>
                  <a:cubicBezTo>
                    <a:pt x="1702" y="13742"/>
                    <a:pt x="0" y="12040"/>
                    <a:pt x="0" y="9949"/>
                  </a:cubicBezTo>
                  <a:lnTo>
                    <a:pt x="0" y="0"/>
                  </a:lnTo>
                  <a:lnTo>
                    <a:pt x="2741" y="0"/>
                  </a:lnTo>
                  <a:lnTo>
                    <a:pt x="2741" y="9949"/>
                  </a:lnTo>
                  <a:lnTo>
                    <a:pt x="2741" y="9949"/>
                  </a:lnTo>
                  <a:cubicBezTo>
                    <a:pt x="2741" y="10529"/>
                    <a:pt x="3213" y="11002"/>
                    <a:pt x="3793" y="11002"/>
                  </a:cubicBezTo>
                  <a:lnTo>
                    <a:pt x="3888" y="11002"/>
                  </a:lnTo>
                  <a:lnTo>
                    <a:pt x="3888" y="11002"/>
                  </a:lnTo>
                  <a:cubicBezTo>
                    <a:pt x="4468" y="11002"/>
                    <a:pt x="4940" y="10529"/>
                    <a:pt x="4940" y="9949"/>
                  </a:cubicBezTo>
                  <a:lnTo>
                    <a:pt x="4940" y="9515"/>
                  </a:lnTo>
                  <a:lnTo>
                    <a:pt x="4940" y="9515"/>
                  </a:lnTo>
                  <a:cubicBezTo>
                    <a:pt x="4940" y="7424"/>
                    <a:pt x="6642" y="5722"/>
                    <a:pt x="8734" y="5722"/>
                  </a:cubicBezTo>
                  <a:lnTo>
                    <a:pt x="8734" y="5722"/>
                  </a:lnTo>
                  <a:cubicBezTo>
                    <a:pt x="10825" y="5722"/>
                    <a:pt x="12527" y="7424"/>
                    <a:pt x="12527" y="9515"/>
                  </a:cubicBezTo>
                  <a:lnTo>
                    <a:pt x="12527" y="19577"/>
                  </a:lnTo>
                  <a:lnTo>
                    <a:pt x="9786" y="195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87" name="Freeform 3">
              <a:extLst>
                <a:ext uri="{FF2B5EF4-FFF2-40B4-BE49-F238E27FC236}">
                  <a16:creationId xmlns:a16="http://schemas.microsoft.com/office/drawing/2014/main" id="{669D8999-E7D3-9F48-8926-799757FF7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8842" y="0"/>
              <a:ext cx="8501447" cy="13716000"/>
            </a:xfrm>
            <a:custGeom>
              <a:avLst/>
              <a:gdLst>
                <a:gd name="T0" fmla="*/ 12136 w 12137"/>
                <a:gd name="T1" fmla="*/ 19577 h 19578"/>
                <a:gd name="T2" fmla="*/ 9787 w 12137"/>
                <a:gd name="T3" fmla="*/ 19577 h 19578"/>
                <a:gd name="T4" fmla="*/ 9787 w 12137"/>
                <a:gd name="T5" fmla="*/ 9515 h 19578"/>
                <a:gd name="T6" fmla="*/ 9787 w 12137"/>
                <a:gd name="T7" fmla="*/ 9515 h 19578"/>
                <a:gd name="T8" fmla="*/ 8538 w 12137"/>
                <a:gd name="T9" fmla="*/ 8267 h 19578"/>
                <a:gd name="T10" fmla="*/ 8538 w 12137"/>
                <a:gd name="T11" fmla="*/ 8267 h 19578"/>
                <a:gd name="T12" fmla="*/ 7289 w 12137"/>
                <a:gd name="T13" fmla="*/ 9515 h 19578"/>
                <a:gd name="T14" fmla="*/ 7289 w 12137"/>
                <a:gd name="T15" fmla="*/ 9949 h 19578"/>
                <a:gd name="T16" fmla="*/ 7289 w 12137"/>
                <a:gd name="T17" fmla="*/ 9949 h 19578"/>
                <a:gd name="T18" fmla="*/ 3692 w 12137"/>
                <a:gd name="T19" fmla="*/ 13546 h 19578"/>
                <a:gd name="T20" fmla="*/ 3597 w 12137"/>
                <a:gd name="T21" fmla="*/ 13546 h 19578"/>
                <a:gd name="T22" fmla="*/ 3597 w 12137"/>
                <a:gd name="T23" fmla="*/ 13546 h 19578"/>
                <a:gd name="T24" fmla="*/ 0 w 12137"/>
                <a:gd name="T25" fmla="*/ 9949 h 19578"/>
                <a:gd name="T26" fmla="*/ 0 w 12137"/>
                <a:gd name="T27" fmla="*/ 0 h 19578"/>
                <a:gd name="T28" fmla="*/ 2349 w 12137"/>
                <a:gd name="T29" fmla="*/ 0 h 19578"/>
                <a:gd name="T30" fmla="*/ 2349 w 12137"/>
                <a:gd name="T31" fmla="*/ 9949 h 19578"/>
                <a:gd name="T32" fmla="*/ 2349 w 12137"/>
                <a:gd name="T33" fmla="*/ 9949 h 19578"/>
                <a:gd name="T34" fmla="*/ 3597 w 12137"/>
                <a:gd name="T35" fmla="*/ 11197 h 19578"/>
                <a:gd name="T36" fmla="*/ 3692 w 12137"/>
                <a:gd name="T37" fmla="*/ 11197 h 19578"/>
                <a:gd name="T38" fmla="*/ 3692 w 12137"/>
                <a:gd name="T39" fmla="*/ 11197 h 19578"/>
                <a:gd name="T40" fmla="*/ 4940 w 12137"/>
                <a:gd name="T41" fmla="*/ 9949 h 19578"/>
                <a:gd name="T42" fmla="*/ 4940 w 12137"/>
                <a:gd name="T43" fmla="*/ 9515 h 19578"/>
                <a:gd name="T44" fmla="*/ 4940 w 12137"/>
                <a:gd name="T45" fmla="*/ 9515 h 19578"/>
                <a:gd name="T46" fmla="*/ 8538 w 12137"/>
                <a:gd name="T47" fmla="*/ 5918 h 19578"/>
                <a:gd name="T48" fmla="*/ 8538 w 12137"/>
                <a:gd name="T49" fmla="*/ 5918 h 19578"/>
                <a:gd name="T50" fmla="*/ 12136 w 12137"/>
                <a:gd name="T51" fmla="*/ 9515 h 19578"/>
                <a:gd name="T52" fmla="*/ 12136 w 12137"/>
                <a:gd name="T53" fmla="*/ 19577 h 19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137" h="19578">
                  <a:moveTo>
                    <a:pt x="12136" y="19577"/>
                  </a:moveTo>
                  <a:lnTo>
                    <a:pt x="9787" y="19577"/>
                  </a:lnTo>
                  <a:lnTo>
                    <a:pt x="9787" y="9515"/>
                  </a:lnTo>
                  <a:lnTo>
                    <a:pt x="9787" y="9515"/>
                  </a:lnTo>
                  <a:cubicBezTo>
                    <a:pt x="9787" y="8827"/>
                    <a:pt x="9226" y="8267"/>
                    <a:pt x="8538" y="8267"/>
                  </a:cubicBezTo>
                  <a:lnTo>
                    <a:pt x="8538" y="8267"/>
                  </a:lnTo>
                  <a:cubicBezTo>
                    <a:pt x="7850" y="8267"/>
                    <a:pt x="7289" y="8827"/>
                    <a:pt x="7289" y="9515"/>
                  </a:cubicBezTo>
                  <a:lnTo>
                    <a:pt x="7289" y="9949"/>
                  </a:lnTo>
                  <a:lnTo>
                    <a:pt x="7289" y="9949"/>
                  </a:lnTo>
                  <a:cubicBezTo>
                    <a:pt x="7289" y="11933"/>
                    <a:pt x="5676" y="13546"/>
                    <a:pt x="3692" y="13546"/>
                  </a:cubicBezTo>
                  <a:lnTo>
                    <a:pt x="3597" y="13546"/>
                  </a:lnTo>
                  <a:lnTo>
                    <a:pt x="3597" y="13546"/>
                  </a:lnTo>
                  <a:cubicBezTo>
                    <a:pt x="1614" y="13546"/>
                    <a:pt x="0" y="11933"/>
                    <a:pt x="0" y="9949"/>
                  </a:cubicBezTo>
                  <a:lnTo>
                    <a:pt x="0" y="0"/>
                  </a:lnTo>
                  <a:lnTo>
                    <a:pt x="2349" y="0"/>
                  </a:lnTo>
                  <a:lnTo>
                    <a:pt x="2349" y="9949"/>
                  </a:lnTo>
                  <a:lnTo>
                    <a:pt x="2349" y="9949"/>
                  </a:lnTo>
                  <a:cubicBezTo>
                    <a:pt x="2349" y="10637"/>
                    <a:pt x="2909" y="11197"/>
                    <a:pt x="3597" y="11197"/>
                  </a:cubicBezTo>
                  <a:lnTo>
                    <a:pt x="3692" y="11197"/>
                  </a:lnTo>
                  <a:lnTo>
                    <a:pt x="3692" y="11197"/>
                  </a:lnTo>
                  <a:cubicBezTo>
                    <a:pt x="4380" y="11197"/>
                    <a:pt x="4940" y="10637"/>
                    <a:pt x="4940" y="9949"/>
                  </a:cubicBezTo>
                  <a:lnTo>
                    <a:pt x="4940" y="9515"/>
                  </a:lnTo>
                  <a:lnTo>
                    <a:pt x="4940" y="9515"/>
                  </a:lnTo>
                  <a:cubicBezTo>
                    <a:pt x="4940" y="7531"/>
                    <a:pt x="6554" y="5918"/>
                    <a:pt x="8538" y="5918"/>
                  </a:cubicBezTo>
                  <a:lnTo>
                    <a:pt x="8538" y="5918"/>
                  </a:lnTo>
                  <a:cubicBezTo>
                    <a:pt x="10522" y="5918"/>
                    <a:pt x="12136" y="7531"/>
                    <a:pt x="12136" y="9515"/>
                  </a:cubicBezTo>
                  <a:lnTo>
                    <a:pt x="12136" y="19577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88" name="Freeform 4">
              <a:extLst>
                <a:ext uri="{FF2B5EF4-FFF2-40B4-BE49-F238E27FC236}">
                  <a16:creationId xmlns:a16="http://schemas.microsoft.com/office/drawing/2014/main" id="{C1D77E45-35B5-4B41-9113-C33F0194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7856" y="0"/>
              <a:ext cx="8226509" cy="13716000"/>
            </a:xfrm>
            <a:custGeom>
              <a:avLst/>
              <a:gdLst>
                <a:gd name="T0" fmla="*/ 9786 w 11745"/>
                <a:gd name="T1" fmla="*/ 19577 h 19578"/>
                <a:gd name="T2" fmla="*/ 9786 w 11745"/>
                <a:gd name="T3" fmla="*/ 9515 h 19578"/>
                <a:gd name="T4" fmla="*/ 9786 w 11745"/>
                <a:gd name="T5" fmla="*/ 9515 h 19578"/>
                <a:gd name="T6" fmla="*/ 8342 w 11745"/>
                <a:gd name="T7" fmla="*/ 8071 h 19578"/>
                <a:gd name="T8" fmla="*/ 8342 w 11745"/>
                <a:gd name="T9" fmla="*/ 8071 h 19578"/>
                <a:gd name="T10" fmla="*/ 6897 w 11745"/>
                <a:gd name="T11" fmla="*/ 9515 h 19578"/>
                <a:gd name="T12" fmla="*/ 6897 w 11745"/>
                <a:gd name="T13" fmla="*/ 9949 h 19578"/>
                <a:gd name="T14" fmla="*/ 6897 w 11745"/>
                <a:gd name="T15" fmla="*/ 9949 h 19578"/>
                <a:gd name="T16" fmla="*/ 3496 w 11745"/>
                <a:gd name="T17" fmla="*/ 13351 h 19578"/>
                <a:gd name="T18" fmla="*/ 3401 w 11745"/>
                <a:gd name="T19" fmla="*/ 13351 h 19578"/>
                <a:gd name="T20" fmla="*/ 3401 w 11745"/>
                <a:gd name="T21" fmla="*/ 13351 h 19578"/>
                <a:gd name="T22" fmla="*/ 0 w 11745"/>
                <a:gd name="T23" fmla="*/ 9949 h 19578"/>
                <a:gd name="T24" fmla="*/ 0 w 11745"/>
                <a:gd name="T25" fmla="*/ 0 h 19578"/>
                <a:gd name="T26" fmla="*/ 1957 w 11745"/>
                <a:gd name="T27" fmla="*/ 0 h 19578"/>
                <a:gd name="T28" fmla="*/ 1957 w 11745"/>
                <a:gd name="T29" fmla="*/ 9949 h 19578"/>
                <a:gd name="T30" fmla="*/ 1957 w 11745"/>
                <a:gd name="T31" fmla="*/ 9949 h 19578"/>
                <a:gd name="T32" fmla="*/ 3401 w 11745"/>
                <a:gd name="T33" fmla="*/ 11393 h 19578"/>
                <a:gd name="T34" fmla="*/ 3496 w 11745"/>
                <a:gd name="T35" fmla="*/ 11393 h 19578"/>
                <a:gd name="T36" fmla="*/ 3496 w 11745"/>
                <a:gd name="T37" fmla="*/ 11393 h 19578"/>
                <a:gd name="T38" fmla="*/ 4940 w 11745"/>
                <a:gd name="T39" fmla="*/ 9949 h 19578"/>
                <a:gd name="T40" fmla="*/ 4940 w 11745"/>
                <a:gd name="T41" fmla="*/ 9515 h 19578"/>
                <a:gd name="T42" fmla="*/ 4940 w 11745"/>
                <a:gd name="T43" fmla="*/ 9515 h 19578"/>
                <a:gd name="T44" fmla="*/ 8342 w 11745"/>
                <a:gd name="T45" fmla="*/ 6114 h 19578"/>
                <a:gd name="T46" fmla="*/ 8342 w 11745"/>
                <a:gd name="T47" fmla="*/ 6114 h 19578"/>
                <a:gd name="T48" fmla="*/ 11744 w 11745"/>
                <a:gd name="T49" fmla="*/ 9515 h 19578"/>
                <a:gd name="T50" fmla="*/ 11744 w 11745"/>
                <a:gd name="T51" fmla="*/ 19577 h 19578"/>
                <a:gd name="T52" fmla="*/ 9786 w 11745"/>
                <a:gd name="T53" fmla="*/ 19577 h 19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745" h="19578">
                  <a:moveTo>
                    <a:pt x="9786" y="19577"/>
                  </a:moveTo>
                  <a:lnTo>
                    <a:pt x="9786" y="9515"/>
                  </a:lnTo>
                  <a:lnTo>
                    <a:pt x="9786" y="9515"/>
                  </a:lnTo>
                  <a:cubicBezTo>
                    <a:pt x="9786" y="8719"/>
                    <a:pt x="9138" y="8071"/>
                    <a:pt x="8342" y="8071"/>
                  </a:cubicBezTo>
                  <a:lnTo>
                    <a:pt x="8342" y="8071"/>
                  </a:lnTo>
                  <a:cubicBezTo>
                    <a:pt x="7546" y="8071"/>
                    <a:pt x="6897" y="8719"/>
                    <a:pt x="6897" y="9515"/>
                  </a:cubicBezTo>
                  <a:lnTo>
                    <a:pt x="6897" y="9949"/>
                  </a:lnTo>
                  <a:lnTo>
                    <a:pt x="6897" y="9949"/>
                  </a:lnTo>
                  <a:cubicBezTo>
                    <a:pt x="6897" y="11824"/>
                    <a:pt x="5371" y="13351"/>
                    <a:pt x="3496" y="13351"/>
                  </a:cubicBezTo>
                  <a:lnTo>
                    <a:pt x="3401" y="13351"/>
                  </a:lnTo>
                  <a:lnTo>
                    <a:pt x="3401" y="13351"/>
                  </a:lnTo>
                  <a:cubicBezTo>
                    <a:pt x="1526" y="13351"/>
                    <a:pt x="0" y="11824"/>
                    <a:pt x="0" y="9949"/>
                  </a:cubicBezTo>
                  <a:lnTo>
                    <a:pt x="0" y="0"/>
                  </a:lnTo>
                  <a:lnTo>
                    <a:pt x="1957" y="0"/>
                  </a:lnTo>
                  <a:lnTo>
                    <a:pt x="1957" y="9949"/>
                  </a:lnTo>
                  <a:lnTo>
                    <a:pt x="1957" y="9949"/>
                  </a:lnTo>
                  <a:cubicBezTo>
                    <a:pt x="1957" y="10745"/>
                    <a:pt x="2605" y="11393"/>
                    <a:pt x="3401" y="11393"/>
                  </a:cubicBezTo>
                  <a:lnTo>
                    <a:pt x="3496" y="11393"/>
                  </a:lnTo>
                  <a:lnTo>
                    <a:pt x="3496" y="11393"/>
                  </a:lnTo>
                  <a:cubicBezTo>
                    <a:pt x="4292" y="11393"/>
                    <a:pt x="4940" y="10745"/>
                    <a:pt x="4940" y="9949"/>
                  </a:cubicBezTo>
                  <a:lnTo>
                    <a:pt x="4940" y="9515"/>
                  </a:lnTo>
                  <a:lnTo>
                    <a:pt x="4940" y="9515"/>
                  </a:lnTo>
                  <a:cubicBezTo>
                    <a:pt x="4940" y="7640"/>
                    <a:pt x="6466" y="6114"/>
                    <a:pt x="8342" y="6114"/>
                  </a:cubicBezTo>
                  <a:lnTo>
                    <a:pt x="8342" y="6114"/>
                  </a:lnTo>
                  <a:cubicBezTo>
                    <a:pt x="10218" y="6114"/>
                    <a:pt x="11744" y="7640"/>
                    <a:pt x="11744" y="9515"/>
                  </a:cubicBezTo>
                  <a:lnTo>
                    <a:pt x="11744" y="19577"/>
                  </a:lnTo>
                  <a:lnTo>
                    <a:pt x="9786" y="19577"/>
                  </a:lnTo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89" name="Freeform 5">
              <a:extLst>
                <a:ext uri="{FF2B5EF4-FFF2-40B4-BE49-F238E27FC236}">
                  <a16:creationId xmlns:a16="http://schemas.microsoft.com/office/drawing/2014/main" id="{D749D0C7-BF34-5644-8F7E-E64144823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3656" y="725960"/>
              <a:ext cx="6854909" cy="12291883"/>
            </a:xfrm>
            <a:custGeom>
              <a:avLst/>
              <a:gdLst>
                <a:gd name="T0" fmla="*/ 0 w 9787"/>
                <a:gd name="T1" fmla="*/ 0 h 17547"/>
                <a:gd name="T2" fmla="*/ 0 w 9787"/>
                <a:gd name="T3" fmla="*/ 8913 h 17547"/>
                <a:gd name="T4" fmla="*/ 0 w 9787"/>
                <a:gd name="T5" fmla="*/ 8913 h 17547"/>
                <a:gd name="T6" fmla="*/ 2422 w 9787"/>
                <a:gd name="T7" fmla="*/ 11336 h 17547"/>
                <a:gd name="T8" fmla="*/ 2517 w 9787"/>
                <a:gd name="T9" fmla="*/ 11336 h 17547"/>
                <a:gd name="T10" fmla="*/ 2517 w 9787"/>
                <a:gd name="T11" fmla="*/ 11336 h 17547"/>
                <a:gd name="T12" fmla="*/ 4940 w 9787"/>
                <a:gd name="T13" fmla="*/ 8913 h 17547"/>
                <a:gd name="T14" fmla="*/ 4940 w 9787"/>
                <a:gd name="T15" fmla="*/ 8479 h 17547"/>
                <a:gd name="T16" fmla="*/ 4940 w 9787"/>
                <a:gd name="T17" fmla="*/ 8479 h 17547"/>
                <a:gd name="T18" fmla="*/ 7363 w 9787"/>
                <a:gd name="T19" fmla="*/ 6056 h 17547"/>
                <a:gd name="T20" fmla="*/ 7363 w 9787"/>
                <a:gd name="T21" fmla="*/ 6056 h 17547"/>
                <a:gd name="T22" fmla="*/ 7363 w 9787"/>
                <a:gd name="T23" fmla="*/ 6056 h 17547"/>
                <a:gd name="T24" fmla="*/ 9786 w 9787"/>
                <a:gd name="T25" fmla="*/ 8479 h 17547"/>
                <a:gd name="T26" fmla="*/ 9786 w 9787"/>
                <a:gd name="T27" fmla="*/ 17546 h 17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87" h="17547">
                  <a:moveTo>
                    <a:pt x="0" y="0"/>
                  </a:moveTo>
                  <a:lnTo>
                    <a:pt x="0" y="8913"/>
                  </a:lnTo>
                  <a:lnTo>
                    <a:pt x="0" y="8913"/>
                  </a:lnTo>
                  <a:cubicBezTo>
                    <a:pt x="0" y="10251"/>
                    <a:pt x="1084" y="11336"/>
                    <a:pt x="2422" y="11336"/>
                  </a:cubicBezTo>
                  <a:lnTo>
                    <a:pt x="2517" y="11336"/>
                  </a:lnTo>
                  <a:lnTo>
                    <a:pt x="2517" y="11336"/>
                  </a:lnTo>
                  <a:cubicBezTo>
                    <a:pt x="3855" y="11336"/>
                    <a:pt x="4940" y="10251"/>
                    <a:pt x="4940" y="8913"/>
                  </a:cubicBezTo>
                  <a:lnTo>
                    <a:pt x="4940" y="8479"/>
                  </a:lnTo>
                  <a:lnTo>
                    <a:pt x="4940" y="8479"/>
                  </a:lnTo>
                  <a:cubicBezTo>
                    <a:pt x="4940" y="7142"/>
                    <a:pt x="6024" y="6056"/>
                    <a:pt x="7363" y="6056"/>
                  </a:cubicBezTo>
                  <a:lnTo>
                    <a:pt x="7363" y="6056"/>
                  </a:lnTo>
                  <a:lnTo>
                    <a:pt x="7363" y="6056"/>
                  </a:lnTo>
                  <a:cubicBezTo>
                    <a:pt x="8701" y="6056"/>
                    <a:pt x="9786" y="7142"/>
                    <a:pt x="9786" y="8479"/>
                  </a:cubicBezTo>
                  <a:lnTo>
                    <a:pt x="9786" y="17546"/>
                  </a:lnTo>
                </a:path>
              </a:pathLst>
            </a:custGeom>
            <a:noFill/>
            <a:ln w="38100" cap="flat">
              <a:solidFill>
                <a:schemeClr val="bg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274" name="Freeform 273">
            <a:extLst>
              <a:ext uri="{FF2B5EF4-FFF2-40B4-BE49-F238E27FC236}">
                <a16:creationId xmlns:a16="http://schemas.microsoft.com/office/drawing/2014/main" id="{86382094-E09E-0045-9F2B-81022A2AB8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76014" y="13203195"/>
            <a:ext cx="1281319" cy="385452"/>
          </a:xfrm>
          <a:custGeom>
            <a:avLst/>
            <a:gdLst>
              <a:gd name="connsiteX0" fmla="*/ 1149178 w 1281319"/>
              <a:gd name="connsiteY0" fmla="*/ 0 h 385452"/>
              <a:gd name="connsiteX1" fmla="*/ 1281319 w 1281319"/>
              <a:gd name="connsiteY1" fmla="*/ 0 h 385452"/>
              <a:gd name="connsiteX2" fmla="*/ 1281319 w 1281319"/>
              <a:gd name="connsiteY2" fmla="*/ 385452 h 385452"/>
              <a:gd name="connsiteX3" fmla="*/ 1149178 w 1281319"/>
              <a:gd name="connsiteY3" fmla="*/ 385452 h 385452"/>
              <a:gd name="connsiteX4" fmla="*/ 957648 w 1281319"/>
              <a:gd name="connsiteY4" fmla="*/ 0 h 385452"/>
              <a:gd name="connsiteX5" fmla="*/ 1089789 w 1281319"/>
              <a:gd name="connsiteY5" fmla="*/ 0 h 385452"/>
              <a:gd name="connsiteX6" fmla="*/ 1089789 w 1281319"/>
              <a:gd name="connsiteY6" fmla="*/ 385452 h 385452"/>
              <a:gd name="connsiteX7" fmla="*/ 957648 w 1281319"/>
              <a:gd name="connsiteY7" fmla="*/ 385452 h 385452"/>
              <a:gd name="connsiteX8" fmla="*/ 766119 w 1281319"/>
              <a:gd name="connsiteY8" fmla="*/ 0 h 385452"/>
              <a:gd name="connsiteX9" fmla="*/ 898260 w 1281319"/>
              <a:gd name="connsiteY9" fmla="*/ 0 h 385452"/>
              <a:gd name="connsiteX10" fmla="*/ 898260 w 1281319"/>
              <a:gd name="connsiteY10" fmla="*/ 385452 h 385452"/>
              <a:gd name="connsiteX11" fmla="*/ 766119 w 1281319"/>
              <a:gd name="connsiteY11" fmla="*/ 385452 h 385452"/>
              <a:gd name="connsiteX12" fmla="*/ 574589 w 1281319"/>
              <a:gd name="connsiteY12" fmla="*/ 0 h 385452"/>
              <a:gd name="connsiteX13" fmla="*/ 706730 w 1281319"/>
              <a:gd name="connsiteY13" fmla="*/ 0 h 385452"/>
              <a:gd name="connsiteX14" fmla="*/ 706730 w 1281319"/>
              <a:gd name="connsiteY14" fmla="*/ 385452 h 385452"/>
              <a:gd name="connsiteX15" fmla="*/ 574589 w 1281319"/>
              <a:gd name="connsiteY15" fmla="*/ 385452 h 385452"/>
              <a:gd name="connsiteX16" fmla="*/ 383059 w 1281319"/>
              <a:gd name="connsiteY16" fmla="*/ 0 h 385452"/>
              <a:gd name="connsiteX17" fmla="*/ 518275 w 1281319"/>
              <a:gd name="connsiteY17" fmla="*/ 0 h 385452"/>
              <a:gd name="connsiteX18" fmla="*/ 518275 w 1281319"/>
              <a:gd name="connsiteY18" fmla="*/ 385452 h 385452"/>
              <a:gd name="connsiteX19" fmla="*/ 383059 w 1281319"/>
              <a:gd name="connsiteY19" fmla="*/ 385452 h 385452"/>
              <a:gd name="connsiteX20" fmla="*/ 191529 w 1281319"/>
              <a:gd name="connsiteY20" fmla="*/ 0 h 385452"/>
              <a:gd name="connsiteX21" fmla="*/ 323670 w 1281319"/>
              <a:gd name="connsiteY21" fmla="*/ 0 h 385452"/>
              <a:gd name="connsiteX22" fmla="*/ 323670 w 1281319"/>
              <a:gd name="connsiteY22" fmla="*/ 385452 h 385452"/>
              <a:gd name="connsiteX23" fmla="*/ 191529 w 1281319"/>
              <a:gd name="connsiteY23" fmla="*/ 385452 h 385452"/>
              <a:gd name="connsiteX24" fmla="*/ 0 w 1281319"/>
              <a:gd name="connsiteY24" fmla="*/ 0 h 385452"/>
              <a:gd name="connsiteX25" fmla="*/ 135216 w 1281319"/>
              <a:gd name="connsiteY25" fmla="*/ 0 h 385452"/>
              <a:gd name="connsiteX26" fmla="*/ 135216 w 1281319"/>
              <a:gd name="connsiteY26" fmla="*/ 385452 h 385452"/>
              <a:gd name="connsiteX27" fmla="*/ 0 w 1281319"/>
              <a:gd name="connsiteY27" fmla="*/ 385452 h 38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81319" h="385452">
                <a:moveTo>
                  <a:pt x="1149178" y="0"/>
                </a:moveTo>
                <a:lnTo>
                  <a:pt x="1281319" y="0"/>
                </a:lnTo>
                <a:lnTo>
                  <a:pt x="1281319" y="385452"/>
                </a:lnTo>
                <a:lnTo>
                  <a:pt x="1149178" y="385452"/>
                </a:lnTo>
                <a:close/>
                <a:moveTo>
                  <a:pt x="957648" y="0"/>
                </a:moveTo>
                <a:lnTo>
                  <a:pt x="1089789" y="0"/>
                </a:lnTo>
                <a:lnTo>
                  <a:pt x="1089789" y="385452"/>
                </a:lnTo>
                <a:lnTo>
                  <a:pt x="957648" y="385452"/>
                </a:lnTo>
                <a:close/>
                <a:moveTo>
                  <a:pt x="766119" y="0"/>
                </a:moveTo>
                <a:lnTo>
                  <a:pt x="898260" y="0"/>
                </a:lnTo>
                <a:lnTo>
                  <a:pt x="898260" y="385452"/>
                </a:lnTo>
                <a:lnTo>
                  <a:pt x="766119" y="385452"/>
                </a:lnTo>
                <a:close/>
                <a:moveTo>
                  <a:pt x="574589" y="0"/>
                </a:moveTo>
                <a:lnTo>
                  <a:pt x="706730" y="0"/>
                </a:lnTo>
                <a:lnTo>
                  <a:pt x="706730" y="385452"/>
                </a:lnTo>
                <a:lnTo>
                  <a:pt x="574589" y="385452"/>
                </a:lnTo>
                <a:close/>
                <a:moveTo>
                  <a:pt x="383059" y="0"/>
                </a:moveTo>
                <a:lnTo>
                  <a:pt x="518275" y="0"/>
                </a:lnTo>
                <a:lnTo>
                  <a:pt x="518275" y="385452"/>
                </a:lnTo>
                <a:lnTo>
                  <a:pt x="383059" y="385452"/>
                </a:lnTo>
                <a:close/>
                <a:moveTo>
                  <a:pt x="191529" y="0"/>
                </a:moveTo>
                <a:lnTo>
                  <a:pt x="323670" y="0"/>
                </a:lnTo>
                <a:lnTo>
                  <a:pt x="323670" y="385452"/>
                </a:lnTo>
                <a:lnTo>
                  <a:pt x="191529" y="385452"/>
                </a:lnTo>
                <a:close/>
                <a:moveTo>
                  <a:pt x="0" y="0"/>
                </a:moveTo>
                <a:lnTo>
                  <a:pt x="135216" y="0"/>
                </a:lnTo>
                <a:lnTo>
                  <a:pt x="135216" y="385452"/>
                </a:lnTo>
                <a:lnTo>
                  <a:pt x="0" y="3854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73" name="Freeform 272">
            <a:extLst>
              <a:ext uri="{FF2B5EF4-FFF2-40B4-BE49-F238E27FC236}">
                <a16:creationId xmlns:a16="http://schemas.microsoft.com/office/drawing/2014/main" id="{1DEE8867-F24F-524A-B0BB-B01FDFE94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1105" y="169907"/>
            <a:ext cx="1284394" cy="385449"/>
          </a:xfrm>
          <a:custGeom>
            <a:avLst/>
            <a:gdLst>
              <a:gd name="connsiteX0" fmla="*/ 1149178 w 1284394"/>
              <a:gd name="connsiteY0" fmla="*/ 0 h 385449"/>
              <a:gd name="connsiteX1" fmla="*/ 1284394 w 1284394"/>
              <a:gd name="connsiteY1" fmla="*/ 0 h 385449"/>
              <a:gd name="connsiteX2" fmla="*/ 1284394 w 1284394"/>
              <a:gd name="connsiteY2" fmla="*/ 385449 h 385449"/>
              <a:gd name="connsiteX3" fmla="*/ 1149178 w 1284394"/>
              <a:gd name="connsiteY3" fmla="*/ 385449 h 385449"/>
              <a:gd name="connsiteX4" fmla="*/ 957648 w 1284394"/>
              <a:gd name="connsiteY4" fmla="*/ 0 h 385449"/>
              <a:gd name="connsiteX5" fmla="*/ 1092864 w 1284394"/>
              <a:gd name="connsiteY5" fmla="*/ 0 h 385449"/>
              <a:gd name="connsiteX6" fmla="*/ 1092864 w 1284394"/>
              <a:gd name="connsiteY6" fmla="*/ 385449 h 385449"/>
              <a:gd name="connsiteX7" fmla="*/ 957648 w 1284394"/>
              <a:gd name="connsiteY7" fmla="*/ 385449 h 385449"/>
              <a:gd name="connsiteX8" fmla="*/ 766119 w 1284394"/>
              <a:gd name="connsiteY8" fmla="*/ 0 h 385449"/>
              <a:gd name="connsiteX9" fmla="*/ 898257 w 1284394"/>
              <a:gd name="connsiteY9" fmla="*/ 0 h 385449"/>
              <a:gd name="connsiteX10" fmla="*/ 898257 w 1284394"/>
              <a:gd name="connsiteY10" fmla="*/ 385449 h 385449"/>
              <a:gd name="connsiteX11" fmla="*/ 766119 w 1284394"/>
              <a:gd name="connsiteY11" fmla="*/ 385449 h 385449"/>
              <a:gd name="connsiteX12" fmla="*/ 574589 w 1284394"/>
              <a:gd name="connsiteY12" fmla="*/ 0 h 385449"/>
              <a:gd name="connsiteX13" fmla="*/ 706727 w 1284394"/>
              <a:gd name="connsiteY13" fmla="*/ 0 h 385449"/>
              <a:gd name="connsiteX14" fmla="*/ 706727 w 1284394"/>
              <a:gd name="connsiteY14" fmla="*/ 385449 h 385449"/>
              <a:gd name="connsiteX15" fmla="*/ 574589 w 1284394"/>
              <a:gd name="connsiteY15" fmla="*/ 385449 h 385449"/>
              <a:gd name="connsiteX16" fmla="*/ 383059 w 1284394"/>
              <a:gd name="connsiteY16" fmla="*/ 0 h 385449"/>
              <a:gd name="connsiteX17" fmla="*/ 515197 w 1284394"/>
              <a:gd name="connsiteY17" fmla="*/ 0 h 385449"/>
              <a:gd name="connsiteX18" fmla="*/ 515197 w 1284394"/>
              <a:gd name="connsiteY18" fmla="*/ 385449 h 385449"/>
              <a:gd name="connsiteX19" fmla="*/ 383059 w 1284394"/>
              <a:gd name="connsiteY19" fmla="*/ 385449 h 385449"/>
              <a:gd name="connsiteX20" fmla="*/ 191530 w 1284394"/>
              <a:gd name="connsiteY20" fmla="*/ 0 h 385449"/>
              <a:gd name="connsiteX21" fmla="*/ 323668 w 1284394"/>
              <a:gd name="connsiteY21" fmla="*/ 0 h 385449"/>
              <a:gd name="connsiteX22" fmla="*/ 323668 w 1284394"/>
              <a:gd name="connsiteY22" fmla="*/ 385449 h 385449"/>
              <a:gd name="connsiteX23" fmla="*/ 191530 w 1284394"/>
              <a:gd name="connsiteY23" fmla="*/ 385449 h 385449"/>
              <a:gd name="connsiteX24" fmla="*/ 0 w 1284394"/>
              <a:gd name="connsiteY24" fmla="*/ 0 h 385449"/>
              <a:gd name="connsiteX25" fmla="*/ 132138 w 1284394"/>
              <a:gd name="connsiteY25" fmla="*/ 0 h 385449"/>
              <a:gd name="connsiteX26" fmla="*/ 132138 w 1284394"/>
              <a:gd name="connsiteY26" fmla="*/ 385449 h 385449"/>
              <a:gd name="connsiteX27" fmla="*/ 0 w 1284394"/>
              <a:gd name="connsiteY27" fmla="*/ 385449 h 385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84394" h="385449">
                <a:moveTo>
                  <a:pt x="1149178" y="0"/>
                </a:moveTo>
                <a:lnTo>
                  <a:pt x="1284394" y="0"/>
                </a:lnTo>
                <a:lnTo>
                  <a:pt x="1284394" y="385449"/>
                </a:lnTo>
                <a:lnTo>
                  <a:pt x="1149178" y="385449"/>
                </a:lnTo>
                <a:close/>
                <a:moveTo>
                  <a:pt x="957648" y="0"/>
                </a:moveTo>
                <a:lnTo>
                  <a:pt x="1092864" y="0"/>
                </a:lnTo>
                <a:lnTo>
                  <a:pt x="1092864" y="385449"/>
                </a:lnTo>
                <a:lnTo>
                  <a:pt x="957648" y="385449"/>
                </a:lnTo>
                <a:close/>
                <a:moveTo>
                  <a:pt x="766119" y="0"/>
                </a:moveTo>
                <a:lnTo>
                  <a:pt x="898257" y="0"/>
                </a:lnTo>
                <a:lnTo>
                  <a:pt x="898257" y="385449"/>
                </a:lnTo>
                <a:lnTo>
                  <a:pt x="766119" y="385449"/>
                </a:lnTo>
                <a:close/>
                <a:moveTo>
                  <a:pt x="574589" y="0"/>
                </a:moveTo>
                <a:lnTo>
                  <a:pt x="706727" y="0"/>
                </a:lnTo>
                <a:lnTo>
                  <a:pt x="706727" y="385449"/>
                </a:lnTo>
                <a:lnTo>
                  <a:pt x="574589" y="385449"/>
                </a:lnTo>
                <a:close/>
                <a:moveTo>
                  <a:pt x="383059" y="0"/>
                </a:moveTo>
                <a:lnTo>
                  <a:pt x="515197" y="0"/>
                </a:lnTo>
                <a:lnTo>
                  <a:pt x="515197" y="385449"/>
                </a:lnTo>
                <a:lnTo>
                  <a:pt x="383059" y="385449"/>
                </a:lnTo>
                <a:close/>
                <a:moveTo>
                  <a:pt x="191530" y="0"/>
                </a:moveTo>
                <a:lnTo>
                  <a:pt x="323668" y="0"/>
                </a:lnTo>
                <a:lnTo>
                  <a:pt x="323668" y="385449"/>
                </a:lnTo>
                <a:lnTo>
                  <a:pt x="191530" y="385449"/>
                </a:lnTo>
                <a:close/>
                <a:moveTo>
                  <a:pt x="0" y="0"/>
                </a:moveTo>
                <a:lnTo>
                  <a:pt x="132138" y="0"/>
                </a:lnTo>
                <a:lnTo>
                  <a:pt x="132138" y="385449"/>
                </a:lnTo>
                <a:lnTo>
                  <a:pt x="0" y="3854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B0B70DA-8E3E-2B4E-91F1-4AD0C816E922}"/>
              </a:ext>
            </a:extLst>
          </p:cNvPr>
          <p:cNvGrpSpPr/>
          <p:nvPr/>
        </p:nvGrpSpPr>
        <p:grpSpPr>
          <a:xfrm>
            <a:off x="14277261" y="9215052"/>
            <a:ext cx="645639" cy="1071948"/>
            <a:chOff x="12980163" y="11686404"/>
            <a:chExt cx="645639" cy="1071948"/>
          </a:xfrm>
        </p:grpSpPr>
        <p:sp>
          <p:nvSpPr>
            <p:cNvPr id="204" name="Freeform 20">
              <a:extLst>
                <a:ext uri="{FF2B5EF4-FFF2-40B4-BE49-F238E27FC236}">
                  <a16:creationId xmlns:a16="http://schemas.microsoft.com/office/drawing/2014/main" id="{70FBDDF2-001E-9D4D-86EF-34B50F7B9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45035" y="11686404"/>
              <a:ext cx="515895" cy="1071948"/>
            </a:xfrm>
            <a:custGeom>
              <a:avLst/>
              <a:gdLst>
                <a:gd name="T0" fmla="*/ 654 w 737"/>
                <a:gd name="T1" fmla="*/ 1530 h 1531"/>
                <a:gd name="T2" fmla="*/ 81 w 737"/>
                <a:gd name="T3" fmla="*/ 1530 h 1531"/>
                <a:gd name="T4" fmla="*/ 81 w 737"/>
                <a:gd name="T5" fmla="*/ 1530 h 1531"/>
                <a:gd name="T6" fmla="*/ 0 w 737"/>
                <a:gd name="T7" fmla="*/ 1449 h 1531"/>
                <a:gd name="T8" fmla="*/ 0 w 737"/>
                <a:gd name="T9" fmla="*/ 202 h 1531"/>
                <a:gd name="T10" fmla="*/ 0 w 737"/>
                <a:gd name="T11" fmla="*/ 202 h 1531"/>
                <a:gd name="T12" fmla="*/ 202 w 737"/>
                <a:gd name="T13" fmla="*/ 0 h 1531"/>
                <a:gd name="T14" fmla="*/ 533 w 737"/>
                <a:gd name="T15" fmla="*/ 0 h 1531"/>
                <a:gd name="T16" fmla="*/ 533 w 737"/>
                <a:gd name="T17" fmla="*/ 0 h 1531"/>
                <a:gd name="T18" fmla="*/ 736 w 737"/>
                <a:gd name="T19" fmla="*/ 202 h 1531"/>
                <a:gd name="T20" fmla="*/ 736 w 737"/>
                <a:gd name="T21" fmla="*/ 1449 h 1531"/>
                <a:gd name="T22" fmla="*/ 736 w 737"/>
                <a:gd name="T23" fmla="*/ 1449 h 1531"/>
                <a:gd name="T24" fmla="*/ 654 w 737"/>
                <a:gd name="T25" fmla="*/ 1530 h 1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7" h="1531">
                  <a:moveTo>
                    <a:pt x="654" y="1530"/>
                  </a:moveTo>
                  <a:lnTo>
                    <a:pt x="81" y="1530"/>
                  </a:lnTo>
                  <a:lnTo>
                    <a:pt x="81" y="1530"/>
                  </a:lnTo>
                  <a:cubicBezTo>
                    <a:pt x="37" y="1530"/>
                    <a:pt x="0" y="1493"/>
                    <a:pt x="0" y="1449"/>
                  </a:cubicBezTo>
                  <a:lnTo>
                    <a:pt x="0" y="202"/>
                  </a:lnTo>
                  <a:lnTo>
                    <a:pt x="0" y="202"/>
                  </a:lnTo>
                  <a:cubicBezTo>
                    <a:pt x="0" y="91"/>
                    <a:pt x="91" y="0"/>
                    <a:pt x="202" y="0"/>
                  </a:cubicBezTo>
                  <a:lnTo>
                    <a:pt x="533" y="0"/>
                  </a:lnTo>
                  <a:lnTo>
                    <a:pt x="533" y="0"/>
                  </a:lnTo>
                  <a:cubicBezTo>
                    <a:pt x="644" y="0"/>
                    <a:pt x="736" y="91"/>
                    <a:pt x="736" y="202"/>
                  </a:cubicBezTo>
                  <a:lnTo>
                    <a:pt x="736" y="1449"/>
                  </a:lnTo>
                  <a:lnTo>
                    <a:pt x="736" y="1449"/>
                  </a:lnTo>
                  <a:cubicBezTo>
                    <a:pt x="736" y="1493"/>
                    <a:pt x="699" y="1530"/>
                    <a:pt x="654" y="153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05" name="Freeform 21">
              <a:extLst>
                <a:ext uri="{FF2B5EF4-FFF2-40B4-BE49-F238E27FC236}">
                  <a16:creationId xmlns:a16="http://schemas.microsoft.com/office/drawing/2014/main" id="{7A461BFB-469D-D74C-B443-DF6B0572D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9017" y="11717296"/>
              <a:ext cx="451022" cy="973094"/>
            </a:xfrm>
            <a:custGeom>
              <a:avLst/>
              <a:gdLst>
                <a:gd name="T0" fmla="*/ 0 w 642"/>
                <a:gd name="T1" fmla="*/ 1380 h 1390"/>
                <a:gd name="T2" fmla="*/ 0 w 642"/>
                <a:gd name="T3" fmla="*/ 40 h 1390"/>
                <a:gd name="T4" fmla="*/ 0 w 642"/>
                <a:gd name="T5" fmla="*/ 40 h 1390"/>
                <a:gd name="T6" fmla="*/ 38 w 642"/>
                <a:gd name="T7" fmla="*/ 0 h 1390"/>
                <a:gd name="T8" fmla="*/ 603 w 642"/>
                <a:gd name="T9" fmla="*/ 0 h 1390"/>
                <a:gd name="T10" fmla="*/ 603 w 642"/>
                <a:gd name="T11" fmla="*/ 0 h 1390"/>
                <a:gd name="T12" fmla="*/ 641 w 642"/>
                <a:gd name="T13" fmla="*/ 40 h 1390"/>
                <a:gd name="T14" fmla="*/ 641 w 642"/>
                <a:gd name="T15" fmla="*/ 1380 h 1390"/>
                <a:gd name="T16" fmla="*/ 641 w 642"/>
                <a:gd name="T17" fmla="*/ 1380 h 1390"/>
                <a:gd name="T18" fmla="*/ 633 w 642"/>
                <a:gd name="T19" fmla="*/ 1389 h 1390"/>
                <a:gd name="T20" fmla="*/ 9 w 642"/>
                <a:gd name="T21" fmla="*/ 1389 h 1390"/>
                <a:gd name="T22" fmla="*/ 9 w 642"/>
                <a:gd name="T23" fmla="*/ 1389 h 1390"/>
                <a:gd name="T24" fmla="*/ 0 w 642"/>
                <a:gd name="T25" fmla="*/ 138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2" h="1390">
                  <a:moveTo>
                    <a:pt x="0" y="1380"/>
                  </a:moveTo>
                  <a:lnTo>
                    <a:pt x="0" y="40"/>
                  </a:lnTo>
                  <a:lnTo>
                    <a:pt x="0" y="40"/>
                  </a:lnTo>
                  <a:cubicBezTo>
                    <a:pt x="0" y="18"/>
                    <a:pt x="17" y="0"/>
                    <a:pt x="38" y="0"/>
                  </a:cubicBezTo>
                  <a:lnTo>
                    <a:pt x="603" y="0"/>
                  </a:lnTo>
                  <a:lnTo>
                    <a:pt x="603" y="0"/>
                  </a:lnTo>
                  <a:cubicBezTo>
                    <a:pt x="625" y="0"/>
                    <a:pt x="641" y="18"/>
                    <a:pt x="641" y="40"/>
                  </a:cubicBezTo>
                  <a:lnTo>
                    <a:pt x="641" y="1380"/>
                  </a:lnTo>
                  <a:lnTo>
                    <a:pt x="641" y="1380"/>
                  </a:lnTo>
                  <a:cubicBezTo>
                    <a:pt x="641" y="1385"/>
                    <a:pt x="638" y="1389"/>
                    <a:pt x="633" y="1389"/>
                  </a:cubicBezTo>
                  <a:lnTo>
                    <a:pt x="9" y="1389"/>
                  </a:lnTo>
                  <a:lnTo>
                    <a:pt x="9" y="1389"/>
                  </a:lnTo>
                  <a:cubicBezTo>
                    <a:pt x="4" y="1389"/>
                    <a:pt x="0" y="1385"/>
                    <a:pt x="0" y="138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06" name="Freeform 22">
              <a:extLst>
                <a:ext uri="{FF2B5EF4-FFF2-40B4-BE49-F238E27FC236}">
                  <a16:creationId xmlns:a16="http://schemas.microsoft.com/office/drawing/2014/main" id="{0AAFA804-8CC6-B448-99BC-905E9DF2B6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80163" y="12054016"/>
              <a:ext cx="98854" cy="40160"/>
            </a:xfrm>
            <a:custGeom>
              <a:avLst/>
              <a:gdLst>
                <a:gd name="T0" fmla="*/ 112 w 141"/>
                <a:gd name="T1" fmla="*/ 55 h 56"/>
                <a:gd name="T2" fmla="*/ 28 w 141"/>
                <a:gd name="T3" fmla="*/ 55 h 56"/>
                <a:gd name="T4" fmla="*/ 28 w 141"/>
                <a:gd name="T5" fmla="*/ 55 h 56"/>
                <a:gd name="T6" fmla="*/ 0 w 141"/>
                <a:gd name="T7" fmla="*/ 27 h 56"/>
                <a:gd name="T8" fmla="*/ 0 w 141"/>
                <a:gd name="T9" fmla="*/ 27 h 56"/>
                <a:gd name="T10" fmla="*/ 28 w 141"/>
                <a:gd name="T11" fmla="*/ 0 h 56"/>
                <a:gd name="T12" fmla="*/ 112 w 141"/>
                <a:gd name="T13" fmla="*/ 0 h 56"/>
                <a:gd name="T14" fmla="*/ 112 w 141"/>
                <a:gd name="T15" fmla="*/ 0 h 56"/>
                <a:gd name="T16" fmla="*/ 140 w 141"/>
                <a:gd name="T17" fmla="*/ 27 h 56"/>
                <a:gd name="T18" fmla="*/ 140 w 141"/>
                <a:gd name="T19" fmla="*/ 27 h 56"/>
                <a:gd name="T20" fmla="*/ 112 w 141"/>
                <a:gd name="T21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56">
                  <a:moveTo>
                    <a:pt x="112" y="55"/>
                  </a:moveTo>
                  <a:lnTo>
                    <a:pt x="28" y="55"/>
                  </a:lnTo>
                  <a:lnTo>
                    <a:pt x="28" y="55"/>
                  </a:lnTo>
                  <a:cubicBezTo>
                    <a:pt x="13" y="55"/>
                    <a:pt x="0" y="42"/>
                    <a:pt x="0" y="27"/>
                  </a:cubicBezTo>
                  <a:lnTo>
                    <a:pt x="0" y="27"/>
                  </a:lnTo>
                  <a:cubicBezTo>
                    <a:pt x="0" y="12"/>
                    <a:pt x="13" y="0"/>
                    <a:pt x="28" y="0"/>
                  </a:cubicBezTo>
                  <a:lnTo>
                    <a:pt x="112" y="0"/>
                  </a:lnTo>
                  <a:lnTo>
                    <a:pt x="112" y="0"/>
                  </a:lnTo>
                  <a:cubicBezTo>
                    <a:pt x="127" y="0"/>
                    <a:pt x="140" y="12"/>
                    <a:pt x="140" y="27"/>
                  </a:cubicBezTo>
                  <a:lnTo>
                    <a:pt x="140" y="27"/>
                  </a:lnTo>
                  <a:cubicBezTo>
                    <a:pt x="140" y="42"/>
                    <a:pt x="127" y="55"/>
                    <a:pt x="112" y="55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07" name="Freeform 23">
              <a:extLst>
                <a:ext uri="{FF2B5EF4-FFF2-40B4-BE49-F238E27FC236}">
                  <a16:creationId xmlns:a16="http://schemas.microsoft.com/office/drawing/2014/main" id="{A4627AFB-2DAD-7843-AE74-B38AF0204D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6948" y="12054016"/>
              <a:ext cx="98854" cy="40160"/>
            </a:xfrm>
            <a:custGeom>
              <a:avLst/>
              <a:gdLst>
                <a:gd name="T0" fmla="*/ 112 w 141"/>
                <a:gd name="T1" fmla="*/ 55 h 56"/>
                <a:gd name="T2" fmla="*/ 28 w 141"/>
                <a:gd name="T3" fmla="*/ 55 h 56"/>
                <a:gd name="T4" fmla="*/ 28 w 141"/>
                <a:gd name="T5" fmla="*/ 55 h 56"/>
                <a:gd name="T6" fmla="*/ 0 w 141"/>
                <a:gd name="T7" fmla="*/ 27 h 56"/>
                <a:gd name="T8" fmla="*/ 0 w 141"/>
                <a:gd name="T9" fmla="*/ 27 h 56"/>
                <a:gd name="T10" fmla="*/ 28 w 141"/>
                <a:gd name="T11" fmla="*/ 0 h 56"/>
                <a:gd name="T12" fmla="*/ 112 w 141"/>
                <a:gd name="T13" fmla="*/ 0 h 56"/>
                <a:gd name="T14" fmla="*/ 112 w 141"/>
                <a:gd name="T15" fmla="*/ 0 h 56"/>
                <a:gd name="T16" fmla="*/ 140 w 141"/>
                <a:gd name="T17" fmla="*/ 27 h 56"/>
                <a:gd name="T18" fmla="*/ 140 w 141"/>
                <a:gd name="T19" fmla="*/ 27 h 56"/>
                <a:gd name="T20" fmla="*/ 112 w 141"/>
                <a:gd name="T21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56">
                  <a:moveTo>
                    <a:pt x="112" y="55"/>
                  </a:moveTo>
                  <a:lnTo>
                    <a:pt x="28" y="55"/>
                  </a:lnTo>
                  <a:lnTo>
                    <a:pt x="28" y="55"/>
                  </a:lnTo>
                  <a:cubicBezTo>
                    <a:pt x="13" y="55"/>
                    <a:pt x="0" y="42"/>
                    <a:pt x="0" y="27"/>
                  </a:cubicBezTo>
                  <a:lnTo>
                    <a:pt x="0" y="27"/>
                  </a:lnTo>
                  <a:cubicBezTo>
                    <a:pt x="0" y="12"/>
                    <a:pt x="13" y="0"/>
                    <a:pt x="28" y="0"/>
                  </a:cubicBezTo>
                  <a:lnTo>
                    <a:pt x="112" y="0"/>
                  </a:lnTo>
                  <a:lnTo>
                    <a:pt x="112" y="0"/>
                  </a:lnTo>
                  <a:cubicBezTo>
                    <a:pt x="127" y="0"/>
                    <a:pt x="140" y="12"/>
                    <a:pt x="140" y="27"/>
                  </a:cubicBezTo>
                  <a:lnTo>
                    <a:pt x="140" y="27"/>
                  </a:lnTo>
                  <a:cubicBezTo>
                    <a:pt x="140" y="42"/>
                    <a:pt x="127" y="55"/>
                    <a:pt x="112" y="55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08" name="Freeform 24">
              <a:extLst>
                <a:ext uri="{FF2B5EF4-FFF2-40B4-BE49-F238E27FC236}">
                  <a16:creationId xmlns:a16="http://schemas.microsoft.com/office/drawing/2014/main" id="{EAB78CD2-45D7-9646-B0B7-B84C6C679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0640" y="12708924"/>
              <a:ext cx="108123" cy="30892"/>
            </a:xfrm>
            <a:custGeom>
              <a:avLst/>
              <a:gdLst>
                <a:gd name="T0" fmla="*/ 132 w 155"/>
                <a:gd name="T1" fmla="*/ 0 h 44"/>
                <a:gd name="T2" fmla="*/ 22 w 155"/>
                <a:gd name="T3" fmla="*/ 0 h 44"/>
                <a:gd name="T4" fmla="*/ 22 w 155"/>
                <a:gd name="T5" fmla="*/ 0 h 44"/>
                <a:gd name="T6" fmla="*/ 0 w 155"/>
                <a:gd name="T7" fmla="*/ 22 h 44"/>
                <a:gd name="T8" fmla="*/ 0 w 155"/>
                <a:gd name="T9" fmla="*/ 22 h 44"/>
                <a:gd name="T10" fmla="*/ 22 w 155"/>
                <a:gd name="T11" fmla="*/ 43 h 44"/>
                <a:gd name="T12" fmla="*/ 132 w 155"/>
                <a:gd name="T13" fmla="*/ 43 h 44"/>
                <a:gd name="T14" fmla="*/ 132 w 155"/>
                <a:gd name="T15" fmla="*/ 43 h 44"/>
                <a:gd name="T16" fmla="*/ 154 w 155"/>
                <a:gd name="T17" fmla="*/ 22 h 44"/>
                <a:gd name="T18" fmla="*/ 154 w 155"/>
                <a:gd name="T19" fmla="*/ 22 h 44"/>
                <a:gd name="T20" fmla="*/ 132 w 155"/>
                <a:gd name="T2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5" h="44">
                  <a:moveTo>
                    <a:pt x="132" y="0"/>
                  </a:moveTo>
                  <a:lnTo>
                    <a:pt x="22" y="0"/>
                  </a:lnTo>
                  <a:lnTo>
                    <a:pt x="22" y="0"/>
                  </a:lnTo>
                  <a:cubicBezTo>
                    <a:pt x="10" y="0"/>
                    <a:pt x="0" y="9"/>
                    <a:pt x="0" y="22"/>
                  </a:cubicBezTo>
                  <a:lnTo>
                    <a:pt x="0" y="22"/>
                  </a:lnTo>
                  <a:cubicBezTo>
                    <a:pt x="0" y="34"/>
                    <a:pt x="10" y="43"/>
                    <a:pt x="22" y="43"/>
                  </a:cubicBezTo>
                  <a:lnTo>
                    <a:pt x="132" y="43"/>
                  </a:lnTo>
                  <a:lnTo>
                    <a:pt x="132" y="43"/>
                  </a:lnTo>
                  <a:cubicBezTo>
                    <a:pt x="144" y="43"/>
                    <a:pt x="154" y="34"/>
                    <a:pt x="154" y="22"/>
                  </a:cubicBezTo>
                  <a:lnTo>
                    <a:pt x="154" y="22"/>
                  </a:lnTo>
                  <a:cubicBezTo>
                    <a:pt x="154" y="9"/>
                    <a:pt x="144" y="0"/>
                    <a:pt x="132" y="0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09" name="Freeform 25">
              <a:extLst>
                <a:ext uri="{FF2B5EF4-FFF2-40B4-BE49-F238E27FC236}">
                  <a16:creationId xmlns:a16="http://schemas.microsoft.com/office/drawing/2014/main" id="{D9803A11-C9EC-2744-A67D-B2797AFD90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97202" y="12708924"/>
              <a:ext cx="108123" cy="30892"/>
            </a:xfrm>
            <a:custGeom>
              <a:avLst/>
              <a:gdLst>
                <a:gd name="T0" fmla="*/ 132 w 155"/>
                <a:gd name="T1" fmla="*/ 0 h 44"/>
                <a:gd name="T2" fmla="*/ 22 w 155"/>
                <a:gd name="T3" fmla="*/ 0 h 44"/>
                <a:gd name="T4" fmla="*/ 22 w 155"/>
                <a:gd name="T5" fmla="*/ 0 h 44"/>
                <a:gd name="T6" fmla="*/ 0 w 155"/>
                <a:gd name="T7" fmla="*/ 22 h 44"/>
                <a:gd name="T8" fmla="*/ 0 w 155"/>
                <a:gd name="T9" fmla="*/ 22 h 44"/>
                <a:gd name="T10" fmla="*/ 22 w 155"/>
                <a:gd name="T11" fmla="*/ 43 h 44"/>
                <a:gd name="T12" fmla="*/ 132 w 155"/>
                <a:gd name="T13" fmla="*/ 43 h 44"/>
                <a:gd name="T14" fmla="*/ 132 w 155"/>
                <a:gd name="T15" fmla="*/ 43 h 44"/>
                <a:gd name="T16" fmla="*/ 154 w 155"/>
                <a:gd name="T17" fmla="*/ 22 h 44"/>
                <a:gd name="T18" fmla="*/ 154 w 155"/>
                <a:gd name="T19" fmla="*/ 22 h 44"/>
                <a:gd name="T20" fmla="*/ 132 w 155"/>
                <a:gd name="T2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5" h="44">
                  <a:moveTo>
                    <a:pt x="132" y="0"/>
                  </a:moveTo>
                  <a:lnTo>
                    <a:pt x="22" y="0"/>
                  </a:lnTo>
                  <a:lnTo>
                    <a:pt x="22" y="0"/>
                  </a:lnTo>
                  <a:cubicBezTo>
                    <a:pt x="10" y="0"/>
                    <a:pt x="0" y="9"/>
                    <a:pt x="0" y="22"/>
                  </a:cubicBezTo>
                  <a:lnTo>
                    <a:pt x="0" y="22"/>
                  </a:lnTo>
                  <a:cubicBezTo>
                    <a:pt x="0" y="34"/>
                    <a:pt x="10" y="43"/>
                    <a:pt x="22" y="43"/>
                  </a:cubicBezTo>
                  <a:lnTo>
                    <a:pt x="132" y="43"/>
                  </a:lnTo>
                  <a:lnTo>
                    <a:pt x="132" y="43"/>
                  </a:lnTo>
                  <a:cubicBezTo>
                    <a:pt x="144" y="43"/>
                    <a:pt x="154" y="34"/>
                    <a:pt x="154" y="22"/>
                  </a:cubicBezTo>
                  <a:lnTo>
                    <a:pt x="154" y="22"/>
                  </a:lnTo>
                  <a:cubicBezTo>
                    <a:pt x="154" y="9"/>
                    <a:pt x="144" y="0"/>
                    <a:pt x="132" y="0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0" name="Freeform 26">
              <a:extLst>
                <a:ext uri="{FF2B5EF4-FFF2-40B4-BE49-F238E27FC236}">
                  <a16:creationId xmlns:a16="http://schemas.microsoft.com/office/drawing/2014/main" id="{8D100058-E5D7-0E47-AE05-C941CB33E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37363" y="11742009"/>
              <a:ext cx="77229" cy="105032"/>
            </a:xfrm>
            <a:custGeom>
              <a:avLst/>
              <a:gdLst>
                <a:gd name="T0" fmla="*/ 83 w 109"/>
                <a:gd name="T1" fmla="*/ 149 h 150"/>
                <a:gd name="T2" fmla="*/ 83 w 109"/>
                <a:gd name="T3" fmla="*/ 149 h 150"/>
                <a:gd name="T4" fmla="*/ 57 w 109"/>
                <a:gd name="T5" fmla="*/ 123 h 150"/>
                <a:gd name="T6" fmla="*/ 57 w 109"/>
                <a:gd name="T7" fmla="*/ 123 h 150"/>
                <a:gd name="T8" fmla="*/ 16 w 109"/>
                <a:gd name="T9" fmla="*/ 50 h 150"/>
                <a:gd name="T10" fmla="*/ 16 w 109"/>
                <a:gd name="T11" fmla="*/ 50 h 150"/>
                <a:gd name="T12" fmla="*/ 6 w 109"/>
                <a:gd name="T13" fmla="*/ 16 h 150"/>
                <a:gd name="T14" fmla="*/ 6 w 109"/>
                <a:gd name="T15" fmla="*/ 16 h 150"/>
                <a:gd name="T16" fmla="*/ 42 w 109"/>
                <a:gd name="T17" fmla="*/ 7 h 150"/>
                <a:gd name="T18" fmla="*/ 42 w 109"/>
                <a:gd name="T19" fmla="*/ 7 h 150"/>
                <a:gd name="T20" fmla="*/ 108 w 109"/>
                <a:gd name="T21" fmla="*/ 123 h 150"/>
                <a:gd name="T22" fmla="*/ 108 w 109"/>
                <a:gd name="T23" fmla="*/ 123 h 150"/>
                <a:gd name="T24" fmla="*/ 83 w 109"/>
                <a:gd name="T25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" h="150">
                  <a:moveTo>
                    <a:pt x="83" y="149"/>
                  </a:moveTo>
                  <a:lnTo>
                    <a:pt x="83" y="149"/>
                  </a:lnTo>
                  <a:cubicBezTo>
                    <a:pt x="69" y="149"/>
                    <a:pt x="57" y="137"/>
                    <a:pt x="57" y="123"/>
                  </a:cubicBezTo>
                  <a:lnTo>
                    <a:pt x="57" y="123"/>
                  </a:lnTo>
                  <a:cubicBezTo>
                    <a:pt x="57" y="93"/>
                    <a:pt x="42" y="66"/>
                    <a:pt x="16" y="50"/>
                  </a:cubicBezTo>
                  <a:lnTo>
                    <a:pt x="16" y="50"/>
                  </a:lnTo>
                  <a:cubicBezTo>
                    <a:pt x="4" y="43"/>
                    <a:pt x="0" y="28"/>
                    <a:pt x="6" y="16"/>
                  </a:cubicBezTo>
                  <a:lnTo>
                    <a:pt x="6" y="16"/>
                  </a:lnTo>
                  <a:cubicBezTo>
                    <a:pt x="13" y="4"/>
                    <a:pt x="29" y="0"/>
                    <a:pt x="42" y="7"/>
                  </a:cubicBezTo>
                  <a:lnTo>
                    <a:pt x="42" y="7"/>
                  </a:lnTo>
                  <a:cubicBezTo>
                    <a:pt x="83" y="31"/>
                    <a:pt x="108" y="75"/>
                    <a:pt x="108" y="123"/>
                  </a:cubicBezTo>
                  <a:lnTo>
                    <a:pt x="108" y="123"/>
                  </a:lnTo>
                  <a:cubicBezTo>
                    <a:pt x="108" y="137"/>
                    <a:pt x="97" y="149"/>
                    <a:pt x="83" y="149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1" name="Freeform 27">
              <a:extLst>
                <a:ext uri="{FF2B5EF4-FFF2-40B4-BE49-F238E27FC236}">
                  <a16:creationId xmlns:a16="http://schemas.microsoft.com/office/drawing/2014/main" id="{87ED248E-F05D-7D4D-962F-013AD52598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4462" y="11738919"/>
              <a:ext cx="77231" cy="105032"/>
            </a:xfrm>
            <a:custGeom>
              <a:avLst/>
              <a:gdLst>
                <a:gd name="T0" fmla="*/ 26 w 110"/>
                <a:gd name="T1" fmla="*/ 150 h 151"/>
                <a:gd name="T2" fmla="*/ 26 w 110"/>
                <a:gd name="T3" fmla="*/ 150 h 151"/>
                <a:gd name="T4" fmla="*/ 0 w 110"/>
                <a:gd name="T5" fmla="*/ 124 h 151"/>
                <a:gd name="T6" fmla="*/ 0 w 110"/>
                <a:gd name="T7" fmla="*/ 124 h 151"/>
                <a:gd name="T8" fmla="*/ 67 w 110"/>
                <a:gd name="T9" fmla="*/ 8 h 151"/>
                <a:gd name="T10" fmla="*/ 67 w 110"/>
                <a:gd name="T11" fmla="*/ 8 h 151"/>
                <a:gd name="T12" fmla="*/ 102 w 110"/>
                <a:gd name="T13" fmla="*/ 17 h 151"/>
                <a:gd name="T14" fmla="*/ 102 w 110"/>
                <a:gd name="T15" fmla="*/ 17 h 151"/>
                <a:gd name="T16" fmla="*/ 92 w 110"/>
                <a:gd name="T17" fmla="*/ 51 h 151"/>
                <a:gd name="T18" fmla="*/ 92 w 110"/>
                <a:gd name="T19" fmla="*/ 51 h 151"/>
                <a:gd name="T20" fmla="*/ 51 w 110"/>
                <a:gd name="T21" fmla="*/ 124 h 151"/>
                <a:gd name="T22" fmla="*/ 51 w 110"/>
                <a:gd name="T23" fmla="*/ 124 h 151"/>
                <a:gd name="T24" fmla="*/ 26 w 110"/>
                <a:gd name="T25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151">
                  <a:moveTo>
                    <a:pt x="26" y="150"/>
                  </a:moveTo>
                  <a:lnTo>
                    <a:pt x="26" y="150"/>
                  </a:lnTo>
                  <a:cubicBezTo>
                    <a:pt x="11" y="150"/>
                    <a:pt x="0" y="138"/>
                    <a:pt x="0" y="124"/>
                  </a:cubicBezTo>
                  <a:lnTo>
                    <a:pt x="0" y="124"/>
                  </a:lnTo>
                  <a:cubicBezTo>
                    <a:pt x="0" y="76"/>
                    <a:pt x="26" y="32"/>
                    <a:pt x="67" y="8"/>
                  </a:cubicBezTo>
                  <a:lnTo>
                    <a:pt x="67" y="8"/>
                  </a:lnTo>
                  <a:cubicBezTo>
                    <a:pt x="80" y="0"/>
                    <a:pt x="95" y="4"/>
                    <a:pt x="102" y="17"/>
                  </a:cubicBezTo>
                  <a:lnTo>
                    <a:pt x="102" y="17"/>
                  </a:lnTo>
                  <a:cubicBezTo>
                    <a:pt x="109" y="29"/>
                    <a:pt x="105" y="44"/>
                    <a:pt x="92" y="51"/>
                  </a:cubicBezTo>
                  <a:lnTo>
                    <a:pt x="92" y="51"/>
                  </a:lnTo>
                  <a:cubicBezTo>
                    <a:pt x="67" y="67"/>
                    <a:pt x="51" y="94"/>
                    <a:pt x="51" y="124"/>
                  </a:cubicBezTo>
                  <a:lnTo>
                    <a:pt x="51" y="124"/>
                  </a:lnTo>
                  <a:cubicBezTo>
                    <a:pt x="51" y="138"/>
                    <a:pt x="39" y="150"/>
                    <a:pt x="26" y="15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2" name="Freeform 28">
              <a:extLst>
                <a:ext uri="{FF2B5EF4-FFF2-40B4-BE49-F238E27FC236}">
                  <a16:creationId xmlns:a16="http://schemas.microsoft.com/office/drawing/2014/main" id="{0AB66054-202A-BF47-9545-1557B84B0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6818" y="12001501"/>
              <a:ext cx="392328" cy="639461"/>
            </a:xfrm>
            <a:custGeom>
              <a:avLst/>
              <a:gdLst>
                <a:gd name="T0" fmla="*/ 38 w 558"/>
                <a:gd name="T1" fmla="*/ 913 h 914"/>
                <a:gd name="T2" fmla="*/ 38 w 558"/>
                <a:gd name="T3" fmla="*/ 913 h 914"/>
                <a:gd name="T4" fmla="*/ 8 w 558"/>
                <a:gd name="T5" fmla="*/ 892 h 914"/>
                <a:gd name="T6" fmla="*/ 8 w 558"/>
                <a:gd name="T7" fmla="*/ 890 h 914"/>
                <a:gd name="T8" fmla="*/ 0 w 558"/>
                <a:gd name="T9" fmla="*/ 833 h 914"/>
                <a:gd name="T10" fmla="*/ 0 w 558"/>
                <a:gd name="T11" fmla="*/ 99 h 914"/>
                <a:gd name="T12" fmla="*/ 0 w 558"/>
                <a:gd name="T13" fmla="*/ 99 h 914"/>
                <a:gd name="T14" fmla="*/ 135 w 558"/>
                <a:gd name="T15" fmla="*/ 0 h 914"/>
                <a:gd name="T16" fmla="*/ 422 w 558"/>
                <a:gd name="T17" fmla="*/ 0 h 914"/>
                <a:gd name="T18" fmla="*/ 422 w 558"/>
                <a:gd name="T19" fmla="*/ 0 h 914"/>
                <a:gd name="T20" fmla="*/ 557 w 558"/>
                <a:gd name="T21" fmla="*/ 99 h 914"/>
                <a:gd name="T22" fmla="*/ 557 w 558"/>
                <a:gd name="T23" fmla="*/ 833 h 914"/>
                <a:gd name="T24" fmla="*/ 549 w 558"/>
                <a:gd name="T25" fmla="*/ 890 h 914"/>
                <a:gd name="T26" fmla="*/ 549 w 558"/>
                <a:gd name="T27" fmla="*/ 892 h 914"/>
                <a:gd name="T28" fmla="*/ 549 w 558"/>
                <a:gd name="T29" fmla="*/ 892 h 914"/>
                <a:gd name="T30" fmla="*/ 519 w 558"/>
                <a:gd name="T31" fmla="*/ 913 h 914"/>
                <a:gd name="T32" fmla="*/ 38 w 558"/>
                <a:gd name="T33" fmla="*/ 913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8" h="914">
                  <a:moveTo>
                    <a:pt x="38" y="913"/>
                  </a:moveTo>
                  <a:lnTo>
                    <a:pt x="38" y="913"/>
                  </a:lnTo>
                  <a:cubicBezTo>
                    <a:pt x="22" y="913"/>
                    <a:pt x="8" y="903"/>
                    <a:pt x="8" y="892"/>
                  </a:cubicBezTo>
                  <a:lnTo>
                    <a:pt x="8" y="890"/>
                  </a:lnTo>
                  <a:lnTo>
                    <a:pt x="0" y="833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45"/>
                    <a:pt x="61" y="0"/>
                    <a:pt x="135" y="0"/>
                  </a:cubicBezTo>
                  <a:lnTo>
                    <a:pt x="422" y="0"/>
                  </a:lnTo>
                  <a:lnTo>
                    <a:pt x="422" y="0"/>
                  </a:lnTo>
                  <a:cubicBezTo>
                    <a:pt x="497" y="0"/>
                    <a:pt x="557" y="45"/>
                    <a:pt x="557" y="99"/>
                  </a:cubicBezTo>
                  <a:lnTo>
                    <a:pt x="557" y="833"/>
                  </a:lnTo>
                  <a:lnTo>
                    <a:pt x="549" y="890"/>
                  </a:lnTo>
                  <a:lnTo>
                    <a:pt x="549" y="892"/>
                  </a:lnTo>
                  <a:lnTo>
                    <a:pt x="549" y="892"/>
                  </a:lnTo>
                  <a:cubicBezTo>
                    <a:pt x="549" y="903"/>
                    <a:pt x="536" y="913"/>
                    <a:pt x="519" y="913"/>
                  </a:cubicBezTo>
                  <a:lnTo>
                    <a:pt x="38" y="913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3" name="Freeform 29">
              <a:extLst>
                <a:ext uri="{FF2B5EF4-FFF2-40B4-BE49-F238E27FC236}">
                  <a16:creationId xmlns:a16="http://schemas.microsoft.com/office/drawing/2014/main" id="{25DA6A45-7488-1148-98AE-E771464A9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04526" y="12001501"/>
              <a:ext cx="194620" cy="639461"/>
            </a:xfrm>
            <a:custGeom>
              <a:avLst/>
              <a:gdLst>
                <a:gd name="T0" fmla="*/ 143 w 279"/>
                <a:gd name="T1" fmla="*/ 0 h 914"/>
                <a:gd name="T2" fmla="*/ 0 w 279"/>
                <a:gd name="T3" fmla="*/ 0 h 914"/>
                <a:gd name="T4" fmla="*/ 0 w 279"/>
                <a:gd name="T5" fmla="*/ 913 h 914"/>
                <a:gd name="T6" fmla="*/ 240 w 279"/>
                <a:gd name="T7" fmla="*/ 913 h 914"/>
                <a:gd name="T8" fmla="*/ 240 w 279"/>
                <a:gd name="T9" fmla="*/ 913 h 914"/>
                <a:gd name="T10" fmla="*/ 270 w 279"/>
                <a:gd name="T11" fmla="*/ 892 h 914"/>
                <a:gd name="T12" fmla="*/ 270 w 279"/>
                <a:gd name="T13" fmla="*/ 890 h 914"/>
                <a:gd name="T14" fmla="*/ 278 w 279"/>
                <a:gd name="T15" fmla="*/ 833 h 914"/>
                <a:gd name="T16" fmla="*/ 278 w 279"/>
                <a:gd name="T17" fmla="*/ 99 h 914"/>
                <a:gd name="T18" fmla="*/ 278 w 279"/>
                <a:gd name="T19" fmla="*/ 99 h 914"/>
                <a:gd name="T20" fmla="*/ 143 w 279"/>
                <a:gd name="T21" fmla="*/ 0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9" h="914">
                  <a:moveTo>
                    <a:pt x="143" y="0"/>
                  </a:moveTo>
                  <a:lnTo>
                    <a:pt x="0" y="0"/>
                  </a:lnTo>
                  <a:lnTo>
                    <a:pt x="0" y="913"/>
                  </a:lnTo>
                  <a:lnTo>
                    <a:pt x="240" y="913"/>
                  </a:lnTo>
                  <a:lnTo>
                    <a:pt x="240" y="913"/>
                  </a:lnTo>
                  <a:cubicBezTo>
                    <a:pt x="257" y="913"/>
                    <a:pt x="270" y="903"/>
                    <a:pt x="270" y="892"/>
                  </a:cubicBezTo>
                  <a:lnTo>
                    <a:pt x="270" y="890"/>
                  </a:lnTo>
                  <a:lnTo>
                    <a:pt x="278" y="833"/>
                  </a:lnTo>
                  <a:lnTo>
                    <a:pt x="278" y="99"/>
                  </a:lnTo>
                  <a:lnTo>
                    <a:pt x="278" y="99"/>
                  </a:lnTo>
                  <a:cubicBezTo>
                    <a:pt x="278" y="45"/>
                    <a:pt x="218" y="0"/>
                    <a:pt x="143" y="0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4" name="Freeform 30">
              <a:extLst>
                <a:ext uri="{FF2B5EF4-FFF2-40B4-BE49-F238E27FC236}">
                  <a16:creationId xmlns:a16="http://schemas.microsoft.com/office/drawing/2014/main" id="{E557FAF1-5791-9D4F-A8BA-EA953A19F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6979" y="12171405"/>
              <a:ext cx="315097" cy="315097"/>
            </a:xfrm>
            <a:custGeom>
              <a:avLst/>
              <a:gdLst>
                <a:gd name="T0" fmla="*/ 28 w 449"/>
                <a:gd name="T1" fmla="*/ 0 h 449"/>
                <a:gd name="T2" fmla="*/ 419 w 449"/>
                <a:gd name="T3" fmla="*/ 0 h 449"/>
                <a:gd name="T4" fmla="*/ 419 w 449"/>
                <a:gd name="T5" fmla="*/ 0 h 449"/>
                <a:gd name="T6" fmla="*/ 448 w 449"/>
                <a:gd name="T7" fmla="*/ 28 h 449"/>
                <a:gd name="T8" fmla="*/ 448 w 449"/>
                <a:gd name="T9" fmla="*/ 420 h 449"/>
                <a:gd name="T10" fmla="*/ 448 w 449"/>
                <a:gd name="T11" fmla="*/ 420 h 449"/>
                <a:gd name="T12" fmla="*/ 419 w 449"/>
                <a:gd name="T13" fmla="*/ 448 h 449"/>
                <a:gd name="T14" fmla="*/ 28 w 449"/>
                <a:gd name="T15" fmla="*/ 448 h 449"/>
                <a:gd name="T16" fmla="*/ 28 w 449"/>
                <a:gd name="T17" fmla="*/ 448 h 449"/>
                <a:gd name="T18" fmla="*/ 0 w 449"/>
                <a:gd name="T19" fmla="*/ 420 h 449"/>
                <a:gd name="T20" fmla="*/ 0 w 449"/>
                <a:gd name="T21" fmla="*/ 28 h 449"/>
                <a:gd name="T22" fmla="*/ 0 w 449"/>
                <a:gd name="T23" fmla="*/ 28 h 449"/>
                <a:gd name="T24" fmla="*/ 28 w 449"/>
                <a:gd name="T25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9" h="449">
                  <a:moveTo>
                    <a:pt x="28" y="0"/>
                  </a:moveTo>
                  <a:lnTo>
                    <a:pt x="419" y="0"/>
                  </a:lnTo>
                  <a:lnTo>
                    <a:pt x="419" y="0"/>
                  </a:lnTo>
                  <a:cubicBezTo>
                    <a:pt x="435" y="0"/>
                    <a:pt x="448" y="13"/>
                    <a:pt x="448" y="28"/>
                  </a:cubicBezTo>
                  <a:lnTo>
                    <a:pt x="448" y="420"/>
                  </a:lnTo>
                  <a:lnTo>
                    <a:pt x="448" y="420"/>
                  </a:lnTo>
                  <a:cubicBezTo>
                    <a:pt x="448" y="436"/>
                    <a:pt x="435" y="448"/>
                    <a:pt x="419" y="448"/>
                  </a:cubicBezTo>
                  <a:lnTo>
                    <a:pt x="28" y="448"/>
                  </a:lnTo>
                  <a:lnTo>
                    <a:pt x="28" y="448"/>
                  </a:lnTo>
                  <a:cubicBezTo>
                    <a:pt x="13" y="448"/>
                    <a:pt x="0" y="436"/>
                    <a:pt x="0" y="420"/>
                  </a:cubicBezTo>
                  <a:lnTo>
                    <a:pt x="0" y="28"/>
                  </a:lnTo>
                  <a:lnTo>
                    <a:pt x="0" y="28"/>
                  </a:lnTo>
                  <a:cubicBezTo>
                    <a:pt x="0" y="13"/>
                    <a:pt x="13" y="0"/>
                    <a:pt x="28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5" name="Freeform 31">
              <a:extLst>
                <a:ext uri="{FF2B5EF4-FFF2-40B4-BE49-F238E27FC236}">
                  <a16:creationId xmlns:a16="http://schemas.microsoft.com/office/drawing/2014/main" id="{D68FB21F-E514-E946-9966-A4A9A3111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03730" y="12007679"/>
              <a:ext cx="80319" cy="225510"/>
            </a:xfrm>
            <a:custGeom>
              <a:avLst/>
              <a:gdLst>
                <a:gd name="T0" fmla="*/ 86 w 116"/>
                <a:gd name="T1" fmla="*/ 321 h 322"/>
                <a:gd name="T2" fmla="*/ 0 w 116"/>
                <a:gd name="T3" fmla="*/ 8 h 322"/>
                <a:gd name="T4" fmla="*/ 30 w 116"/>
                <a:gd name="T5" fmla="*/ 0 h 322"/>
                <a:gd name="T6" fmla="*/ 115 w 116"/>
                <a:gd name="T7" fmla="*/ 313 h 322"/>
                <a:gd name="T8" fmla="*/ 86 w 116"/>
                <a:gd name="T9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2">
                  <a:moveTo>
                    <a:pt x="86" y="321"/>
                  </a:moveTo>
                  <a:lnTo>
                    <a:pt x="0" y="8"/>
                  </a:lnTo>
                  <a:lnTo>
                    <a:pt x="30" y="0"/>
                  </a:lnTo>
                  <a:lnTo>
                    <a:pt x="115" y="313"/>
                  </a:lnTo>
                  <a:lnTo>
                    <a:pt x="86" y="321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6" name="Freeform 32">
              <a:extLst>
                <a:ext uri="{FF2B5EF4-FFF2-40B4-BE49-F238E27FC236}">
                  <a16:creationId xmlns:a16="http://schemas.microsoft.com/office/drawing/2014/main" id="{43523492-02A8-A349-B438-FFACB215D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9017" y="12433987"/>
              <a:ext cx="123568" cy="172995"/>
            </a:xfrm>
            <a:custGeom>
              <a:avLst/>
              <a:gdLst>
                <a:gd name="T0" fmla="*/ 43 w 176"/>
                <a:gd name="T1" fmla="*/ 246 h 247"/>
                <a:gd name="T2" fmla="*/ 0 w 176"/>
                <a:gd name="T3" fmla="*/ 220 h 247"/>
                <a:gd name="T4" fmla="*/ 131 w 176"/>
                <a:gd name="T5" fmla="*/ 0 h 247"/>
                <a:gd name="T6" fmla="*/ 175 w 176"/>
                <a:gd name="T7" fmla="*/ 25 h 247"/>
                <a:gd name="T8" fmla="*/ 43 w 176"/>
                <a:gd name="T9" fmla="*/ 24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247">
                  <a:moveTo>
                    <a:pt x="43" y="246"/>
                  </a:moveTo>
                  <a:lnTo>
                    <a:pt x="0" y="220"/>
                  </a:lnTo>
                  <a:lnTo>
                    <a:pt x="131" y="0"/>
                  </a:lnTo>
                  <a:lnTo>
                    <a:pt x="175" y="25"/>
                  </a:lnTo>
                  <a:lnTo>
                    <a:pt x="43" y="24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7" name="Freeform 33">
              <a:extLst>
                <a:ext uri="{FF2B5EF4-FFF2-40B4-BE49-F238E27FC236}">
                  <a16:creationId xmlns:a16="http://schemas.microsoft.com/office/drawing/2014/main" id="{67F7F77E-9032-AE46-96B0-2E5B5DE8C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21916" y="12007679"/>
              <a:ext cx="80319" cy="225510"/>
            </a:xfrm>
            <a:custGeom>
              <a:avLst/>
              <a:gdLst>
                <a:gd name="T0" fmla="*/ 30 w 116"/>
                <a:gd name="T1" fmla="*/ 321 h 322"/>
                <a:gd name="T2" fmla="*/ 0 w 116"/>
                <a:gd name="T3" fmla="*/ 313 h 322"/>
                <a:gd name="T4" fmla="*/ 86 w 116"/>
                <a:gd name="T5" fmla="*/ 0 h 322"/>
                <a:gd name="T6" fmla="*/ 115 w 116"/>
                <a:gd name="T7" fmla="*/ 8 h 322"/>
                <a:gd name="T8" fmla="*/ 30 w 116"/>
                <a:gd name="T9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2">
                  <a:moveTo>
                    <a:pt x="30" y="321"/>
                  </a:moveTo>
                  <a:lnTo>
                    <a:pt x="0" y="313"/>
                  </a:lnTo>
                  <a:lnTo>
                    <a:pt x="86" y="0"/>
                  </a:lnTo>
                  <a:lnTo>
                    <a:pt x="115" y="8"/>
                  </a:lnTo>
                  <a:lnTo>
                    <a:pt x="30" y="321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8" name="Freeform 34">
              <a:extLst>
                <a:ext uri="{FF2B5EF4-FFF2-40B4-BE49-F238E27FC236}">
                  <a16:creationId xmlns:a16="http://schemas.microsoft.com/office/drawing/2014/main" id="{DF37ECCF-593D-374A-85EC-68337A9C2E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06471" y="12433987"/>
              <a:ext cx="123568" cy="172995"/>
            </a:xfrm>
            <a:custGeom>
              <a:avLst/>
              <a:gdLst>
                <a:gd name="T0" fmla="*/ 131 w 177"/>
                <a:gd name="T1" fmla="*/ 246 h 247"/>
                <a:gd name="T2" fmla="*/ 0 w 177"/>
                <a:gd name="T3" fmla="*/ 25 h 247"/>
                <a:gd name="T4" fmla="*/ 43 w 177"/>
                <a:gd name="T5" fmla="*/ 0 h 247"/>
                <a:gd name="T6" fmla="*/ 176 w 177"/>
                <a:gd name="T7" fmla="*/ 220 h 247"/>
                <a:gd name="T8" fmla="*/ 131 w 177"/>
                <a:gd name="T9" fmla="*/ 24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47">
                  <a:moveTo>
                    <a:pt x="131" y="246"/>
                  </a:moveTo>
                  <a:lnTo>
                    <a:pt x="0" y="25"/>
                  </a:lnTo>
                  <a:lnTo>
                    <a:pt x="43" y="0"/>
                  </a:lnTo>
                  <a:lnTo>
                    <a:pt x="176" y="220"/>
                  </a:lnTo>
                  <a:lnTo>
                    <a:pt x="131" y="246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19" name="Freeform 35">
              <a:extLst>
                <a:ext uri="{FF2B5EF4-FFF2-40B4-BE49-F238E27FC236}">
                  <a16:creationId xmlns:a16="http://schemas.microsoft.com/office/drawing/2014/main" id="{A1A5C402-0245-0841-A81F-F82E783B7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6406" y="12214654"/>
              <a:ext cx="213153" cy="71052"/>
            </a:xfrm>
            <a:custGeom>
              <a:avLst/>
              <a:gdLst>
                <a:gd name="T0" fmla="*/ 252 w 304"/>
                <a:gd name="T1" fmla="*/ 102 h 103"/>
                <a:gd name="T2" fmla="*/ 52 w 304"/>
                <a:gd name="T3" fmla="*/ 102 h 103"/>
                <a:gd name="T4" fmla="*/ 52 w 304"/>
                <a:gd name="T5" fmla="*/ 102 h 103"/>
                <a:gd name="T6" fmla="*/ 0 w 304"/>
                <a:gd name="T7" fmla="*/ 51 h 103"/>
                <a:gd name="T8" fmla="*/ 0 w 304"/>
                <a:gd name="T9" fmla="*/ 51 h 103"/>
                <a:gd name="T10" fmla="*/ 52 w 304"/>
                <a:gd name="T11" fmla="*/ 0 h 103"/>
                <a:gd name="T12" fmla="*/ 252 w 304"/>
                <a:gd name="T13" fmla="*/ 0 h 103"/>
                <a:gd name="T14" fmla="*/ 252 w 304"/>
                <a:gd name="T15" fmla="*/ 0 h 103"/>
                <a:gd name="T16" fmla="*/ 303 w 304"/>
                <a:gd name="T17" fmla="*/ 51 h 103"/>
                <a:gd name="T18" fmla="*/ 303 w 304"/>
                <a:gd name="T19" fmla="*/ 51 h 103"/>
                <a:gd name="T20" fmla="*/ 252 w 304"/>
                <a:gd name="T21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4" h="103">
                  <a:moveTo>
                    <a:pt x="252" y="102"/>
                  </a:moveTo>
                  <a:lnTo>
                    <a:pt x="52" y="102"/>
                  </a:lnTo>
                  <a:lnTo>
                    <a:pt x="52" y="102"/>
                  </a:lnTo>
                  <a:cubicBezTo>
                    <a:pt x="23" y="102"/>
                    <a:pt x="0" y="79"/>
                    <a:pt x="0" y="51"/>
                  </a:cubicBezTo>
                  <a:lnTo>
                    <a:pt x="0" y="51"/>
                  </a:lnTo>
                  <a:cubicBezTo>
                    <a:pt x="0" y="23"/>
                    <a:pt x="23" y="0"/>
                    <a:pt x="52" y="0"/>
                  </a:cubicBezTo>
                  <a:lnTo>
                    <a:pt x="252" y="0"/>
                  </a:lnTo>
                  <a:lnTo>
                    <a:pt x="252" y="0"/>
                  </a:lnTo>
                  <a:cubicBezTo>
                    <a:pt x="280" y="0"/>
                    <a:pt x="303" y="23"/>
                    <a:pt x="303" y="51"/>
                  </a:cubicBezTo>
                  <a:lnTo>
                    <a:pt x="303" y="51"/>
                  </a:lnTo>
                  <a:cubicBezTo>
                    <a:pt x="303" y="79"/>
                    <a:pt x="280" y="102"/>
                    <a:pt x="252" y="102"/>
                  </a:cubicBezTo>
                </a:path>
              </a:pathLst>
            </a:custGeom>
            <a:solidFill>
              <a:srgbClr val="42283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0" name="Freeform 36">
              <a:extLst>
                <a:ext uri="{FF2B5EF4-FFF2-40B4-BE49-F238E27FC236}">
                  <a16:creationId xmlns:a16="http://schemas.microsoft.com/office/drawing/2014/main" id="{A61EA08C-DE41-ED4A-866A-2DC6C0521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6406" y="12359847"/>
              <a:ext cx="213153" cy="71050"/>
            </a:xfrm>
            <a:custGeom>
              <a:avLst/>
              <a:gdLst>
                <a:gd name="T0" fmla="*/ 252 w 304"/>
                <a:gd name="T1" fmla="*/ 102 h 103"/>
                <a:gd name="T2" fmla="*/ 52 w 304"/>
                <a:gd name="T3" fmla="*/ 102 h 103"/>
                <a:gd name="T4" fmla="*/ 52 w 304"/>
                <a:gd name="T5" fmla="*/ 102 h 103"/>
                <a:gd name="T6" fmla="*/ 0 w 304"/>
                <a:gd name="T7" fmla="*/ 51 h 103"/>
                <a:gd name="T8" fmla="*/ 0 w 304"/>
                <a:gd name="T9" fmla="*/ 51 h 103"/>
                <a:gd name="T10" fmla="*/ 52 w 304"/>
                <a:gd name="T11" fmla="*/ 0 h 103"/>
                <a:gd name="T12" fmla="*/ 252 w 304"/>
                <a:gd name="T13" fmla="*/ 0 h 103"/>
                <a:gd name="T14" fmla="*/ 252 w 304"/>
                <a:gd name="T15" fmla="*/ 0 h 103"/>
                <a:gd name="T16" fmla="*/ 303 w 304"/>
                <a:gd name="T17" fmla="*/ 51 h 103"/>
                <a:gd name="T18" fmla="*/ 303 w 304"/>
                <a:gd name="T19" fmla="*/ 51 h 103"/>
                <a:gd name="T20" fmla="*/ 252 w 304"/>
                <a:gd name="T21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4" h="103">
                  <a:moveTo>
                    <a:pt x="252" y="102"/>
                  </a:moveTo>
                  <a:lnTo>
                    <a:pt x="52" y="102"/>
                  </a:lnTo>
                  <a:lnTo>
                    <a:pt x="52" y="102"/>
                  </a:lnTo>
                  <a:cubicBezTo>
                    <a:pt x="23" y="102"/>
                    <a:pt x="0" y="79"/>
                    <a:pt x="0" y="51"/>
                  </a:cubicBezTo>
                  <a:lnTo>
                    <a:pt x="0" y="51"/>
                  </a:lnTo>
                  <a:cubicBezTo>
                    <a:pt x="0" y="23"/>
                    <a:pt x="23" y="0"/>
                    <a:pt x="52" y="0"/>
                  </a:cubicBezTo>
                  <a:lnTo>
                    <a:pt x="252" y="0"/>
                  </a:lnTo>
                  <a:lnTo>
                    <a:pt x="252" y="0"/>
                  </a:lnTo>
                  <a:cubicBezTo>
                    <a:pt x="280" y="0"/>
                    <a:pt x="303" y="23"/>
                    <a:pt x="303" y="51"/>
                  </a:cubicBezTo>
                  <a:lnTo>
                    <a:pt x="303" y="51"/>
                  </a:lnTo>
                  <a:cubicBezTo>
                    <a:pt x="303" y="79"/>
                    <a:pt x="280" y="102"/>
                    <a:pt x="252" y="102"/>
                  </a:cubicBezTo>
                </a:path>
              </a:pathLst>
            </a:custGeom>
            <a:solidFill>
              <a:srgbClr val="42283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4C75C69-DB7C-E14E-84D4-20B9B29E6E44}"/>
              </a:ext>
            </a:extLst>
          </p:cNvPr>
          <p:cNvGrpSpPr/>
          <p:nvPr/>
        </p:nvGrpSpPr>
        <p:grpSpPr>
          <a:xfrm>
            <a:off x="12009796" y="4284706"/>
            <a:ext cx="1071948" cy="645640"/>
            <a:chOff x="10712698" y="4284706"/>
            <a:chExt cx="1071948" cy="645640"/>
          </a:xfrm>
        </p:grpSpPr>
        <p:sp>
          <p:nvSpPr>
            <p:cNvPr id="221" name="Freeform 37">
              <a:extLst>
                <a:ext uri="{FF2B5EF4-FFF2-40B4-BE49-F238E27FC236}">
                  <a16:creationId xmlns:a16="http://schemas.microsoft.com/office/drawing/2014/main" id="{60404714-26A3-EB41-A426-CA32ED62E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2698" y="4349578"/>
              <a:ext cx="1071948" cy="515896"/>
            </a:xfrm>
            <a:custGeom>
              <a:avLst/>
              <a:gdLst>
                <a:gd name="T0" fmla="*/ 1530 w 1531"/>
                <a:gd name="T1" fmla="*/ 81 h 737"/>
                <a:gd name="T2" fmla="*/ 1530 w 1531"/>
                <a:gd name="T3" fmla="*/ 655 h 737"/>
                <a:gd name="T4" fmla="*/ 1530 w 1531"/>
                <a:gd name="T5" fmla="*/ 655 h 737"/>
                <a:gd name="T6" fmla="*/ 1449 w 1531"/>
                <a:gd name="T7" fmla="*/ 736 h 737"/>
                <a:gd name="T8" fmla="*/ 202 w 1531"/>
                <a:gd name="T9" fmla="*/ 736 h 737"/>
                <a:gd name="T10" fmla="*/ 202 w 1531"/>
                <a:gd name="T11" fmla="*/ 736 h 737"/>
                <a:gd name="T12" fmla="*/ 0 w 1531"/>
                <a:gd name="T13" fmla="*/ 534 h 737"/>
                <a:gd name="T14" fmla="*/ 0 w 1531"/>
                <a:gd name="T15" fmla="*/ 203 h 737"/>
                <a:gd name="T16" fmla="*/ 0 w 1531"/>
                <a:gd name="T17" fmla="*/ 203 h 737"/>
                <a:gd name="T18" fmla="*/ 202 w 1531"/>
                <a:gd name="T19" fmla="*/ 0 h 737"/>
                <a:gd name="T20" fmla="*/ 1449 w 1531"/>
                <a:gd name="T21" fmla="*/ 0 h 737"/>
                <a:gd name="T22" fmla="*/ 1449 w 1531"/>
                <a:gd name="T23" fmla="*/ 0 h 737"/>
                <a:gd name="T24" fmla="*/ 1530 w 1531"/>
                <a:gd name="T25" fmla="*/ 81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1" h="737">
                  <a:moveTo>
                    <a:pt x="1530" y="81"/>
                  </a:moveTo>
                  <a:lnTo>
                    <a:pt x="1530" y="655"/>
                  </a:lnTo>
                  <a:lnTo>
                    <a:pt x="1530" y="655"/>
                  </a:lnTo>
                  <a:cubicBezTo>
                    <a:pt x="1530" y="699"/>
                    <a:pt x="1494" y="736"/>
                    <a:pt x="1449" y="736"/>
                  </a:cubicBezTo>
                  <a:lnTo>
                    <a:pt x="202" y="736"/>
                  </a:lnTo>
                  <a:lnTo>
                    <a:pt x="202" y="736"/>
                  </a:lnTo>
                  <a:cubicBezTo>
                    <a:pt x="91" y="736"/>
                    <a:pt x="0" y="645"/>
                    <a:pt x="0" y="534"/>
                  </a:cubicBezTo>
                  <a:lnTo>
                    <a:pt x="0" y="203"/>
                  </a:lnTo>
                  <a:lnTo>
                    <a:pt x="0" y="203"/>
                  </a:lnTo>
                  <a:cubicBezTo>
                    <a:pt x="0" y="91"/>
                    <a:pt x="91" y="0"/>
                    <a:pt x="202" y="0"/>
                  </a:cubicBezTo>
                  <a:lnTo>
                    <a:pt x="1449" y="0"/>
                  </a:lnTo>
                  <a:lnTo>
                    <a:pt x="1449" y="0"/>
                  </a:lnTo>
                  <a:cubicBezTo>
                    <a:pt x="1494" y="0"/>
                    <a:pt x="1530" y="37"/>
                    <a:pt x="1530" y="81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2" name="Freeform 38">
              <a:extLst>
                <a:ext uri="{FF2B5EF4-FFF2-40B4-BE49-F238E27FC236}">
                  <a16:creationId xmlns:a16="http://schemas.microsoft.com/office/drawing/2014/main" id="{5FE77355-60F5-BA43-A80D-286428319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43590" y="4380470"/>
              <a:ext cx="973093" cy="451022"/>
            </a:xfrm>
            <a:custGeom>
              <a:avLst/>
              <a:gdLst>
                <a:gd name="T0" fmla="*/ 1389 w 1390"/>
                <a:gd name="T1" fmla="*/ 608 h 643"/>
                <a:gd name="T2" fmla="*/ 1389 w 1390"/>
                <a:gd name="T3" fmla="*/ 608 h 643"/>
                <a:gd name="T4" fmla="*/ 1354 w 1390"/>
                <a:gd name="T5" fmla="*/ 642 h 643"/>
                <a:gd name="T6" fmla="*/ 155 w 1390"/>
                <a:gd name="T7" fmla="*/ 642 h 643"/>
                <a:gd name="T8" fmla="*/ 155 w 1390"/>
                <a:gd name="T9" fmla="*/ 642 h 643"/>
                <a:gd name="T10" fmla="*/ 0 w 1390"/>
                <a:gd name="T11" fmla="*/ 487 h 643"/>
                <a:gd name="T12" fmla="*/ 0 w 1390"/>
                <a:gd name="T13" fmla="*/ 156 h 643"/>
                <a:gd name="T14" fmla="*/ 0 w 1390"/>
                <a:gd name="T15" fmla="*/ 156 h 643"/>
                <a:gd name="T16" fmla="*/ 155 w 1390"/>
                <a:gd name="T17" fmla="*/ 0 h 643"/>
                <a:gd name="T18" fmla="*/ 1354 w 1390"/>
                <a:gd name="T19" fmla="*/ 0 h 643"/>
                <a:gd name="T20" fmla="*/ 1354 w 1390"/>
                <a:gd name="T21" fmla="*/ 0 h 643"/>
                <a:gd name="T22" fmla="*/ 1389 w 1390"/>
                <a:gd name="T23" fmla="*/ 34 h 643"/>
                <a:gd name="T24" fmla="*/ 1389 w 1390"/>
                <a:gd name="T25" fmla="*/ 608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0" h="643">
                  <a:moveTo>
                    <a:pt x="1389" y="608"/>
                  </a:moveTo>
                  <a:lnTo>
                    <a:pt x="1389" y="608"/>
                  </a:lnTo>
                  <a:cubicBezTo>
                    <a:pt x="1389" y="627"/>
                    <a:pt x="1373" y="642"/>
                    <a:pt x="1354" y="642"/>
                  </a:cubicBezTo>
                  <a:lnTo>
                    <a:pt x="155" y="642"/>
                  </a:lnTo>
                  <a:lnTo>
                    <a:pt x="155" y="642"/>
                  </a:lnTo>
                  <a:cubicBezTo>
                    <a:pt x="70" y="642"/>
                    <a:pt x="0" y="572"/>
                    <a:pt x="0" y="487"/>
                  </a:cubicBezTo>
                  <a:lnTo>
                    <a:pt x="0" y="156"/>
                  </a:lnTo>
                  <a:lnTo>
                    <a:pt x="0" y="156"/>
                  </a:lnTo>
                  <a:cubicBezTo>
                    <a:pt x="0" y="70"/>
                    <a:pt x="70" y="0"/>
                    <a:pt x="155" y="0"/>
                  </a:cubicBezTo>
                  <a:lnTo>
                    <a:pt x="1354" y="0"/>
                  </a:lnTo>
                  <a:lnTo>
                    <a:pt x="1354" y="0"/>
                  </a:lnTo>
                  <a:cubicBezTo>
                    <a:pt x="1373" y="0"/>
                    <a:pt x="1389" y="16"/>
                    <a:pt x="1389" y="34"/>
                  </a:cubicBezTo>
                  <a:lnTo>
                    <a:pt x="1389" y="608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3" name="Freeform 39">
              <a:extLst>
                <a:ext uri="{FF2B5EF4-FFF2-40B4-BE49-F238E27FC236}">
                  <a16:creationId xmlns:a16="http://schemas.microsoft.com/office/drawing/2014/main" id="{E1ED036B-A0B5-2649-BEAC-92ACE21EE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64067" y="4689389"/>
              <a:ext cx="200798" cy="83409"/>
            </a:xfrm>
            <a:custGeom>
              <a:avLst/>
              <a:gdLst>
                <a:gd name="T0" fmla="*/ 284 w 288"/>
                <a:gd name="T1" fmla="*/ 103 h 118"/>
                <a:gd name="T2" fmla="*/ 284 w 288"/>
                <a:gd name="T3" fmla="*/ 103 h 118"/>
                <a:gd name="T4" fmla="*/ 284 w 288"/>
                <a:gd name="T5" fmla="*/ 103 h 118"/>
                <a:gd name="T6" fmla="*/ 263 w 288"/>
                <a:gd name="T7" fmla="*/ 114 h 118"/>
                <a:gd name="T8" fmla="*/ 13 w 288"/>
                <a:gd name="T9" fmla="*/ 35 h 118"/>
                <a:gd name="T10" fmla="*/ 13 w 288"/>
                <a:gd name="T11" fmla="*/ 35 h 118"/>
                <a:gd name="T12" fmla="*/ 2 w 288"/>
                <a:gd name="T13" fmla="*/ 14 h 118"/>
                <a:gd name="T14" fmla="*/ 2 w 288"/>
                <a:gd name="T15" fmla="*/ 14 h 118"/>
                <a:gd name="T16" fmla="*/ 23 w 288"/>
                <a:gd name="T17" fmla="*/ 3 h 118"/>
                <a:gd name="T18" fmla="*/ 273 w 288"/>
                <a:gd name="T19" fmla="*/ 81 h 118"/>
                <a:gd name="T20" fmla="*/ 273 w 288"/>
                <a:gd name="T21" fmla="*/ 81 h 118"/>
                <a:gd name="T22" fmla="*/ 284 w 288"/>
                <a:gd name="T23" fmla="*/ 10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18">
                  <a:moveTo>
                    <a:pt x="284" y="103"/>
                  </a:moveTo>
                  <a:lnTo>
                    <a:pt x="284" y="103"/>
                  </a:lnTo>
                  <a:lnTo>
                    <a:pt x="284" y="103"/>
                  </a:lnTo>
                  <a:cubicBezTo>
                    <a:pt x="282" y="112"/>
                    <a:pt x="272" y="117"/>
                    <a:pt x="263" y="114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4" y="32"/>
                    <a:pt x="0" y="23"/>
                    <a:pt x="2" y="14"/>
                  </a:cubicBezTo>
                  <a:lnTo>
                    <a:pt x="2" y="14"/>
                  </a:lnTo>
                  <a:cubicBezTo>
                    <a:pt x="5" y="5"/>
                    <a:pt x="15" y="0"/>
                    <a:pt x="23" y="3"/>
                  </a:cubicBezTo>
                  <a:lnTo>
                    <a:pt x="273" y="81"/>
                  </a:lnTo>
                  <a:lnTo>
                    <a:pt x="273" y="81"/>
                  </a:lnTo>
                  <a:cubicBezTo>
                    <a:pt x="282" y="85"/>
                    <a:pt x="287" y="94"/>
                    <a:pt x="284" y="103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4" name="Freeform 40">
              <a:extLst>
                <a:ext uri="{FF2B5EF4-FFF2-40B4-BE49-F238E27FC236}">
                  <a16:creationId xmlns:a16="http://schemas.microsoft.com/office/drawing/2014/main" id="{4367C4BB-4C81-854C-9D1D-CDE83F6FF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64067" y="4445344"/>
              <a:ext cx="200798" cy="83407"/>
            </a:xfrm>
            <a:custGeom>
              <a:avLst/>
              <a:gdLst>
                <a:gd name="T0" fmla="*/ 284 w 288"/>
                <a:gd name="T1" fmla="*/ 14 h 118"/>
                <a:gd name="T2" fmla="*/ 284 w 288"/>
                <a:gd name="T3" fmla="*/ 14 h 118"/>
                <a:gd name="T4" fmla="*/ 284 w 288"/>
                <a:gd name="T5" fmla="*/ 14 h 118"/>
                <a:gd name="T6" fmla="*/ 263 w 288"/>
                <a:gd name="T7" fmla="*/ 3 h 118"/>
                <a:gd name="T8" fmla="*/ 13 w 288"/>
                <a:gd name="T9" fmla="*/ 82 h 118"/>
                <a:gd name="T10" fmla="*/ 13 w 288"/>
                <a:gd name="T11" fmla="*/ 82 h 118"/>
                <a:gd name="T12" fmla="*/ 2 w 288"/>
                <a:gd name="T13" fmla="*/ 103 h 118"/>
                <a:gd name="T14" fmla="*/ 2 w 288"/>
                <a:gd name="T15" fmla="*/ 103 h 118"/>
                <a:gd name="T16" fmla="*/ 23 w 288"/>
                <a:gd name="T17" fmla="*/ 114 h 118"/>
                <a:gd name="T18" fmla="*/ 273 w 288"/>
                <a:gd name="T19" fmla="*/ 35 h 118"/>
                <a:gd name="T20" fmla="*/ 273 w 288"/>
                <a:gd name="T21" fmla="*/ 35 h 118"/>
                <a:gd name="T22" fmla="*/ 284 w 288"/>
                <a:gd name="T23" fmla="*/ 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118">
                  <a:moveTo>
                    <a:pt x="284" y="14"/>
                  </a:moveTo>
                  <a:lnTo>
                    <a:pt x="284" y="14"/>
                  </a:lnTo>
                  <a:lnTo>
                    <a:pt x="284" y="14"/>
                  </a:lnTo>
                  <a:cubicBezTo>
                    <a:pt x="282" y="5"/>
                    <a:pt x="272" y="0"/>
                    <a:pt x="263" y="3"/>
                  </a:cubicBezTo>
                  <a:lnTo>
                    <a:pt x="13" y="82"/>
                  </a:lnTo>
                  <a:lnTo>
                    <a:pt x="13" y="82"/>
                  </a:lnTo>
                  <a:cubicBezTo>
                    <a:pt x="4" y="84"/>
                    <a:pt x="0" y="94"/>
                    <a:pt x="2" y="103"/>
                  </a:cubicBezTo>
                  <a:lnTo>
                    <a:pt x="2" y="103"/>
                  </a:lnTo>
                  <a:cubicBezTo>
                    <a:pt x="5" y="112"/>
                    <a:pt x="15" y="117"/>
                    <a:pt x="23" y="114"/>
                  </a:cubicBezTo>
                  <a:lnTo>
                    <a:pt x="273" y="35"/>
                  </a:lnTo>
                  <a:lnTo>
                    <a:pt x="273" y="35"/>
                  </a:lnTo>
                  <a:cubicBezTo>
                    <a:pt x="282" y="33"/>
                    <a:pt x="287" y="23"/>
                    <a:pt x="284" y="14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5" name="Freeform 41">
              <a:extLst>
                <a:ext uri="{FF2B5EF4-FFF2-40B4-BE49-F238E27FC236}">
                  <a16:creationId xmlns:a16="http://schemas.microsoft.com/office/drawing/2014/main" id="{59EF9DE6-E6F1-9446-806E-4BA33CF1F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80311" y="4831492"/>
              <a:ext cx="37070" cy="98854"/>
            </a:xfrm>
            <a:custGeom>
              <a:avLst/>
              <a:gdLst>
                <a:gd name="T0" fmla="*/ 54 w 55"/>
                <a:gd name="T1" fmla="*/ 28 h 141"/>
                <a:gd name="T2" fmla="*/ 54 w 55"/>
                <a:gd name="T3" fmla="*/ 112 h 141"/>
                <a:gd name="T4" fmla="*/ 54 w 55"/>
                <a:gd name="T5" fmla="*/ 112 h 141"/>
                <a:gd name="T6" fmla="*/ 27 w 55"/>
                <a:gd name="T7" fmla="*/ 140 h 141"/>
                <a:gd name="T8" fmla="*/ 27 w 55"/>
                <a:gd name="T9" fmla="*/ 140 h 141"/>
                <a:gd name="T10" fmla="*/ 0 w 55"/>
                <a:gd name="T11" fmla="*/ 112 h 141"/>
                <a:gd name="T12" fmla="*/ 0 w 55"/>
                <a:gd name="T13" fmla="*/ 28 h 141"/>
                <a:gd name="T14" fmla="*/ 0 w 55"/>
                <a:gd name="T15" fmla="*/ 28 h 141"/>
                <a:gd name="T16" fmla="*/ 27 w 55"/>
                <a:gd name="T17" fmla="*/ 0 h 141"/>
                <a:gd name="T18" fmla="*/ 27 w 55"/>
                <a:gd name="T19" fmla="*/ 0 h 141"/>
                <a:gd name="T20" fmla="*/ 54 w 55"/>
                <a:gd name="T21" fmla="*/ 2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41">
                  <a:moveTo>
                    <a:pt x="54" y="28"/>
                  </a:moveTo>
                  <a:lnTo>
                    <a:pt x="54" y="112"/>
                  </a:lnTo>
                  <a:lnTo>
                    <a:pt x="54" y="112"/>
                  </a:lnTo>
                  <a:cubicBezTo>
                    <a:pt x="54" y="127"/>
                    <a:pt x="42" y="140"/>
                    <a:pt x="27" y="140"/>
                  </a:cubicBezTo>
                  <a:lnTo>
                    <a:pt x="27" y="140"/>
                  </a:lnTo>
                  <a:cubicBezTo>
                    <a:pt x="12" y="140"/>
                    <a:pt x="0" y="127"/>
                    <a:pt x="0" y="112"/>
                  </a:cubicBezTo>
                  <a:lnTo>
                    <a:pt x="0" y="28"/>
                  </a:lnTo>
                  <a:lnTo>
                    <a:pt x="0" y="28"/>
                  </a:lnTo>
                  <a:cubicBezTo>
                    <a:pt x="0" y="13"/>
                    <a:pt x="12" y="0"/>
                    <a:pt x="27" y="0"/>
                  </a:cubicBezTo>
                  <a:lnTo>
                    <a:pt x="27" y="0"/>
                  </a:lnTo>
                  <a:cubicBezTo>
                    <a:pt x="42" y="0"/>
                    <a:pt x="54" y="13"/>
                    <a:pt x="54" y="28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6" name="Freeform 42">
              <a:extLst>
                <a:ext uri="{FF2B5EF4-FFF2-40B4-BE49-F238E27FC236}">
                  <a16:creationId xmlns:a16="http://schemas.microsoft.com/office/drawing/2014/main" id="{C86A332C-36EF-B04F-998F-C33B0FBDC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80311" y="4284706"/>
              <a:ext cx="37070" cy="98854"/>
            </a:xfrm>
            <a:custGeom>
              <a:avLst/>
              <a:gdLst>
                <a:gd name="T0" fmla="*/ 54 w 55"/>
                <a:gd name="T1" fmla="*/ 28 h 140"/>
                <a:gd name="T2" fmla="*/ 54 w 55"/>
                <a:gd name="T3" fmla="*/ 112 h 140"/>
                <a:gd name="T4" fmla="*/ 54 w 55"/>
                <a:gd name="T5" fmla="*/ 112 h 140"/>
                <a:gd name="T6" fmla="*/ 27 w 55"/>
                <a:gd name="T7" fmla="*/ 139 h 140"/>
                <a:gd name="T8" fmla="*/ 27 w 55"/>
                <a:gd name="T9" fmla="*/ 139 h 140"/>
                <a:gd name="T10" fmla="*/ 0 w 55"/>
                <a:gd name="T11" fmla="*/ 112 h 140"/>
                <a:gd name="T12" fmla="*/ 0 w 55"/>
                <a:gd name="T13" fmla="*/ 28 h 140"/>
                <a:gd name="T14" fmla="*/ 0 w 55"/>
                <a:gd name="T15" fmla="*/ 28 h 140"/>
                <a:gd name="T16" fmla="*/ 27 w 55"/>
                <a:gd name="T17" fmla="*/ 0 h 140"/>
                <a:gd name="T18" fmla="*/ 27 w 55"/>
                <a:gd name="T19" fmla="*/ 0 h 140"/>
                <a:gd name="T20" fmla="*/ 54 w 55"/>
                <a:gd name="T21" fmla="*/ 2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40">
                  <a:moveTo>
                    <a:pt x="54" y="28"/>
                  </a:moveTo>
                  <a:lnTo>
                    <a:pt x="54" y="112"/>
                  </a:lnTo>
                  <a:lnTo>
                    <a:pt x="54" y="112"/>
                  </a:lnTo>
                  <a:cubicBezTo>
                    <a:pt x="54" y="127"/>
                    <a:pt x="42" y="139"/>
                    <a:pt x="27" y="139"/>
                  </a:cubicBezTo>
                  <a:lnTo>
                    <a:pt x="27" y="139"/>
                  </a:lnTo>
                  <a:cubicBezTo>
                    <a:pt x="12" y="139"/>
                    <a:pt x="0" y="127"/>
                    <a:pt x="0" y="112"/>
                  </a:cubicBezTo>
                  <a:lnTo>
                    <a:pt x="0" y="28"/>
                  </a:lnTo>
                  <a:lnTo>
                    <a:pt x="0" y="28"/>
                  </a:lnTo>
                  <a:cubicBezTo>
                    <a:pt x="0" y="12"/>
                    <a:pt x="12" y="0"/>
                    <a:pt x="27" y="0"/>
                  </a:cubicBezTo>
                  <a:lnTo>
                    <a:pt x="27" y="0"/>
                  </a:lnTo>
                  <a:cubicBezTo>
                    <a:pt x="42" y="0"/>
                    <a:pt x="54" y="12"/>
                    <a:pt x="54" y="28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7" name="Freeform 43">
              <a:extLst>
                <a:ext uri="{FF2B5EF4-FFF2-40B4-BE49-F238E27FC236}">
                  <a16:creationId xmlns:a16="http://schemas.microsoft.com/office/drawing/2014/main" id="{D22D916D-7340-CC44-B117-2BFD986DB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5219" y="4701746"/>
              <a:ext cx="30892" cy="108123"/>
            </a:xfrm>
            <a:custGeom>
              <a:avLst/>
              <a:gdLst>
                <a:gd name="T0" fmla="*/ 0 w 45"/>
                <a:gd name="T1" fmla="*/ 21 h 155"/>
                <a:gd name="T2" fmla="*/ 0 w 45"/>
                <a:gd name="T3" fmla="*/ 132 h 155"/>
                <a:gd name="T4" fmla="*/ 0 w 45"/>
                <a:gd name="T5" fmla="*/ 132 h 155"/>
                <a:gd name="T6" fmla="*/ 22 w 45"/>
                <a:gd name="T7" fmla="*/ 154 h 155"/>
                <a:gd name="T8" fmla="*/ 22 w 45"/>
                <a:gd name="T9" fmla="*/ 154 h 155"/>
                <a:gd name="T10" fmla="*/ 44 w 45"/>
                <a:gd name="T11" fmla="*/ 132 h 155"/>
                <a:gd name="T12" fmla="*/ 44 w 45"/>
                <a:gd name="T13" fmla="*/ 21 h 155"/>
                <a:gd name="T14" fmla="*/ 44 w 45"/>
                <a:gd name="T15" fmla="*/ 21 h 155"/>
                <a:gd name="T16" fmla="*/ 22 w 45"/>
                <a:gd name="T17" fmla="*/ 0 h 155"/>
                <a:gd name="T18" fmla="*/ 22 w 45"/>
                <a:gd name="T19" fmla="*/ 0 h 155"/>
                <a:gd name="T20" fmla="*/ 0 w 45"/>
                <a:gd name="T21" fmla="*/ 2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155">
                  <a:moveTo>
                    <a:pt x="0" y="21"/>
                  </a:moveTo>
                  <a:lnTo>
                    <a:pt x="0" y="132"/>
                  </a:lnTo>
                  <a:lnTo>
                    <a:pt x="0" y="132"/>
                  </a:lnTo>
                  <a:cubicBezTo>
                    <a:pt x="0" y="144"/>
                    <a:pt x="10" y="154"/>
                    <a:pt x="22" y="154"/>
                  </a:cubicBezTo>
                  <a:lnTo>
                    <a:pt x="22" y="154"/>
                  </a:lnTo>
                  <a:cubicBezTo>
                    <a:pt x="35" y="154"/>
                    <a:pt x="44" y="144"/>
                    <a:pt x="44" y="132"/>
                  </a:cubicBezTo>
                  <a:lnTo>
                    <a:pt x="44" y="21"/>
                  </a:lnTo>
                  <a:lnTo>
                    <a:pt x="44" y="21"/>
                  </a:lnTo>
                  <a:cubicBezTo>
                    <a:pt x="44" y="10"/>
                    <a:pt x="35" y="0"/>
                    <a:pt x="22" y="0"/>
                  </a:cubicBezTo>
                  <a:lnTo>
                    <a:pt x="22" y="0"/>
                  </a:lnTo>
                  <a:cubicBezTo>
                    <a:pt x="10" y="0"/>
                    <a:pt x="0" y="10"/>
                    <a:pt x="0" y="21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8" name="Freeform 44">
              <a:extLst>
                <a:ext uri="{FF2B5EF4-FFF2-40B4-BE49-F238E27FC236}">
                  <a16:creationId xmlns:a16="http://schemas.microsoft.com/office/drawing/2014/main" id="{2FF42B4B-0BF7-A742-BF07-393019E2CA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5219" y="4405184"/>
              <a:ext cx="30892" cy="108123"/>
            </a:xfrm>
            <a:custGeom>
              <a:avLst/>
              <a:gdLst>
                <a:gd name="T0" fmla="*/ 0 w 45"/>
                <a:gd name="T1" fmla="*/ 22 h 155"/>
                <a:gd name="T2" fmla="*/ 0 w 45"/>
                <a:gd name="T3" fmla="*/ 132 h 155"/>
                <a:gd name="T4" fmla="*/ 0 w 45"/>
                <a:gd name="T5" fmla="*/ 132 h 155"/>
                <a:gd name="T6" fmla="*/ 22 w 45"/>
                <a:gd name="T7" fmla="*/ 154 h 155"/>
                <a:gd name="T8" fmla="*/ 22 w 45"/>
                <a:gd name="T9" fmla="*/ 154 h 155"/>
                <a:gd name="T10" fmla="*/ 44 w 45"/>
                <a:gd name="T11" fmla="*/ 132 h 155"/>
                <a:gd name="T12" fmla="*/ 44 w 45"/>
                <a:gd name="T13" fmla="*/ 22 h 155"/>
                <a:gd name="T14" fmla="*/ 44 w 45"/>
                <a:gd name="T15" fmla="*/ 22 h 155"/>
                <a:gd name="T16" fmla="*/ 22 w 45"/>
                <a:gd name="T17" fmla="*/ 0 h 155"/>
                <a:gd name="T18" fmla="*/ 22 w 45"/>
                <a:gd name="T19" fmla="*/ 0 h 155"/>
                <a:gd name="T20" fmla="*/ 0 w 45"/>
                <a:gd name="T21" fmla="*/ 2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155">
                  <a:moveTo>
                    <a:pt x="0" y="22"/>
                  </a:moveTo>
                  <a:lnTo>
                    <a:pt x="0" y="132"/>
                  </a:lnTo>
                  <a:lnTo>
                    <a:pt x="0" y="132"/>
                  </a:lnTo>
                  <a:cubicBezTo>
                    <a:pt x="0" y="144"/>
                    <a:pt x="10" y="154"/>
                    <a:pt x="22" y="154"/>
                  </a:cubicBezTo>
                  <a:lnTo>
                    <a:pt x="22" y="154"/>
                  </a:lnTo>
                  <a:cubicBezTo>
                    <a:pt x="35" y="154"/>
                    <a:pt x="44" y="144"/>
                    <a:pt x="44" y="132"/>
                  </a:cubicBezTo>
                  <a:lnTo>
                    <a:pt x="44" y="22"/>
                  </a:lnTo>
                  <a:lnTo>
                    <a:pt x="44" y="22"/>
                  </a:lnTo>
                  <a:cubicBezTo>
                    <a:pt x="44" y="9"/>
                    <a:pt x="35" y="0"/>
                    <a:pt x="22" y="0"/>
                  </a:cubicBezTo>
                  <a:lnTo>
                    <a:pt x="22" y="0"/>
                  </a:lnTo>
                  <a:cubicBezTo>
                    <a:pt x="10" y="0"/>
                    <a:pt x="0" y="9"/>
                    <a:pt x="0" y="22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29" name="Freeform 45">
              <a:extLst>
                <a:ext uri="{FF2B5EF4-FFF2-40B4-BE49-F238E27FC236}">
                  <a16:creationId xmlns:a16="http://schemas.microsoft.com/office/drawing/2014/main" id="{3E6B2A36-0AD5-1D42-97CC-007A2EE0E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8303" y="4395917"/>
              <a:ext cx="105032" cy="77229"/>
            </a:xfrm>
            <a:custGeom>
              <a:avLst/>
              <a:gdLst>
                <a:gd name="T0" fmla="*/ 148 w 149"/>
                <a:gd name="T1" fmla="*/ 25 h 109"/>
                <a:gd name="T2" fmla="*/ 148 w 149"/>
                <a:gd name="T3" fmla="*/ 25 h 109"/>
                <a:gd name="T4" fmla="*/ 122 w 149"/>
                <a:gd name="T5" fmla="*/ 51 h 109"/>
                <a:gd name="T6" fmla="*/ 122 w 149"/>
                <a:gd name="T7" fmla="*/ 51 h 109"/>
                <a:gd name="T8" fmla="*/ 50 w 149"/>
                <a:gd name="T9" fmla="*/ 92 h 109"/>
                <a:gd name="T10" fmla="*/ 50 w 149"/>
                <a:gd name="T11" fmla="*/ 92 h 109"/>
                <a:gd name="T12" fmla="*/ 16 w 149"/>
                <a:gd name="T13" fmla="*/ 102 h 109"/>
                <a:gd name="T14" fmla="*/ 16 w 149"/>
                <a:gd name="T15" fmla="*/ 102 h 109"/>
                <a:gd name="T16" fmla="*/ 6 w 149"/>
                <a:gd name="T17" fmla="*/ 66 h 109"/>
                <a:gd name="T18" fmla="*/ 6 w 149"/>
                <a:gd name="T19" fmla="*/ 66 h 109"/>
                <a:gd name="T20" fmla="*/ 122 w 149"/>
                <a:gd name="T21" fmla="*/ 0 h 109"/>
                <a:gd name="T22" fmla="*/ 122 w 149"/>
                <a:gd name="T23" fmla="*/ 0 h 109"/>
                <a:gd name="T24" fmla="*/ 148 w 149"/>
                <a:gd name="T25" fmla="*/ 2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109">
                  <a:moveTo>
                    <a:pt x="148" y="25"/>
                  </a:moveTo>
                  <a:lnTo>
                    <a:pt x="148" y="25"/>
                  </a:lnTo>
                  <a:cubicBezTo>
                    <a:pt x="148" y="39"/>
                    <a:pt x="137" y="51"/>
                    <a:pt x="122" y="51"/>
                  </a:cubicBezTo>
                  <a:lnTo>
                    <a:pt x="122" y="51"/>
                  </a:lnTo>
                  <a:cubicBezTo>
                    <a:pt x="93" y="51"/>
                    <a:pt x="66" y="66"/>
                    <a:pt x="50" y="92"/>
                  </a:cubicBezTo>
                  <a:lnTo>
                    <a:pt x="50" y="92"/>
                  </a:lnTo>
                  <a:cubicBezTo>
                    <a:pt x="43" y="104"/>
                    <a:pt x="28" y="108"/>
                    <a:pt x="16" y="102"/>
                  </a:cubicBezTo>
                  <a:lnTo>
                    <a:pt x="16" y="102"/>
                  </a:lnTo>
                  <a:cubicBezTo>
                    <a:pt x="4" y="95"/>
                    <a:pt x="0" y="79"/>
                    <a:pt x="6" y="66"/>
                  </a:cubicBezTo>
                  <a:lnTo>
                    <a:pt x="6" y="66"/>
                  </a:lnTo>
                  <a:cubicBezTo>
                    <a:pt x="30" y="25"/>
                    <a:pt x="75" y="0"/>
                    <a:pt x="122" y="0"/>
                  </a:cubicBezTo>
                  <a:lnTo>
                    <a:pt x="122" y="0"/>
                  </a:lnTo>
                  <a:cubicBezTo>
                    <a:pt x="137" y="0"/>
                    <a:pt x="148" y="11"/>
                    <a:pt x="148" y="25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0" name="Freeform 46">
              <a:extLst>
                <a:ext uri="{FF2B5EF4-FFF2-40B4-BE49-F238E27FC236}">
                  <a16:creationId xmlns:a16="http://schemas.microsoft.com/office/drawing/2014/main" id="{711A5325-98B2-0B49-8BFD-7DFD6FF8F5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65213" y="4741906"/>
              <a:ext cx="105032" cy="77229"/>
            </a:xfrm>
            <a:custGeom>
              <a:avLst/>
              <a:gdLst>
                <a:gd name="T0" fmla="*/ 149 w 150"/>
                <a:gd name="T1" fmla="*/ 83 h 110"/>
                <a:gd name="T2" fmla="*/ 149 w 150"/>
                <a:gd name="T3" fmla="*/ 83 h 110"/>
                <a:gd name="T4" fmla="*/ 123 w 150"/>
                <a:gd name="T5" fmla="*/ 109 h 110"/>
                <a:gd name="T6" fmla="*/ 123 w 150"/>
                <a:gd name="T7" fmla="*/ 109 h 110"/>
                <a:gd name="T8" fmla="*/ 7 w 150"/>
                <a:gd name="T9" fmla="*/ 42 h 110"/>
                <a:gd name="T10" fmla="*/ 7 w 150"/>
                <a:gd name="T11" fmla="*/ 42 h 110"/>
                <a:gd name="T12" fmla="*/ 17 w 150"/>
                <a:gd name="T13" fmla="*/ 7 h 110"/>
                <a:gd name="T14" fmla="*/ 17 w 150"/>
                <a:gd name="T15" fmla="*/ 7 h 110"/>
                <a:gd name="T16" fmla="*/ 51 w 150"/>
                <a:gd name="T17" fmla="*/ 16 h 110"/>
                <a:gd name="T18" fmla="*/ 51 w 150"/>
                <a:gd name="T19" fmla="*/ 16 h 110"/>
                <a:gd name="T20" fmla="*/ 123 w 150"/>
                <a:gd name="T21" fmla="*/ 58 h 110"/>
                <a:gd name="T22" fmla="*/ 123 w 150"/>
                <a:gd name="T23" fmla="*/ 58 h 110"/>
                <a:gd name="T24" fmla="*/ 149 w 150"/>
                <a:gd name="T25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" h="110">
                  <a:moveTo>
                    <a:pt x="149" y="83"/>
                  </a:moveTo>
                  <a:lnTo>
                    <a:pt x="149" y="83"/>
                  </a:lnTo>
                  <a:cubicBezTo>
                    <a:pt x="149" y="97"/>
                    <a:pt x="138" y="109"/>
                    <a:pt x="123" y="109"/>
                  </a:cubicBezTo>
                  <a:lnTo>
                    <a:pt x="123" y="109"/>
                  </a:lnTo>
                  <a:cubicBezTo>
                    <a:pt x="76" y="109"/>
                    <a:pt x="31" y="83"/>
                    <a:pt x="7" y="42"/>
                  </a:cubicBezTo>
                  <a:lnTo>
                    <a:pt x="7" y="42"/>
                  </a:lnTo>
                  <a:cubicBezTo>
                    <a:pt x="0" y="29"/>
                    <a:pt x="4" y="14"/>
                    <a:pt x="17" y="7"/>
                  </a:cubicBezTo>
                  <a:lnTo>
                    <a:pt x="17" y="7"/>
                  </a:lnTo>
                  <a:cubicBezTo>
                    <a:pt x="29" y="0"/>
                    <a:pt x="44" y="4"/>
                    <a:pt x="51" y="16"/>
                  </a:cubicBezTo>
                  <a:lnTo>
                    <a:pt x="51" y="16"/>
                  </a:lnTo>
                  <a:cubicBezTo>
                    <a:pt x="67" y="42"/>
                    <a:pt x="94" y="58"/>
                    <a:pt x="123" y="58"/>
                  </a:cubicBezTo>
                  <a:lnTo>
                    <a:pt x="123" y="58"/>
                  </a:lnTo>
                  <a:cubicBezTo>
                    <a:pt x="138" y="58"/>
                    <a:pt x="149" y="70"/>
                    <a:pt x="149" y="83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1" name="Freeform 47">
              <a:extLst>
                <a:ext uri="{FF2B5EF4-FFF2-40B4-BE49-F238E27FC236}">
                  <a16:creationId xmlns:a16="http://schemas.microsoft.com/office/drawing/2014/main" id="{B3546708-B912-5544-94F0-E03A02D82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27795" y="4411362"/>
              <a:ext cx="639461" cy="389238"/>
            </a:xfrm>
            <a:custGeom>
              <a:avLst/>
              <a:gdLst>
                <a:gd name="T0" fmla="*/ 913 w 914"/>
                <a:gd name="T1" fmla="*/ 519 h 557"/>
                <a:gd name="T2" fmla="*/ 913 w 914"/>
                <a:gd name="T3" fmla="*/ 519 h 557"/>
                <a:gd name="T4" fmla="*/ 891 w 914"/>
                <a:gd name="T5" fmla="*/ 549 h 557"/>
                <a:gd name="T6" fmla="*/ 889 w 914"/>
                <a:gd name="T7" fmla="*/ 549 h 557"/>
                <a:gd name="T8" fmla="*/ 833 w 914"/>
                <a:gd name="T9" fmla="*/ 556 h 557"/>
                <a:gd name="T10" fmla="*/ 99 w 914"/>
                <a:gd name="T11" fmla="*/ 556 h 557"/>
                <a:gd name="T12" fmla="*/ 99 w 914"/>
                <a:gd name="T13" fmla="*/ 556 h 557"/>
                <a:gd name="T14" fmla="*/ 0 w 914"/>
                <a:gd name="T15" fmla="*/ 422 h 557"/>
                <a:gd name="T16" fmla="*/ 0 w 914"/>
                <a:gd name="T17" fmla="*/ 135 h 557"/>
                <a:gd name="T18" fmla="*/ 0 w 914"/>
                <a:gd name="T19" fmla="*/ 135 h 557"/>
                <a:gd name="T20" fmla="*/ 99 w 914"/>
                <a:gd name="T21" fmla="*/ 0 h 557"/>
                <a:gd name="T22" fmla="*/ 833 w 914"/>
                <a:gd name="T23" fmla="*/ 0 h 557"/>
                <a:gd name="T24" fmla="*/ 889 w 914"/>
                <a:gd name="T25" fmla="*/ 8 h 557"/>
                <a:gd name="T26" fmla="*/ 891 w 914"/>
                <a:gd name="T27" fmla="*/ 8 h 557"/>
                <a:gd name="T28" fmla="*/ 891 w 914"/>
                <a:gd name="T29" fmla="*/ 8 h 557"/>
                <a:gd name="T30" fmla="*/ 913 w 914"/>
                <a:gd name="T31" fmla="*/ 38 h 557"/>
                <a:gd name="T32" fmla="*/ 913 w 914"/>
                <a:gd name="T33" fmla="*/ 519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4" h="557">
                  <a:moveTo>
                    <a:pt x="913" y="519"/>
                  </a:moveTo>
                  <a:lnTo>
                    <a:pt x="913" y="519"/>
                  </a:lnTo>
                  <a:cubicBezTo>
                    <a:pt x="913" y="535"/>
                    <a:pt x="903" y="549"/>
                    <a:pt x="891" y="549"/>
                  </a:cubicBezTo>
                  <a:lnTo>
                    <a:pt x="889" y="549"/>
                  </a:lnTo>
                  <a:lnTo>
                    <a:pt x="833" y="556"/>
                  </a:lnTo>
                  <a:lnTo>
                    <a:pt x="99" y="556"/>
                  </a:lnTo>
                  <a:lnTo>
                    <a:pt x="99" y="556"/>
                  </a:lnTo>
                  <a:cubicBezTo>
                    <a:pt x="44" y="556"/>
                    <a:pt x="0" y="496"/>
                    <a:pt x="0" y="422"/>
                  </a:cubicBezTo>
                  <a:lnTo>
                    <a:pt x="0" y="135"/>
                  </a:lnTo>
                  <a:lnTo>
                    <a:pt x="0" y="135"/>
                  </a:lnTo>
                  <a:cubicBezTo>
                    <a:pt x="0" y="60"/>
                    <a:pt x="44" y="0"/>
                    <a:pt x="99" y="0"/>
                  </a:cubicBezTo>
                  <a:lnTo>
                    <a:pt x="833" y="0"/>
                  </a:lnTo>
                  <a:lnTo>
                    <a:pt x="889" y="8"/>
                  </a:lnTo>
                  <a:lnTo>
                    <a:pt x="891" y="8"/>
                  </a:lnTo>
                  <a:lnTo>
                    <a:pt x="891" y="8"/>
                  </a:lnTo>
                  <a:cubicBezTo>
                    <a:pt x="903" y="8"/>
                    <a:pt x="913" y="21"/>
                    <a:pt x="913" y="38"/>
                  </a:cubicBezTo>
                  <a:lnTo>
                    <a:pt x="913" y="51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2" name="Freeform 48">
              <a:extLst>
                <a:ext uri="{FF2B5EF4-FFF2-40B4-BE49-F238E27FC236}">
                  <a16:creationId xmlns:a16="http://schemas.microsoft.com/office/drawing/2014/main" id="{497DCA79-5820-B14E-A38C-D29968FD4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27795" y="4411362"/>
              <a:ext cx="639461" cy="194620"/>
            </a:xfrm>
            <a:custGeom>
              <a:avLst/>
              <a:gdLst>
                <a:gd name="T0" fmla="*/ 0 w 914"/>
                <a:gd name="T1" fmla="*/ 135 h 279"/>
                <a:gd name="T2" fmla="*/ 0 w 914"/>
                <a:gd name="T3" fmla="*/ 278 h 279"/>
                <a:gd name="T4" fmla="*/ 913 w 914"/>
                <a:gd name="T5" fmla="*/ 278 h 279"/>
                <a:gd name="T6" fmla="*/ 913 w 914"/>
                <a:gd name="T7" fmla="*/ 38 h 279"/>
                <a:gd name="T8" fmla="*/ 913 w 914"/>
                <a:gd name="T9" fmla="*/ 38 h 279"/>
                <a:gd name="T10" fmla="*/ 891 w 914"/>
                <a:gd name="T11" fmla="*/ 8 h 279"/>
                <a:gd name="T12" fmla="*/ 889 w 914"/>
                <a:gd name="T13" fmla="*/ 8 h 279"/>
                <a:gd name="T14" fmla="*/ 833 w 914"/>
                <a:gd name="T15" fmla="*/ 0 h 279"/>
                <a:gd name="T16" fmla="*/ 99 w 914"/>
                <a:gd name="T17" fmla="*/ 0 h 279"/>
                <a:gd name="T18" fmla="*/ 99 w 914"/>
                <a:gd name="T19" fmla="*/ 0 h 279"/>
                <a:gd name="T20" fmla="*/ 0 w 914"/>
                <a:gd name="T21" fmla="*/ 13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4" h="279">
                  <a:moveTo>
                    <a:pt x="0" y="135"/>
                  </a:moveTo>
                  <a:lnTo>
                    <a:pt x="0" y="278"/>
                  </a:lnTo>
                  <a:lnTo>
                    <a:pt x="913" y="278"/>
                  </a:lnTo>
                  <a:lnTo>
                    <a:pt x="913" y="38"/>
                  </a:lnTo>
                  <a:lnTo>
                    <a:pt x="913" y="38"/>
                  </a:lnTo>
                  <a:cubicBezTo>
                    <a:pt x="913" y="21"/>
                    <a:pt x="903" y="8"/>
                    <a:pt x="891" y="8"/>
                  </a:cubicBezTo>
                  <a:lnTo>
                    <a:pt x="889" y="8"/>
                  </a:lnTo>
                  <a:lnTo>
                    <a:pt x="833" y="0"/>
                  </a:lnTo>
                  <a:lnTo>
                    <a:pt x="99" y="0"/>
                  </a:lnTo>
                  <a:lnTo>
                    <a:pt x="99" y="0"/>
                  </a:lnTo>
                  <a:cubicBezTo>
                    <a:pt x="44" y="0"/>
                    <a:pt x="0" y="60"/>
                    <a:pt x="0" y="135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3" name="Freeform 49">
              <a:extLst>
                <a:ext uri="{FF2B5EF4-FFF2-40B4-BE49-F238E27FC236}">
                  <a16:creationId xmlns:a16="http://schemas.microsoft.com/office/drawing/2014/main" id="{3B23B21E-5EE7-5E47-B41D-E3B080D9F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97700" y="4448432"/>
              <a:ext cx="315097" cy="315097"/>
            </a:xfrm>
            <a:custGeom>
              <a:avLst/>
              <a:gdLst>
                <a:gd name="T0" fmla="*/ 0 w 449"/>
                <a:gd name="T1" fmla="*/ 403 h 450"/>
                <a:gd name="T2" fmla="*/ 0 w 449"/>
                <a:gd name="T3" fmla="*/ 46 h 450"/>
                <a:gd name="T4" fmla="*/ 0 w 449"/>
                <a:gd name="T5" fmla="*/ 46 h 450"/>
                <a:gd name="T6" fmla="*/ 46 w 449"/>
                <a:gd name="T7" fmla="*/ 0 h 450"/>
                <a:gd name="T8" fmla="*/ 402 w 449"/>
                <a:gd name="T9" fmla="*/ 0 h 450"/>
                <a:gd name="T10" fmla="*/ 402 w 449"/>
                <a:gd name="T11" fmla="*/ 0 h 450"/>
                <a:gd name="T12" fmla="*/ 448 w 449"/>
                <a:gd name="T13" fmla="*/ 46 h 450"/>
                <a:gd name="T14" fmla="*/ 448 w 449"/>
                <a:gd name="T15" fmla="*/ 403 h 450"/>
                <a:gd name="T16" fmla="*/ 448 w 449"/>
                <a:gd name="T17" fmla="*/ 403 h 450"/>
                <a:gd name="T18" fmla="*/ 402 w 449"/>
                <a:gd name="T19" fmla="*/ 449 h 450"/>
                <a:gd name="T20" fmla="*/ 46 w 449"/>
                <a:gd name="T21" fmla="*/ 449 h 450"/>
                <a:gd name="T22" fmla="*/ 46 w 449"/>
                <a:gd name="T23" fmla="*/ 449 h 450"/>
                <a:gd name="T24" fmla="*/ 0 w 449"/>
                <a:gd name="T25" fmla="*/ 403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9" h="450">
                  <a:moveTo>
                    <a:pt x="0" y="403"/>
                  </a:move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1" y="0"/>
                    <a:pt x="46" y="0"/>
                  </a:cubicBezTo>
                  <a:lnTo>
                    <a:pt x="402" y="0"/>
                  </a:lnTo>
                  <a:lnTo>
                    <a:pt x="402" y="0"/>
                  </a:lnTo>
                  <a:cubicBezTo>
                    <a:pt x="427" y="0"/>
                    <a:pt x="448" y="21"/>
                    <a:pt x="448" y="46"/>
                  </a:cubicBezTo>
                  <a:lnTo>
                    <a:pt x="448" y="403"/>
                  </a:lnTo>
                  <a:lnTo>
                    <a:pt x="448" y="403"/>
                  </a:lnTo>
                  <a:cubicBezTo>
                    <a:pt x="448" y="428"/>
                    <a:pt x="427" y="449"/>
                    <a:pt x="402" y="449"/>
                  </a:cubicBezTo>
                  <a:lnTo>
                    <a:pt x="46" y="449"/>
                  </a:lnTo>
                  <a:lnTo>
                    <a:pt x="46" y="449"/>
                  </a:lnTo>
                  <a:cubicBezTo>
                    <a:pt x="21" y="449"/>
                    <a:pt x="0" y="428"/>
                    <a:pt x="0" y="403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4" name="Freeform 50">
              <a:extLst>
                <a:ext uri="{FF2B5EF4-FFF2-40B4-BE49-F238E27FC236}">
                  <a16:creationId xmlns:a16="http://schemas.microsoft.com/office/drawing/2014/main" id="{E8B1463E-2773-0643-A7D4-7506E85589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30884" y="4717193"/>
              <a:ext cx="228600" cy="95764"/>
            </a:xfrm>
            <a:custGeom>
              <a:avLst/>
              <a:gdLst>
                <a:gd name="T0" fmla="*/ 326 w 327"/>
                <a:gd name="T1" fmla="*/ 50 h 136"/>
                <a:gd name="T2" fmla="*/ 14 w 327"/>
                <a:gd name="T3" fmla="*/ 135 h 136"/>
                <a:gd name="T4" fmla="*/ 0 w 327"/>
                <a:gd name="T5" fmla="*/ 86 h 136"/>
                <a:gd name="T6" fmla="*/ 313 w 327"/>
                <a:gd name="T7" fmla="*/ 0 h 136"/>
                <a:gd name="T8" fmla="*/ 326 w 327"/>
                <a:gd name="T9" fmla="*/ 5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36">
                  <a:moveTo>
                    <a:pt x="326" y="50"/>
                  </a:moveTo>
                  <a:lnTo>
                    <a:pt x="14" y="135"/>
                  </a:lnTo>
                  <a:lnTo>
                    <a:pt x="0" y="86"/>
                  </a:lnTo>
                  <a:lnTo>
                    <a:pt x="313" y="0"/>
                  </a:lnTo>
                  <a:lnTo>
                    <a:pt x="326" y="5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5" name="Freeform 51">
              <a:extLst>
                <a:ext uri="{FF2B5EF4-FFF2-40B4-BE49-F238E27FC236}">
                  <a16:creationId xmlns:a16="http://schemas.microsoft.com/office/drawing/2014/main" id="{A574B7BE-92C8-AA4B-AAA5-4489132183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60282" y="4707924"/>
              <a:ext cx="172995" cy="123568"/>
            </a:xfrm>
            <a:custGeom>
              <a:avLst/>
              <a:gdLst>
                <a:gd name="T0" fmla="*/ 247 w 248"/>
                <a:gd name="T1" fmla="*/ 132 h 176"/>
                <a:gd name="T2" fmla="*/ 221 w 248"/>
                <a:gd name="T3" fmla="*/ 175 h 176"/>
                <a:gd name="T4" fmla="*/ 0 w 248"/>
                <a:gd name="T5" fmla="*/ 43 h 176"/>
                <a:gd name="T6" fmla="*/ 26 w 248"/>
                <a:gd name="T7" fmla="*/ 0 h 176"/>
                <a:gd name="T8" fmla="*/ 247 w 248"/>
                <a:gd name="T9" fmla="*/ 13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76">
                  <a:moveTo>
                    <a:pt x="247" y="132"/>
                  </a:moveTo>
                  <a:lnTo>
                    <a:pt x="221" y="175"/>
                  </a:lnTo>
                  <a:lnTo>
                    <a:pt x="0" y="43"/>
                  </a:lnTo>
                  <a:lnTo>
                    <a:pt x="26" y="0"/>
                  </a:lnTo>
                  <a:lnTo>
                    <a:pt x="247" y="132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6" name="Freeform 52">
              <a:extLst>
                <a:ext uri="{FF2B5EF4-FFF2-40B4-BE49-F238E27FC236}">
                  <a16:creationId xmlns:a16="http://schemas.microsoft.com/office/drawing/2014/main" id="{3961F9A0-8D4D-C04D-BBD5-FBAE0F151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30884" y="4399005"/>
              <a:ext cx="228600" cy="95766"/>
            </a:xfrm>
            <a:custGeom>
              <a:avLst/>
              <a:gdLst>
                <a:gd name="T0" fmla="*/ 326 w 327"/>
                <a:gd name="T1" fmla="*/ 86 h 136"/>
                <a:gd name="T2" fmla="*/ 313 w 327"/>
                <a:gd name="T3" fmla="*/ 135 h 136"/>
                <a:gd name="T4" fmla="*/ 0 w 327"/>
                <a:gd name="T5" fmla="*/ 50 h 136"/>
                <a:gd name="T6" fmla="*/ 14 w 327"/>
                <a:gd name="T7" fmla="*/ 0 h 136"/>
                <a:gd name="T8" fmla="*/ 326 w 327"/>
                <a:gd name="T9" fmla="*/ 8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36">
                  <a:moveTo>
                    <a:pt x="326" y="86"/>
                  </a:moveTo>
                  <a:lnTo>
                    <a:pt x="313" y="135"/>
                  </a:lnTo>
                  <a:lnTo>
                    <a:pt x="0" y="50"/>
                  </a:lnTo>
                  <a:lnTo>
                    <a:pt x="14" y="0"/>
                  </a:lnTo>
                  <a:lnTo>
                    <a:pt x="326" y="8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7" name="Freeform 53">
              <a:extLst>
                <a:ext uri="{FF2B5EF4-FFF2-40B4-BE49-F238E27FC236}">
                  <a16:creationId xmlns:a16="http://schemas.microsoft.com/office/drawing/2014/main" id="{30B5CD1C-60A5-0749-B47B-04396A84B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60282" y="4380470"/>
              <a:ext cx="172995" cy="123568"/>
            </a:xfrm>
            <a:custGeom>
              <a:avLst/>
              <a:gdLst>
                <a:gd name="T0" fmla="*/ 247 w 248"/>
                <a:gd name="T1" fmla="*/ 44 h 177"/>
                <a:gd name="T2" fmla="*/ 26 w 248"/>
                <a:gd name="T3" fmla="*/ 176 h 177"/>
                <a:gd name="T4" fmla="*/ 0 w 248"/>
                <a:gd name="T5" fmla="*/ 133 h 177"/>
                <a:gd name="T6" fmla="*/ 221 w 248"/>
                <a:gd name="T7" fmla="*/ 0 h 177"/>
                <a:gd name="T8" fmla="*/ 247 w 248"/>
                <a:gd name="T9" fmla="*/ 4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77">
                  <a:moveTo>
                    <a:pt x="247" y="44"/>
                  </a:moveTo>
                  <a:lnTo>
                    <a:pt x="26" y="176"/>
                  </a:lnTo>
                  <a:lnTo>
                    <a:pt x="0" y="133"/>
                  </a:lnTo>
                  <a:lnTo>
                    <a:pt x="221" y="0"/>
                  </a:lnTo>
                  <a:lnTo>
                    <a:pt x="247" y="4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43D1749-6F46-7749-AAC5-D273CABD4EF0}"/>
              </a:ext>
            </a:extLst>
          </p:cNvPr>
          <p:cNvGrpSpPr/>
          <p:nvPr/>
        </p:nvGrpSpPr>
        <p:grpSpPr>
          <a:xfrm>
            <a:off x="6668588" y="3212756"/>
            <a:ext cx="645641" cy="1071950"/>
            <a:chOff x="5371490" y="815546"/>
            <a:chExt cx="645641" cy="1071950"/>
          </a:xfrm>
        </p:grpSpPr>
        <p:sp>
          <p:nvSpPr>
            <p:cNvPr id="238" name="Freeform 54">
              <a:extLst>
                <a:ext uri="{FF2B5EF4-FFF2-40B4-BE49-F238E27FC236}">
                  <a16:creationId xmlns:a16="http://schemas.microsoft.com/office/drawing/2014/main" id="{C4F0CE9A-E3F4-3B4F-87CA-B200B7430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3274" y="815546"/>
              <a:ext cx="515895" cy="1071950"/>
            </a:xfrm>
            <a:custGeom>
              <a:avLst/>
              <a:gdLst>
                <a:gd name="T0" fmla="*/ 90 w 736"/>
                <a:gd name="T1" fmla="*/ 0 h 1532"/>
                <a:gd name="T2" fmla="*/ 645 w 736"/>
                <a:gd name="T3" fmla="*/ 0 h 1532"/>
                <a:gd name="T4" fmla="*/ 645 w 736"/>
                <a:gd name="T5" fmla="*/ 0 h 1532"/>
                <a:gd name="T6" fmla="*/ 726 w 736"/>
                <a:gd name="T7" fmla="*/ 81 h 1532"/>
                <a:gd name="T8" fmla="*/ 735 w 736"/>
                <a:gd name="T9" fmla="*/ 287 h 1532"/>
                <a:gd name="T10" fmla="*/ 735 w 736"/>
                <a:gd name="T11" fmla="*/ 1375 h 1532"/>
                <a:gd name="T12" fmla="*/ 735 w 736"/>
                <a:gd name="T13" fmla="*/ 1375 h 1532"/>
                <a:gd name="T14" fmla="*/ 533 w 736"/>
                <a:gd name="T15" fmla="*/ 1531 h 1532"/>
                <a:gd name="T16" fmla="*/ 203 w 736"/>
                <a:gd name="T17" fmla="*/ 1531 h 1532"/>
                <a:gd name="T18" fmla="*/ 203 w 736"/>
                <a:gd name="T19" fmla="*/ 1531 h 1532"/>
                <a:gd name="T20" fmla="*/ 0 w 736"/>
                <a:gd name="T21" fmla="*/ 1375 h 1532"/>
                <a:gd name="T22" fmla="*/ 0 w 736"/>
                <a:gd name="T23" fmla="*/ 287 h 1532"/>
                <a:gd name="T24" fmla="*/ 9 w 736"/>
                <a:gd name="T25" fmla="*/ 81 h 1532"/>
                <a:gd name="T26" fmla="*/ 9 w 736"/>
                <a:gd name="T27" fmla="*/ 81 h 1532"/>
                <a:gd name="T28" fmla="*/ 90 w 736"/>
                <a:gd name="T29" fmla="*/ 0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6" h="1532">
                  <a:moveTo>
                    <a:pt x="90" y="0"/>
                  </a:moveTo>
                  <a:lnTo>
                    <a:pt x="645" y="0"/>
                  </a:lnTo>
                  <a:lnTo>
                    <a:pt x="645" y="0"/>
                  </a:lnTo>
                  <a:cubicBezTo>
                    <a:pt x="689" y="0"/>
                    <a:pt x="726" y="37"/>
                    <a:pt x="726" y="81"/>
                  </a:cubicBezTo>
                  <a:lnTo>
                    <a:pt x="735" y="287"/>
                  </a:lnTo>
                  <a:lnTo>
                    <a:pt x="735" y="1375"/>
                  </a:lnTo>
                  <a:lnTo>
                    <a:pt x="735" y="1375"/>
                  </a:lnTo>
                  <a:cubicBezTo>
                    <a:pt x="735" y="1487"/>
                    <a:pt x="644" y="1531"/>
                    <a:pt x="533" y="1531"/>
                  </a:cubicBezTo>
                  <a:lnTo>
                    <a:pt x="203" y="1531"/>
                  </a:lnTo>
                  <a:lnTo>
                    <a:pt x="203" y="1531"/>
                  </a:lnTo>
                  <a:cubicBezTo>
                    <a:pt x="91" y="1531"/>
                    <a:pt x="0" y="1487"/>
                    <a:pt x="0" y="1375"/>
                  </a:cubicBezTo>
                  <a:lnTo>
                    <a:pt x="0" y="287"/>
                  </a:lnTo>
                  <a:lnTo>
                    <a:pt x="9" y="81"/>
                  </a:lnTo>
                  <a:lnTo>
                    <a:pt x="9" y="81"/>
                  </a:lnTo>
                  <a:cubicBezTo>
                    <a:pt x="9" y="37"/>
                    <a:pt x="46" y="0"/>
                    <a:pt x="90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39" name="Freeform 55">
              <a:extLst>
                <a:ext uri="{FF2B5EF4-FFF2-40B4-BE49-F238E27FC236}">
                  <a16:creationId xmlns:a16="http://schemas.microsoft.com/office/drawing/2014/main" id="{821DE48D-22FC-9146-9B01-FDD15AAEB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0344" y="849528"/>
              <a:ext cx="444843" cy="1000897"/>
            </a:xfrm>
            <a:custGeom>
              <a:avLst/>
              <a:gdLst>
                <a:gd name="T0" fmla="*/ 595 w 636"/>
                <a:gd name="T1" fmla="*/ 0 h 1430"/>
                <a:gd name="T2" fmla="*/ 595 w 636"/>
                <a:gd name="T3" fmla="*/ 0 h 1430"/>
                <a:gd name="T4" fmla="*/ 625 w 636"/>
                <a:gd name="T5" fmla="*/ 30 h 1430"/>
                <a:gd name="T6" fmla="*/ 625 w 636"/>
                <a:gd name="T7" fmla="*/ 32 h 1430"/>
                <a:gd name="T8" fmla="*/ 635 w 636"/>
                <a:gd name="T9" fmla="*/ 238 h 1430"/>
                <a:gd name="T10" fmla="*/ 635 w 636"/>
                <a:gd name="T11" fmla="*/ 1324 h 1430"/>
                <a:gd name="T12" fmla="*/ 635 w 636"/>
                <a:gd name="T13" fmla="*/ 1324 h 1430"/>
                <a:gd name="T14" fmla="*/ 483 w 636"/>
                <a:gd name="T15" fmla="*/ 1429 h 1430"/>
                <a:gd name="T16" fmla="*/ 153 w 636"/>
                <a:gd name="T17" fmla="*/ 1429 h 1430"/>
                <a:gd name="T18" fmla="*/ 153 w 636"/>
                <a:gd name="T19" fmla="*/ 1429 h 1430"/>
                <a:gd name="T20" fmla="*/ 0 w 636"/>
                <a:gd name="T21" fmla="*/ 1324 h 1430"/>
                <a:gd name="T22" fmla="*/ 0 w 636"/>
                <a:gd name="T23" fmla="*/ 238 h 1430"/>
                <a:gd name="T24" fmla="*/ 10 w 636"/>
                <a:gd name="T25" fmla="*/ 31 h 1430"/>
                <a:gd name="T26" fmla="*/ 10 w 636"/>
                <a:gd name="T27" fmla="*/ 30 h 1430"/>
                <a:gd name="T28" fmla="*/ 10 w 636"/>
                <a:gd name="T29" fmla="*/ 30 h 1430"/>
                <a:gd name="T30" fmla="*/ 40 w 636"/>
                <a:gd name="T31" fmla="*/ 0 h 1430"/>
                <a:gd name="T32" fmla="*/ 595 w 636"/>
                <a:gd name="T33" fmla="*/ 0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6" h="1430">
                  <a:moveTo>
                    <a:pt x="595" y="0"/>
                  </a:moveTo>
                  <a:lnTo>
                    <a:pt x="595" y="0"/>
                  </a:lnTo>
                  <a:cubicBezTo>
                    <a:pt x="611" y="0"/>
                    <a:pt x="625" y="14"/>
                    <a:pt x="625" y="30"/>
                  </a:cubicBezTo>
                  <a:lnTo>
                    <a:pt x="625" y="32"/>
                  </a:lnTo>
                  <a:lnTo>
                    <a:pt x="635" y="238"/>
                  </a:lnTo>
                  <a:lnTo>
                    <a:pt x="635" y="1324"/>
                  </a:lnTo>
                  <a:lnTo>
                    <a:pt x="635" y="1324"/>
                  </a:lnTo>
                  <a:cubicBezTo>
                    <a:pt x="635" y="1394"/>
                    <a:pt x="584" y="1429"/>
                    <a:pt x="483" y="1429"/>
                  </a:cubicBezTo>
                  <a:lnTo>
                    <a:pt x="153" y="1429"/>
                  </a:lnTo>
                  <a:lnTo>
                    <a:pt x="153" y="1429"/>
                  </a:lnTo>
                  <a:cubicBezTo>
                    <a:pt x="51" y="1429"/>
                    <a:pt x="0" y="1394"/>
                    <a:pt x="0" y="1324"/>
                  </a:cubicBezTo>
                  <a:lnTo>
                    <a:pt x="0" y="238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0" y="30"/>
                  </a:lnTo>
                  <a:cubicBezTo>
                    <a:pt x="10" y="14"/>
                    <a:pt x="24" y="0"/>
                    <a:pt x="40" y="0"/>
                  </a:cubicBezTo>
                  <a:lnTo>
                    <a:pt x="59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0" name="Freeform 56">
              <a:extLst>
                <a:ext uri="{FF2B5EF4-FFF2-40B4-BE49-F238E27FC236}">
                  <a16:creationId xmlns:a16="http://schemas.microsoft.com/office/drawing/2014/main" id="{A27F7301-5548-1949-A2B3-D96AEAAC7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6110" y="849528"/>
              <a:ext cx="253313" cy="1000897"/>
            </a:xfrm>
            <a:custGeom>
              <a:avLst/>
              <a:gdLst>
                <a:gd name="T0" fmla="*/ 15 w 360"/>
                <a:gd name="T1" fmla="*/ 1429 h 1430"/>
                <a:gd name="T2" fmla="*/ 345 w 360"/>
                <a:gd name="T3" fmla="*/ 1429 h 1430"/>
                <a:gd name="T4" fmla="*/ 345 w 360"/>
                <a:gd name="T5" fmla="*/ 1429 h 1430"/>
                <a:gd name="T6" fmla="*/ 359 w 360"/>
                <a:gd name="T7" fmla="*/ 1429 h 1430"/>
                <a:gd name="T8" fmla="*/ 359 w 360"/>
                <a:gd name="T9" fmla="*/ 87 h 1430"/>
                <a:gd name="T10" fmla="*/ 358 w 360"/>
                <a:gd name="T11" fmla="*/ 0 h 1430"/>
                <a:gd name="T12" fmla="*/ 2 w 360"/>
                <a:gd name="T13" fmla="*/ 0 h 1430"/>
                <a:gd name="T14" fmla="*/ 0 w 360"/>
                <a:gd name="T15" fmla="*/ 87 h 1430"/>
                <a:gd name="T16" fmla="*/ 0 w 360"/>
                <a:gd name="T17" fmla="*/ 1429 h 1430"/>
                <a:gd name="T18" fmla="*/ 0 w 360"/>
                <a:gd name="T19" fmla="*/ 1429 h 1430"/>
                <a:gd name="T20" fmla="*/ 15 w 360"/>
                <a:gd name="T21" fmla="*/ 1429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1430">
                  <a:moveTo>
                    <a:pt x="15" y="1429"/>
                  </a:moveTo>
                  <a:lnTo>
                    <a:pt x="345" y="1429"/>
                  </a:lnTo>
                  <a:lnTo>
                    <a:pt x="345" y="1429"/>
                  </a:lnTo>
                  <a:cubicBezTo>
                    <a:pt x="350" y="1429"/>
                    <a:pt x="355" y="1429"/>
                    <a:pt x="359" y="1429"/>
                  </a:cubicBezTo>
                  <a:lnTo>
                    <a:pt x="359" y="87"/>
                  </a:lnTo>
                  <a:lnTo>
                    <a:pt x="358" y="0"/>
                  </a:lnTo>
                  <a:lnTo>
                    <a:pt x="2" y="0"/>
                  </a:lnTo>
                  <a:lnTo>
                    <a:pt x="0" y="87"/>
                  </a:lnTo>
                  <a:lnTo>
                    <a:pt x="0" y="1429"/>
                  </a:lnTo>
                  <a:lnTo>
                    <a:pt x="0" y="1429"/>
                  </a:lnTo>
                  <a:cubicBezTo>
                    <a:pt x="5" y="1429"/>
                    <a:pt x="9" y="1429"/>
                    <a:pt x="15" y="1429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1" name="Freeform 57">
              <a:extLst>
                <a:ext uri="{FF2B5EF4-FFF2-40B4-BE49-F238E27FC236}">
                  <a16:creationId xmlns:a16="http://schemas.microsoft.com/office/drawing/2014/main" id="{92B476A3-BCCC-7A4D-88A9-4C5ACBC97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2701" y="1726858"/>
              <a:ext cx="114301" cy="114299"/>
            </a:xfrm>
            <a:custGeom>
              <a:avLst/>
              <a:gdLst>
                <a:gd name="T0" fmla="*/ 25 w 161"/>
                <a:gd name="T1" fmla="*/ 0 h 161"/>
                <a:gd name="T2" fmla="*/ 25 w 161"/>
                <a:gd name="T3" fmla="*/ 0 h 161"/>
                <a:gd name="T4" fmla="*/ 51 w 161"/>
                <a:gd name="T5" fmla="*/ 25 h 161"/>
                <a:gd name="T6" fmla="*/ 51 w 161"/>
                <a:gd name="T7" fmla="*/ 25 h 161"/>
                <a:gd name="T8" fmla="*/ 135 w 161"/>
                <a:gd name="T9" fmla="*/ 109 h 161"/>
                <a:gd name="T10" fmla="*/ 135 w 161"/>
                <a:gd name="T11" fmla="*/ 109 h 161"/>
                <a:gd name="T12" fmla="*/ 160 w 161"/>
                <a:gd name="T13" fmla="*/ 134 h 161"/>
                <a:gd name="T14" fmla="*/ 160 w 161"/>
                <a:gd name="T15" fmla="*/ 134 h 161"/>
                <a:gd name="T16" fmla="*/ 135 w 161"/>
                <a:gd name="T17" fmla="*/ 160 h 161"/>
                <a:gd name="T18" fmla="*/ 135 w 161"/>
                <a:gd name="T19" fmla="*/ 160 h 161"/>
                <a:gd name="T20" fmla="*/ 0 w 161"/>
                <a:gd name="T21" fmla="*/ 25 h 161"/>
                <a:gd name="T22" fmla="*/ 0 w 161"/>
                <a:gd name="T23" fmla="*/ 25 h 161"/>
                <a:gd name="T24" fmla="*/ 25 w 161"/>
                <a:gd name="T2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" h="161">
                  <a:moveTo>
                    <a:pt x="25" y="0"/>
                  </a:moveTo>
                  <a:lnTo>
                    <a:pt x="25" y="0"/>
                  </a:lnTo>
                  <a:cubicBezTo>
                    <a:pt x="39" y="0"/>
                    <a:pt x="51" y="11"/>
                    <a:pt x="51" y="25"/>
                  </a:cubicBezTo>
                  <a:lnTo>
                    <a:pt x="51" y="25"/>
                  </a:lnTo>
                  <a:cubicBezTo>
                    <a:pt x="51" y="72"/>
                    <a:pt x="88" y="109"/>
                    <a:pt x="135" y="109"/>
                  </a:cubicBezTo>
                  <a:lnTo>
                    <a:pt x="135" y="109"/>
                  </a:lnTo>
                  <a:cubicBezTo>
                    <a:pt x="149" y="109"/>
                    <a:pt x="160" y="120"/>
                    <a:pt x="160" y="134"/>
                  </a:cubicBezTo>
                  <a:lnTo>
                    <a:pt x="160" y="134"/>
                  </a:lnTo>
                  <a:cubicBezTo>
                    <a:pt x="160" y="148"/>
                    <a:pt x="149" y="160"/>
                    <a:pt x="135" y="160"/>
                  </a:cubicBezTo>
                  <a:lnTo>
                    <a:pt x="135" y="160"/>
                  </a:lnTo>
                  <a:cubicBezTo>
                    <a:pt x="61" y="160"/>
                    <a:pt x="0" y="99"/>
                    <a:pt x="0" y="25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2" name="Freeform 58">
              <a:extLst>
                <a:ext uri="{FF2B5EF4-FFF2-40B4-BE49-F238E27FC236}">
                  <a16:creationId xmlns:a16="http://schemas.microsoft.com/office/drawing/2014/main" id="{5C34F7BC-4C44-194D-A3A5-1D654F14A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8531" y="1726858"/>
              <a:ext cx="114299" cy="114299"/>
            </a:xfrm>
            <a:custGeom>
              <a:avLst/>
              <a:gdLst>
                <a:gd name="T0" fmla="*/ 135 w 161"/>
                <a:gd name="T1" fmla="*/ 0 h 161"/>
                <a:gd name="T2" fmla="*/ 135 w 161"/>
                <a:gd name="T3" fmla="*/ 0 h 161"/>
                <a:gd name="T4" fmla="*/ 160 w 161"/>
                <a:gd name="T5" fmla="*/ 25 h 161"/>
                <a:gd name="T6" fmla="*/ 160 w 161"/>
                <a:gd name="T7" fmla="*/ 25 h 161"/>
                <a:gd name="T8" fmla="*/ 26 w 161"/>
                <a:gd name="T9" fmla="*/ 160 h 161"/>
                <a:gd name="T10" fmla="*/ 26 w 161"/>
                <a:gd name="T11" fmla="*/ 160 h 161"/>
                <a:gd name="T12" fmla="*/ 0 w 161"/>
                <a:gd name="T13" fmla="*/ 134 h 161"/>
                <a:gd name="T14" fmla="*/ 0 w 161"/>
                <a:gd name="T15" fmla="*/ 134 h 161"/>
                <a:gd name="T16" fmla="*/ 26 w 161"/>
                <a:gd name="T17" fmla="*/ 109 h 161"/>
                <a:gd name="T18" fmla="*/ 26 w 161"/>
                <a:gd name="T19" fmla="*/ 109 h 161"/>
                <a:gd name="T20" fmla="*/ 110 w 161"/>
                <a:gd name="T21" fmla="*/ 25 h 161"/>
                <a:gd name="T22" fmla="*/ 110 w 161"/>
                <a:gd name="T23" fmla="*/ 25 h 161"/>
                <a:gd name="T24" fmla="*/ 135 w 161"/>
                <a:gd name="T2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1" h="161">
                  <a:moveTo>
                    <a:pt x="135" y="0"/>
                  </a:moveTo>
                  <a:lnTo>
                    <a:pt x="135" y="0"/>
                  </a:lnTo>
                  <a:cubicBezTo>
                    <a:pt x="149" y="0"/>
                    <a:pt x="160" y="11"/>
                    <a:pt x="160" y="25"/>
                  </a:cubicBezTo>
                  <a:lnTo>
                    <a:pt x="160" y="25"/>
                  </a:lnTo>
                  <a:cubicBezTo>
                    <a:pt x="160" y="99"/>
                    <a:pt x="100" y="160"/>
                    <a:pt x="26" y="160"/>
                  </a:cubicBezTo>
                  <a:lnTo>
                    <a:pt x="26" y="160"/>
                  </a:lnTo>
                  <a:cubicBezTo>
                    <a:pt x="12" y="160"/>
                    <a:pt x="0" y="148"/>
                    <a:pt x="0" y="134"/>
                  </a:cubicBezTo>
                  <a:lnTo>
                    <a:pt x="0" y="134"/>
                  </a:lnTo>
                  <a:cubicBezTo>
                    <a:pt x="0" y="120"/>
                    <a:pt x="12" y="109"/>
                    <a:pt x="26" y="109"/>
                  </a:cubicBezTo>
                  <a:lnTo>
                    <a:pt x="26" y="109"/>
                  </a:lnTo>
                  <a:cubicBezTo>
                    <a:pt x="72" y="109"/>
                    <a:pt x="110" y="72"/>
                    <a:pt x="110" y="25"/>
                  </a:cubicBezTo>
                  <a:lnTo>
                    <a:pt x="110" y="25"/>
                  </a:lnTo>
                  <a:cubicBezTo>
                    <a:pt x="110" y="11"/>
                    <a:pt x="121" y="0"/>
                    <a:pt x="135" y="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3" name="Freeform 59">
              <a:extLst>
                <a:ext uri="{FF2B5EF4-FFF2-40B4-BE49-F238E27FC236}">
                  <a16:creationId xmlns:a16="http://schemas.microsoft.com/office/drawing/2014/main" id="{9EF94BC3-1FE6-7846-84D2-DC10149573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8147" y="932935"/>
              <a:ext cx="392326" cy="639463"/>
            </a:xfrm>
            <a:custGeom>
              <a:avLst/>
              <a:gdLst>
                <a:gd name="T0" fmla="*/ 519 w 558"/>
                <a:gd name="T1" fmla="*/ 0 h 914"/>
                <a:gd name="T2" fmla="*/ 519 w 558"/>
                <a:gd name="T3" fmla="*/ 0 h 914"/>
                <a:gd name="T4" fmla="*/ 549 w 558"/>
                <a:gd name="T5" fmla="*/ 21 h 914"/>
                <a:gd name="T6" fmla="*/ 549 w 558"/>
                <a:gd name="T7" fmla="*/ 23 h 914"/>
                <a:gd name="T8" fmla="*/ 557 w 558"/>
                <a:gd name="T9" fmla="*/ 80 h 914"/>
                <a:gd name="T10" fmla="*/ 557 w 558"/>
                <a:gd name="T11" fmla="*/ 814 h 914"/>
                <a:gd name="T12" fmla="*/ 557 w 558"/>
                <a:gd name="T13" fmla="*/ 814 h 914"/>
                <a:gd name="T14" fmla="*/ 422 w 558"/>
                <a:gd name="T15" fmla="*/ 913 h 914"/>
                <a:gd name="T16" fmla="*/ 135 w 558"/>
                <a:gd name="T17" fmla="*/ 913 h 914"/>
                <a:gd name="T18" fmla="*/ 135 w 558"/>
                <a:gd name="T19" fmla="*/ 913 h 914"/>
                <a:gd name="T20" fmla="*/ 0 w 558"/>
                <a:gd name="T21" fmla="*/ 814 h 914"/>
                <a:gd name="T22" fmla="*/ 0 w 558"/>
                <a:gd name="T23" fmla="*/ 80 h 914"/>
                <a:gd name="T24" fmla="*/ 9 w 558"/>
                <a:gd name="T25" fmla="*/ 23 h 914"/>
                <a:gd name="T26" fmla="*/ 9 w 558"/>
                <a:gd name="T27" fmla="*/ 21 h 914"/>
                <a:gd name="T28" fmla="*/ 9 w 558"/>
                <a:gd name="T29" fmla="*/ 21 h 914"/>
                <a:gd name="T30" fmla="*/ 38 w 558"/>
                <a:gd name="T31" fmla="*/ 0 h 914"/>
                <a:gd name="T32" fmla="*/ 519 w 558"/>
                <a:gd name="T33" fmla="*/ 0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8" h="914">
                  <a:moveTo>
                    <a:pt x="519" y="0"/>
                  </a:moveTo>
                  <a:lnTo>
                    <a:pt x="519" y="0"/>
                  </a:lnTo>
                  <a:cubicBezTo>
                    <a:pt x="536" y="0"/>
                    <a:pt x="549" y="10"/>
                    <a:pt x="549" y="21"/>
                  </a:cubicBezTo>
                  <a:lnTo>
                    <a:pt x="549" y="23"/>
                  </a:lnTo>
                  <a:lnTo>
                    <a:pt x="557" y="80"/>
                  </a:lnTo>
                  <a:lnTo>
                    <a:pt x="557" y="814"/>
                  </a:lnTo>
                  <a:lnTo>
                    <a:pt x="557" y="814"/>
                  </a:lnTo>
                  <a:cubicBezTo>
                    <a:pt x="557" y="869"/>
                    <a:pt x="497" y="913"/>
                    <a:pt x="422" y="913"/>
                  </a:cubicBezTo>
                  <a:lnTo>
                    <a:pt x="135" y="913"/>
                  </a:lnTo>
                  <a:lnTo>
                    <a:pt x="135" y="913"/>
                  </a:lnTo>
                  <a:cubicBezTo>
                    <a:pt x="61" y="913"/>
                    <a:pt x="0" y="869"/>
                    <a:pt x="0" y="814"/>
                  </a:cubicBezTo>
                  <a:lnTo>
                    <a:pt x="0" y="80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1"/>
                  </a:lnTo>
                  <a:cubicBezTo>
                    <a:pt x="9" y="10"/>
                    <a:pt x="22" y="0"/>
                    <a:pt x="38" y="0"/>
                  </a:cubicBezTo>
                  <a:lnTo>
                    <a:pt x="519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4" name="Freeform 60">
              <a:extLst>
                <a:ext uri="{FF2B5EF4-FFF2-40B4-BE49-F238E27FC236}">
                  <a16:creationId xmlns:a16="http://schemas.microsoft.com/office/drawing/2014/main" id="{D8476049-ADF4-B544-8396-5097B7550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8147" y="932935"/>
              <a:ext cx="194618" cy="639463"/>
            </a:xfrm>
            <a:custGeom>
              <a:avLst/>
              <a:gdLst>
                <a:gd name="T0" fmla="*/ 135 w 279"/>
                <a:gd name="T1" fmla="*/ 913 h 914"/>
                <a:gd name="T2" fmla="*/ 278 w 279"/>
                <a:gd name="T3" fmla="*/ 913 h 914"/>
                <a:gd name="T4" fmla="*/ 278 w 279"/>
                <a:gd name="T5" fmla="*/ 0 h 914"/>
                <a:gd name="T6" fmla="*/ 38 w 279"/>
                <a:gd name="T7" fmla="*/ 0 h 914"/>
                <a:gd name="T8" fmla="*/ 38 w 279"/>
                <a:gd name="T9" fmla="*/ 0 h 914"/>
                <a:gd name="T10" fmla="*/ 9 w 279"/>
                <a:gd name="T11" fmla="*/ 21 h 914"/>
                <a:gd name="T12" fmla="*/ 9 w 279"/>
                <a:gd name="T13" fmla="*/ 23 h 914"/>
                <a:gd name="T14" fmla="*/ 0 w 279"/>
                <a:gd name="T15" fmla="*/ 80 h 914"/>
                <a:gd name="T16" fmla="*/ 0 w 279"/>
                <a:gd name="T17" fmla="*/ 814 h 914"/>
                <a:gd name="T18" fmla="*/ 0 w 279"/>
                <a:gd name="T19" fmla="*/ 814 h 914"/>
                <a:gd name="T20" fmla="*/ 135 w 279"/>
                <a:gd name="T21" fmla="*/ 913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9" h="914">
                  <a:moveTo>
                    <a:pt x="135" y="913"/>
                  </a:moveTo>
                  <a:lnTo>
                    <a:pt x="278" y="913"/>
                  </a:lnTo>
                  <a:lnTo>
                    <a:pt x="278" y="0"/>
                  </a:lnTo>
                  <a:lnTo>
                    <a:pt x="38" y="0"/>
                  </a:lnTo>
                  <a:lnTo>
                    <a:pt x="38" y="0"/>
                  </a:lnTo>
                  <a:cubicBezTo>
                    <a:pt x="22" y="0"/>
                    <a:pt x="9" y="10"/>
                    <a:pt x="9" y="21"/>
                  </a:cubicBezTo>
                  <a:lnTo>
                    <a:pt x="9" y="23"/>
                  </a:lnTo>
                  <a:lnTo>
                    <a:pt x="0" y="80"/>
                  </a:lnTo>
                  <a:lnTo>
                    <a:pt x="0" y="814"/>
                  </a:lnTo>
                  <a:lnTo>
                    <a:pt x="0" y="814"/>
                  </a:lnTo>
                  <a:cubicBezTo>
                    <a:pt x="0" y="869"/>
                    <a:pt x="61" y="913"/>
                    <a:pt x="135" y="913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5" name="Freeform 61">
              <a:extLst>
                <a:ext uri="{FF2B5EF4-FFF2-40B4-BE49-F238E27FC236}">
                  <a16:creationId xmlns:a16="http://schemas.microsoft.com/office/drawing/2014/main" id="{B9B6C2AD-4892-2F45-A5A4-5C54D4ABE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6333" y="1353065"/>
              <a:ext cx="95766" cy="182263"/>
            </a:xfrm>
            <a:custGeom>
              <a:avLst/>
              <a:gdLst>
                <a:gd name="T0" fmla="*/ 38 w 135"/>
                <a:gd name="T1" fmla="*/ 0 h 261"/>
                <a:gd name="T2" fmla="*/ 134 w 135"/>
                <a:gd name="T3" fmla="*/ 245 h 261"/>
                <a:gd name="T4" fmla="*/ 96 w 135"/>
                <a:gd name="T5" fmla="*/ 260 h 261"/>
                <a:gd name="T6" fmla="*/ 0 w 135"/>
                <a:gd name="T7" fmla="*/ 15 h 261"/>
                <a:gd name="T8" fmla="*/ 38 w 135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1">
                  <a:moveTo>
                    <a:pt x="38" y="0"/>
                  </a:moveTo>
                  <a:lnTo>
                    <a:pt x="134" y="245"/>
                  </a:lnTo>
                  <a:lnTo>
                    <a:pt x="96" y="260"/>
                  </a:lnTo>
                  <a:lnTo>
                    <a:pt x="0" y="15"/>
                  </a:lnTo>
                  <a:lnTo>
                    <a:pt x="38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6" name="Freeform 62">
              <a:extLst>
                <a:ext uri="{FF2B5EF4-FFF2-40B4-BE49-F238E27FC236}">
                  <a16:creationId xmlns:a16="http://schemas.microsoft.com/office/drawing/2014/main" id="{56F06EB0-FCEB-BC40-B87D-DB6EF2415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4137" y="1192427"/>
              <a:ext cx="55605" cy="27804"/>
            </a:xfrm>
            <a:custGeom>
              <a:avLst/>
              <a:gdLst>
                <a:gd name="T0" fmla="*/ 0 w 78"/>
                <a:gd name="T1" fmla="*/ 0 h 41"/>
                <a:gd name="T2" fmla="*/ 77 w 78"/>
                <a:gd name="T3" fmla="*/ 0 h 41"/>
                <a:gd name="T4" fmla="*/ 77 w 78"/>
                <a:gd name="T5" fmla="*/ 40 h 41"/>
                <a:gd name="T6" fmla="*/ 0 w 78"/>
                <a:gd name="T7" fmla="*/ 40 h 41"/>
                <a:gd name="T8" fmla="*/ 0 w 78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1">
                  <a:moveTo>
                    <a:pt x="0" y="0"/>
                  </a:moveTo>
                  <a:lnTo>
                    <a:pt x="77" y="0"/>
                  </a:lnTo>
                  <a:lnTo>
                    <a:pt x="77" y="40"/>
                  </a:lnTo>
                  <a:lnTo>
                    <a:pt x="0" y="4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7" name="Freeform 63">
              <a:extLst>
                <a:ext uri="{FF2B5EF4-FFF2-40B4-BE49-F238E27FC236}">
                  <a16:creationId xmlns:a16="http://schemas.microsoft.com/office/drawing/2014/main" id="{EA05B40B-C11C-0B40-BE9A-1E1552A25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1780" y="920578"/>
              <a:ext cx="67962" cy="83409"/>
            </a:xfrm>
            <a:custGeom>
              <a:avLst/>
              <a:gdLst>
                <a:gd name="T0" fmla="*/ 62 w 97"/>
                <a:gd name="T1" fmla="*/ 0 h 118"/>
                <a:gd name="T2" fmla="*/ 96 w 97"/>
                <a:gd name="T3" fmla="*/ 22 h 118"/>
                <a:gd name="T4" fmla="*/ 34 w 97"/>
                <a:gd name="T5" fmla="*/ 117 h 118"/>
                <a:gd name="T6" fmla="*/ 0 w 97"/>
                <a:gd name="T7" fmla="*/ 95 h 118"/>
                <a:gd name="T8" fmla="*/ 62 w 97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18">
                  <a:moveTo>
                    <a:pt x="62" y="0"/>
                  </a:moveTo>
                  <a:lnTo>
                    <a:pt x="96" y="22"/>
                  </a:lnTo>
                  <a:lnTo>
                    <a:pt x="34" y="117"/>
                  </a:lnTo>
                  <a:lnTo>
                    <a:pt x="0" y="95"/>
                  </a:lnTo>
                  <a:lnTo>
                    <a:pt x="62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8" name="Freeform 64">
              <a:extLst>
                <a:ext uri="{FF2B5EF4-FFF2-40B4-BE49-F238E27FC236}">
                  <a16:creationId xmlns:a16="http://schemas.microsoft.com/office/drawing/2014/main" id="{3A93D090-9941-DF4E-AF10-3CF8273EB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7256" y="1353065"/>
              <a:ext cx="95764" cy="182263"/>
            </a:xfrm>
            <a:custGeom>
              <a:avLst/>
              <a:gdLst>
                <a:gd name="T0" fmla="*/ 96 w 135"/>
                <a:gd name="T1" fmla="*/ 0 h 261"/>
                <a:gd name="T2" fmla="*/ 134 w 135"/>
                <a:gd name="T3" fmla="*/ 15 h 261"/>
                <a:gd name="T4" fmla="*/ 37 w 135"/>
                <a:gd name="T5" fmla="*/ 260 h 261"/>
                <a:gd name="T6" fmla="*/ 0 w 135"/>
                <a:gd name="T7" fmla="*/ 245 h 261"/>
                <a:gd name="T8" fmla="*/ 96 w 135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1">
                  <a:moveTo>
                    <a:pt x="96" y="0"/>
                  </a:moveTo>
                  <a:lnTo>
                    <a:pt x="134" y="15"/>
                  </a:lnTo>
                  <a:lnTo>
                    <a:pt x="37" y="260"/>
                  </a:lnTo>
                  <a:lnTo>
                    <a:pt x="0" y="245"/>
                  </a:lnTo>
                  <a:lnTo>
                    <a:pt x="96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49" name="Freeform 65">
              <a:extLst>
                <a:ext uri="{FF2B5EF4-FFF2-40B4-BE49-F238E27FC236}">
                  <a16:creationId xmlns:a16="http://schemas.microsoft.com/office/drawing/2014/main" id="{8338E364-FCF9-5743-B1E0-6D923505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9612" y="1192427"/>
              <a:ext cx="52515" cy="27804"/>
            </a:xfrm>
            <a:custGeom>
              <a:avLst/>
              <a:gdLst>
                <a:gd name="T0" fmla="*/ 0 w 77"/>
                <a:gd name="T1" fmla="*/ 0 h 41"/>
                <a:gd name="T2" fmla="*/ 76 w 77"/>
                <a:gd name="T3" fmla="*/ 0 h 41"/>
                <a:gd name="T4" fmla="*/ 76 w 77"/>
                <a:gd name="T5" fmla="*/ 40 h 41"/>
                <a:gd name="T6" fmla="*/ 0 w 77"/>
                <a:gd name="T7" fmla="*/ 40 h 41"/>
                <a:gd name="T8" fmla="*/ 0 w 77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41">
                  <a:moveTo>
                    <a:pt x="0" y="0"/>
                  </a:moveTo>
                  <a:lnTo>
                    <a:pt x="76" y="0"/>
                  </a:lnTo>
                  <a:lnTo>
                    <a:pt x="76" y="40"/>
                  </a:lnTo>
                  <a:lnTo>
                    <a:pt x="0" y="4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0" name="Freeform 66">
              <a:extLst>
                <a:ext uri="{FF2B5EF4-FFF2-40B4-BE49-F238E27FC236}">
                  <a16:creationId xmlns:a16="http://schemas.microsoft.com/office/drawing/2014/main" id="{5A6EE280-38CC-C44F-8557-A7F53E7BC5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9612" y="920578"/>
              <a:ext cx="67962" cy="83409"/>
            </a:xfrm>
            <a:custGeom>
              <a:avLst/>
              <a:gdLst>
                <a:gd name="T0" fmla="*/ 35 w 97"/>
                <a:gd name="T1" fmla="*/ 0 h 118"/>
                <a:gd name="T2" fmla="*/ 96 w 97"/>
                <a:gd name="T3" fmla="*/ 95 h 118"/>
                <a:gd name="T4" fmla="*/ 62 w 97"/>
                <a:gd name="T5" fmla="*/ 117 h 118"/>
                <a:gd name="T6" fmla="*/ 0 w 97"/>
                <a:gd name="T7" fmla="*/ 22 h 118"/>
                <a:gd name="T8" fmla="*/ 35 w 97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18">
                  <a:moveTo>
                    <a:pt x="35" y="0"/>
                  </a:moveTo>
                  <a:lnTo>
                    <a:pt x="96" y="95"/>
                  </a:lnTo>
                  <a:lnTo>
                    <a:pt x="62" y="117"/>
                  </a:lnTo>
                  <a:lnTo>
                    <a:pt x="0" y="22"/>
                  </a:lnTo>
                  <a:lnTo>
                    <a:pt x="35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1" name="Freeform 67">
              <a:extLst>
                <a:ext uri="{FF2B5EF4-FFF2-40B4-BE49-F238E27FC236}">
                  <a16:creationId xmlns:a16="http://schemas.microsoft.com/office/drawing/2014/main" id="{91397588-CB61-554C-9BC5-C8B0EE2DA4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1619" y="830993"/>
              <a:ext cx="117389" cy="37070"/>
            </a:xfrm>
            <a:custGeom>
              <a:avLst/>
              <a:gdLst>
                <a:gd name="T0" fmla="*/ 25 w 169"/>
                <a:gd name="T1" fmla="*/ 0 h 52"/>
                <a:gd name="T2" fmla="*/ 143 w 169"/>
                <a:gd name="T3" fmla="*/ 0 h 52"/>
                <a:gd name="T4" fmla="*/ 143 w 169"/>
                <a:gd name="T5" fmla="*/ 0 h 52"/>
                <a:gd name="T6" fmla="*/ 168 w 169"/>
                <a:gd name="T7" fmla="*/ 25 h 52"/>
                <a:gd name="T8" fmla="*/ 168 w 169"/>
                <a:gd name="T9" fmla="*/ 25 h 52"/>
                <a:gd name="T10" fmla="*/ 143 w 169"/>
                <a:gd name="T11" fmla="*/ 51 h 52"/>
                <a:gd name="T12" fmla="*/ 25 w 169"/>
                <a:gd name="T13" fmla="*/ 51 h 52"/>
                <a:gd name="T14" fmla="*/ 25 w 169"/>
                <a:gd name="T15" fmla="*/ 51 h 52"/>
                <a:gd name="T16" fmla="*/ 0 w 169"/>
                <a:gd name="T17" fmla="*/ 25 h 52"/>
                <a:gd name="T18" fmla="*/ 0 w 169"/>
                <a:gd name="T19" fmla="*/ 25 h 52"/>
                <a:gd name="T20" fmla="*/ 25 w 169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52">
                  <a:moveTo>
                    <a:pt x="25" y="0"/>
                  </a:moveTo>
                  <a:lnTo>
                    <a:pt x="143" y="0"/>
                  </a:lnTo>
                  <a:lnTo>
                    <a:pt x="143" y="0"/>
                  </a:lnTo>
                  <a:cubicBezTo>
                    <a:pt x="157" y="0"/>
                    <a:pt x="168" y="11"/>
                    <a:pt x="168" y="25"/>
                  </a:cubicBezTo>
                  <a:lnTo>
                    <a:pt x="168" y="25"/>
                  </a:lnTo>
                  <a:cubicBezTo>
                    <a:pt x="168" y="39"/>
                    <a:pt x="157" y="51"/>
                    <a:pt x="143" y="51"/>
                  </a:cubicBezTo>
                  <a:lnTo>
                    <a:pt x="25" y="51"/>
                  </a:lnTo>
                  <a:lnTo>
                    <a:pt x="25" y="51"/>
                  </a:lnTo>
                  <a:cubicBezTo>
                    <a:pt x="11" y="51"/>
                    <a:pt x="0" y="39"/>
                    <a:pt x="0" y="25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2" name="Freeform 68">
              <a:extLst>
                <a:ext uri="{FF2B5EF4-FFF2-40B4-BE49-F238E27FC236}">
                  <a16:creationId xmlns:a16="http://schemas.microsoft.com/office/drawing/2014/main" id="{02D45A7D-E38B-744F-B7C7-9B4F423E9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6522" y="830993"/>
              <a:ext cx="117389" cy="37070"/>
            </a:xfrm>
            <a:custGeom>
              <a:avLst/>
              <a:gdLst>
                <a:gd name="T0" fmla="*/ 25 w 169"/>
                <a:gd name="T1" fmla="*/ 0 h 52"/>
                <a:gd name="T2" fmla="*/ 143 w 169"/>
                <a:gd name="T3" fmla="*/ 0 h 52"/>
                <a:gd name="T4" fmla="*/ 143 w 169"/>
                <a:gd name="T5" fmla="*/ 0 h 52"/>
                <a:gd name="T6" fmla="*/ 168 w 169"/>
                <a:gd name="T7" fmla="*/ 25 h 52"/>
                <a:gd name="T8" fmla="*/ 168 w 169"/>
                <a:gd name="T9" fmla="*/ 25 h 52"/>
                <a:gd name="T10" fmla="*/ 143 w 169"/>
                <a:gd name="T11" fmla="*/ 51 h 52"/>
                <a:gd name="T12" fmla="*/ 25 w 169"/>
                <a:gd name="T13" fmla="*/ 51 h 52"/>
                <a:gd name="T14" fmla="*/ 25 w 169"/>
                <a:gd name="T15" fmla="*/ 51 h 52"/>
                <a:gd name="T16" fmla="*/ 0 w 169"/>
                <a:gd name="T17" fmla="*/ 25 h 52"/>
                <a:gd name="T18" fmla="*/ 0 w 169"/>
                <a:gd name="T19" fmla="*/ 25 h 52"/>
                <a:gd name="T20" fmla="*/ 25 w 169"/>
                <a:gd name="T2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52">
                  <a:moveTo>
                    <a:pt x="25" y="0"/>
                  </a:moveTo>
                  <a:lnTo>
                    <a:pt x="143" y="0"/>
                  </a:lnTo>
                  <a:lnTo>
                    <a:pt x="143" y="0"/>
                  </a:lnTo>
                  <a:cubicBezTo>
                    <a:pt x="157" y="0"/>
                    <a:pt x="168" y="11"/>
                    <a:pt x="168" y="25"/>
                  </a:cubicBezTo>
                  <a:lnTo>
                    <a:pt x="168" y="25"/>
                  </a:lnTo>
                  <a:cubicBezTo>
                    <a:pt x="168" y="39"/>
                    <a:pt x="157" y="51"/>
                    <a:pt x="143" y="51"/>
                  </a:cubicBezTo>
                  <a:lnTo>
                    <a:pt x="25" y="51"/>
                  </a:lnTo>
                  <a:lnTo>
                    <a:pt x="25" y="51"/>
                  </a:lnTo>
                  <a:cubicBezTo>
                    <a:pt x="11" y="51"/>
                    <a:pt x="0" y="39"/>
                    <a:pt x="0" y="25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3" name="Freeform 69">
              <a:extLst>
                <a:ext uri="{FF2B5EF4-FFF2-40B4-BE49-F238E27FC236}">
                  <a16:creationId xmlns:a16="http://schemas.microsoft.com/office/drawing/2014/main" id="{368456A8-9E1D-B94C-9944-BD7BDA27E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8277" y="1455009"/>
              <a:ext cx="98854" cy="40158"/>
            </a:xfrm>
            <a:custGeom>
              <a:avLst/>
              <a:gdLst>
                <a:gd name="T0" fmla="*/ 27 w 140"/>
                <a:gd name="T1" fmla="*/ 0 h 56"/>
                <a:gd name="T2" fmla="*/ 111 w 140"/>
                <a:gd name="T3" fmla="*/ 0 h 56"/>
                <a:gd name="T4" fmla="*/ 111 w 140"/>
                <a:gd name="T5" fmla="*/ 0 h 56"/>
                <a:gd name="T6" fmla="*/ 139 w 140"/>
                <a:gd name="T7" fmla="*/ 28 h 56"/>
                <a:gd name="T8" fmla="*/ 139 w 140"/>
                <a:gd name="T9" fmla="*/ 28 h 56"/>
                <a:gd name="T10" fmla="*/ 111 w 140"/>
                <a:gd name="T11" fmla="*/ 55 h 56"/>
                <a:gd name="T12" fmla="*/ 27 w 140"/>
                <a:gd name="T13" fmla="*/ 55 h 56"/>
                <a:gd name="T14" fmla="*/ 27 w 140"/>
                <a:gd name="T15" fmla="*/ 55 h 56"/>
                <a:gd name="T16" fmla="*/ 0 w 140"/>
                <a:gd name="T17" fmla="*/ 28 h 56"/>
                <a:gd name="T18" fmla="*/ 0 w 140"/>
                <a:gd name="T19" fmla="*/ 28 h 56"/>
                <a:gd name="T20" fmla="*/ 27 w 140"/>
                <a:gd name="T2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56">
                  <a:moveTo>
                    <a:pt x="27" y="0"/>
                  </a:moveTo>
                  <a:lnTo>
                    <a:pt x="111" y="0"/>
                  </a:lnTo>
                  <a:lnTo>
                    <a:pt x="111" y="0"/>
                  </a:lnTo>
                  <a:cubicBezTo>
                    <a:pt x="127" y="0"/>
                    <a:pt x="139" y="13"/>
                    <a:pt x="139" y="28"/>
                  </a:cubicBezTo>
                  <a:lnTo>
                    <a:pt x="139" y="28"/>
                  </a:lnTo>
                  <a:cubicBezTo>
                    <a:pt x="139" y="43"/>
                    <a:pt x="127" y="55"/>
                    <a:pt x="111" y="55"/>
                  </a:cubicBezTo>
                  <a:lnTo>
                    <a:pt x="27" y="55"/>
                  </a:lnTo>
                  <a:lnTo>
                    <a:pt x="27" y="55"/>
                  </a:lnTo>
                  <a:cubicBezTo>
                    <a:pt x="12" y="55"/>
                    <a:pt x="0" y="43"/>
                    <a:pt x="0" y="28"/>
                  </a:cubicBezTo>
                  <a:lnTo>
                    <a:pt x="0" y="28"/>
                  </a:lnTo>
                  <a:cubicBezTo>
                    <a:pt x="0" y="13"/>
                    <a:pt x="12" y="0"/>
                    <a:pt x="27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4" name="Freeform 70">
              <a:extLst>
                <a:ext uri="{FF2B5EF4-FFF2-40B4-BE49-F238E27FC236}">
                  <a16:creationId xmlns:a16="http://schemas.microsoft.com/office/drawing/2014/main" id="{708DDB70-931F-5340-AD9F-F1F5F7DA7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490" y="1455009"/>
              <a:ext cx="98854" cy="40158"/>
            </a:xfrm>
            <a:custGeom>
              <a:avLst/>
              <a:gdLst>
                <a:gd name="T0" fmla="*/ 27 w 140"/>
                <a:gd name="T1" fmla="*/ 0 h 56"/>
                <a:gd name="T2" fmla="*/ 111 w 140"/>
                <a:gd name="T3" fmla="*/ 0 h 56"/>
                <a:gd name="T4" fmla="*/ 111 w 140"/>
                <a:gd name="T5" fmla="*/ 0 h 56"/>
                <a:gd name="T6" fmla="*/ 139 w 140"/>
                <a:gd name="T7" fmla="*/ 28 h 56"/>
                <a:gd name="T8" fmla="*/ 139 w 140"/>
                <a:gd name="T9" fmla="*/ 28 h 56"/>
                <a:gd name="T10" fmla="*/ 111 w 140"/>
                <a:gd name="T11" fmla="*/ 55 h 56"/>
                <a:gd name="T12" fmla="*/ 27 w 140"/>
                <a:gd name="T13" fmla="*/ 55 h 56"/>
                <a:gd name="T14" fmla="*/ 27 w 140"/>
                <a:gd name="T15" fmla="*/ 55 h 56"/>
                <a:gd name="T16" fmla="*/ 0 w 140"/>
                <a:gd name="T17" fmla="*/ 28 h 56"/>
                <a:gd name="T18" fmla="*/ 0 w 140"/>
                <a:gd name="T19" fmla="*/ 28 h 56"/>
                <a:gd name="T20" fmla="*/ 27 w 140"/>
                <a:gd name="T2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56">
                  <a:moveTo>
                    <a:pt x="27" y="0"/>
                  </a:moveTo>
                  <a:lnTo>
                    <a:pt x="111" y="0"/>
                  </a:lnTo>
                  <a:lnTo>
                    <a:pt x="111" y="0"/>
                  </a:lnTo>
                  <a:cubicBezTo>
                    <a:pt x="127" y="0"/>
                    <a:pt x="139" y="13"/>
                    <a:pt x="139" y="28"/>
                  </a:cubicBezTo>
                  <a:lnTo>
                    <a:pt x="139" y="28"/>
                  </a:lnTo>
                  <a:cubicBezTo>
                    <a:pt x="139" y="43"/>
                    <a:pt x="127" y="55"/>
                    <a:pt x="111" y="55"/>
                  </a:cubicBezTo>
                  <a:lnTo>
                    <a:pt x="27" y="55"/>
                  </a:lnTo>
                  <a:lnTo>
                    <a:pt x="27" y="55"/>
                  </a:lnTo>
                  <a:cubicBezTo>
                    <a:pt x="12" y="55"/>
                    <a:pt x="0" y="43"/>
                    <a:pt x="0" y="28"/>
                  </a:cubicBezTo>
                  <a:lnTo>
                    <a:pt x="0" y="28"/>
                  </a:lnTo>
                  <a:cubicBezTo>
                    <a:pt x="0" y="13"/>
                    <a:pt x="12" y="0"/>
                    <a:pt x="27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5" name="Freeform 71">
              <a:extLst>
                <a:ext uri="{FF2B5EF4-FFF2-40B4-BE49-F238E27FC236}">
                  <a16:creationId xmlns:a16="http://schemas.microsoft.com/office/drawing/2014/main" id="{73B490FB-9F66-5941-9F51-5E694CE2E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9039" y="982362"/>
              <a:ext cx="330542" cy="410863"/>
            </a:xfrm>
            <a:custGeom>
              <a:avLst/>
              <a:gdLst>
                <a:gd name="T0" fmla="*/ 438 w 471"/>
                <a:gd name="T1" fmla="*/ 0 h 586"/>
                <a:gd name="T2" fmla="*/ 438 w 471"/>
                <a:gd name="T3" fmla="*/ 0 h 586"/>
                <a:gd name="T4" fmla="*/ 463 w 471"/>
                <a:gd name="T5" fmla="*/ 14 h 586"/>
                <a:gd name="T6" fmla="*/ 463 w 471"/>
                <a:gd name="T7" fmla="*/ 14 h 586"/>
                <a:gd name="T8" fmla="*/ 470 w 471"/>
                <a:gd name="T9" fmla="*/ 521 h 586"/>
                <a:gd name="T10" fmla="*/ 470 w 471"/>
                <a:gd name="T11" fmla="*/ 521 h 586"/>
                <a:gd name="T12" fmla="*/ 355 w 471"/>
                <a:gd name="T13" fmla="*/ 585 h 586"/>
                <a:gd name="T14" fmla="*/ 114 w 471"/>
                <a:gd name="T15" fmla="*/ 585 h 586"/>
                <a:gd name="T16" fmla="*/ 114 w 471"/>
                <a:gd name="T17" fmla="*/ 585 h 586"/>
                <a:gd name="T18" fmla="*/ 0 w 471"/>
                <a:gd name="T19" fmla="*/ 521 h 586"/>
                <a:gd name="T20" fmla="*/ 6 w 471"/>
                <a:gd name="T21" fmla="*/ 14 h 586"/>
                <a:gd name="T22" fmla="*/ 6 w 471"/>
                <a:gd name="T23" fmla="*/ 14 h 586"/>
                <a:gd name="T24" fmla="*/ 6 w 471"/>
                <a:gd name="T25" fmla="*/ 14 h 586"/>
                <a:gd name="T26" fmla="*/ 31 w 471"/>
                <a:gd name="T27" fmla="*/ 0 h 586"/>
                <a:gd name="T28" fmla="*/ 438 w 471"/>
                <a:gd name="T29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1" h="586">
                  <a:moveTo>
                    <a:pt x="438" y="0"/>
                  </a:moveTo>
                  <a:lnTo>
                    <a:pt x="438" y="0"/>
                  </a:lnTo>
                  <a:cubicBezTo>
                    <a:pt x="452" y="0"/>
                    <a:pt x="463" y="5"/>
                    <a:pt x="463" y="14"/>
                  </a:cubicBezTo>
                  <a:lnTo>
                    <a:pt x="463" y="14"/>
                  </a:lnTo>
                  <a:lnTo>
                    <a:pt x="470" y="521"/>
                  </a:lnTo>
                  <a:lnTo>
                    <a:pt x="470" y="521"/>
                  </a:lnTo>
                  <a:cubicBezTo>
                    <a:pt x="470" y="557"/>
                    <a:pt x="419" y="585"/>
                    <a:pt x="355" y="585"/>
                  </a:cubicBezTo>
                  <a:lnTo>
                    <a:pt x="114" y="585"/>
                  </a:lnTo>
                  <a:lnTo>
                    <a:pt x="114" y="585"/>
                  </a:lnTo>
                  <a:cubicBezTo>
                    <a:pt x="51" y="585"/>
                    <a:pt x="0" y="557"/>
                    <a:pt x="0" y="521"/>
                  </a:cubicBez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ubicBezTo>
                    <a:pt x="6" y="5"/>
                    <a:pt x="17" y="0"/>
                    <a:pt x="31" y="0"/>
                  </a:cubicBezTo>
                  <a:lnTo>
                    <a:pt x="438" y="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78E92EF-111A-BC4D-A7AE-C8CC38BC93E9}"/>
              </a:ext>
            </a:extLst>
          </p:cNvPr>
          <p:cNvGrpSpPr/>
          <p:nvPr/>
        </p:nvGrpSpPr>
        <p:grpSpPr>
          <a:xfrm>
            <a:off x="8617867" y="8683712"/>
            <a:ext cx="1115196" cy="673443"/>
            <a:chOff x="7320769" y="8683712"/>
            <a:chExt cx="1115196" cy="673443"/>
          </a:xfrm>
        </p:grpSpPr>
        <p:sp>
          <p:nvSpPr>
            <p:cNvPr id="256" name="Freeform 72">
              <a:extLst>
                <a:ext uri="{FF2B5EF4-FFF2-40B4-BE49-F238E27FC236}">
                  <a16:creationId xmlns:a16="http://schemas.microsoft.com/office/drawing/2014/main" id="{BE0DD0E2-9553-494D-8F34-5E60FD2B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0769" y="8751674"/>
              <a:ext cx="1115196" cy="537519"/>
            </a:xfrm>
            <a:custGeom>
              <a:avLst/>
              <a:gdLst>
                <a:gd name="T0" fmla="*/ 0 w 1594"/>
                <a:gd name="T1" fmla="*/ 672 h 767"/>
                <a:gd name="T2" fmla="*/ 0 w 1594"/>
                <a:gd name="T3" fmla="*/ 94 h 767"/>
                <a:gd name="T4" fmla="*/ 0 w 1594"/>
                <a:gd name="T5" fmla="*/ 94 h 767"/>
                <a:gd name="T6" fmla="*/ 84 w 1594"/>
                <a:gd name="T7" fmla="*/ 10 h 767"/>
                <a:gd name="T8" fmla="*/ 178 w 1594"/>
                <a:gd name="T9" fmla="*/ 0 h 767"/>
                <a:gd name="T10" fmla="*/ 1383 w 1594"/>
                <a:gd name="T11" fmla="*/ 0 h 767"/>
                <a:gd name="T12" fmla="*/ 1383 w 1594"/>
                <a:gd name="T13" fmla="*/ 0 h 767"/>
                <a:gd name="T14" fmla="*/ 1593 w 1594"/>
                <a:gd name="T15" fmla="*/ 211 h 767"/>
                <a:gd name="T16" fmla="*/ 1593 w 1594"/>
                <a:gd name="T17" fmla="*/ 555 h 767"/>
                <a:gd name="T18" fmla="*/ 1593 w 1594"/>
                <a:gd name="T19" fmla="*/ 555 h 767"/>
                <a:gd name="T20" fmla="*/ 1383 w 1594"/>
                <a:gd name="T21" fmla="*/ 766 h 767"/>
                <a:gd name="T22" fmla="*/ 178 w 1594"/>
                <a:gd name="T23" fmla="*/ 766 h 767"/>
                <a:gd name="T24" fmla="*/ 84 w 1594"/>
                <a:gd name="T25" fmla="*/ 757 h 767"/>
                <a:gd name="T26" fmla="*/ 84 w 1594"/>
                <a:gd name="T27" fmla="*/ 757 h 767"/>
                <a:gd name="T28" fmla="*/ 0 w 1594"/>
                <a:gd name="T29" fmla="*/ 672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4" h="767">
                  <a:moveTo>
                    <a:pt x="0" y="672"/>
                  </a:moveTo>
                  <a:lnTo>
                    <a:pt x="0" y="94"/>
                  </a:lnTo>
                  <a:lnTo>
                    <a:pt x="0" y="94"/>
                  </a:lnTo>
                  <a:cubicBezTo>
                    <a:pt x="0" y="47"/>
                    <a:pt x="37" y="10"/>
                    <a:pt x="84" y="10"/>
                  </a:cubicBezTo>
                  <a:lnTo>
                    <a:pt x="178" y="0"/>
                  </a:lnTo>
                  <a:lnTo>
                    <a:pt x="1383" y="0"/>
                  </a:lnTo>
                  <a:lnTo>
                    <a:pt x="1383" y="0"/>
                  </a:lnTo>
                  <a:cubicBezTo>
                    <a:pt x="1499" y="0"/>
                    <a:pt x="1593" y="95"/>
                    <a:pt x="1593" y="211"/>
                  </a:cubicBezTo>
                  <a:lnTo>
                    <a:pt x="1593" y="555"/>
                  </a:lnTo>
                  <a:lnTo>
                    <a:pt x="1593" y="555"/>
                  </a:lnTo>
                  <a:cubicBezTo>
                    <a:pt x="1593" y="671"/>
                    <a:pt x="1499" y="766"/>
                    <a:pt x="1383" y="766"/>
                  </a:cubicBezTo>
                  <a:lnTo>
                    <a:pt x="178" y="766"/>
                  </a:lnTo>
                  <a:lnTo>
                    <a:pt x="84" y="757"/>
                  </a:lnTo>
                  <a:lnTo>
                    <a:pt x="84" y="757"/>
                  </a:lnTo>
                  <a:cubicBezTo>
                    <a:pt x="37" y="757"/>
                    <a:pt x="0" y="719"/>
                    <a:pt x="0" y="672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7" name="Freeform 73">
              <a:extLst>
                <a:ext uri="{FF2B5EF4-FFF2-40B4-BE49-F238E27FC236}">
                  <a16:creationId xmlns:a16="http://schemas.microsoft.com/office/drawing/2014/main" id="{403518F4-7D35-724F-A706-A36B26848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8034" y="8683712"/>
              <a:ext cx="40158" cy="101942"/>
            </a:xfrm>
            <a:custGeom>
              <a:avLst/>
              <a:gdLst>
                <a:gd name="T0" fmla="*/ 0 w 59"/>
                <a:gd name="T1" fmla="*/ 117 h 146"/>
                <a:gd name="T2" fmla="*/ 0 w 59"/>
                <a:gd name="T3" fmla="*/ 29 h 146"/>
                <a:gd name="T4" fmla="*/ 0 w 59"/>
                <a:gd name="T5" fmla="*/ 29 h 146"/>
                <a:gd name="T6" fmla="*/ 29 w 59"/>
                <a:gd name="T7" fmla="*/ 0 h 146"/>
                <a:gd name="T8" fmla="*/ 29 w 59"/>
                <a:gd name="T9" fmla="*/ 0 h 146"/>
                <a:gd name="T10" fmla="*/ 58 w 59"/>
                <a:gd name="T11" fmla="*/ 29 h 146"/>
                <a:gd name="T12" fmla="*/ 58 w 59"/>
                <a:gd name="T13" fmla="*/ 117 h 146"/>
                <a:gd name="T14" fmla="*/ 58 w 59"/>
                <a:gd name="T15" fmla="*/ 117 h 146"/>
                <a:gd name="T16" fmla="*/ 29 w 59"/>
                <a:gd name="T17" fmla="*/ 145 h 146"/>
                <a:gd name="T18" fmla="*/ 29 w 59"/>
                <a:gd name="T19" fmla="*/ 145 h 146"/>
                <a:gd name="T20" fmla="*/ 0 w 59"/>
                <a:gd name="T21" fmla="*/ 1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46">
                  <a:moveTo>
                    <a:pt x="0" y="117"/>
                  </a:moveTo>
                  <a:lnTo>
                    <a:pt x="0" y="29"/>
                  </a:lnTo>
                  <a:lnTo>
                    <a:pt x="0" y="29"/>
                  </a:lnTo>
                  <a:cubicBezTo>
                    <a:pt x="0" y="13"/>
                    <a:pt x="13" y="0"/>
                    <a:pt x="29" y="0"/>
                  </a:cubicBezTo>
                  <a:lnTo>
                    <a:pt x="29" y="0"/>
                  </a:lnTo>
                  <a:cubicBezTo>
                    <a:pt x="45" y="0"/>
                    <a:pt x="58" y="13"/>
                    <a:pt x="58" y="29"/>
                  </a:cubicBezTo>
                  <a:lnTo>
                    <a:pt x="58" y="117"/>
                  </a:lnTo>
                  <a:lnTo>
                    <a:pt x="58" y="117"/>
                  </a:lnTo>
                  <a:cubicBezTo>
                    <a:pt x="58" y="132"/>
                    <a:pt x="45" y="145"/>
                    <a:pt x="29" y="145"/>
                  </a:cubicBezTo>
                  <a:lnTo>
                    <a:pt x="29" y="145"/>
                  </a:lnTo>
                  <a:cubicBezTo>
                    <a:pt x="13" y="145"/>
                    <a:pt x="0" y="132"/>
                    <a:pt x="0" y="117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8" name="Freeform 74">
              <a:extLst>
                <a:ext uri="{FF2B5EF4-FFF2-40B4-BE49-F238E27FC236}">
                  <a16:creationId xmlns:a16="http://schemas.microsoft.com/office/drawing/2014/main" id="{53D22347-C883-EE4F-B52F-4DA5716CD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8034" y="9255211"/>
              <a:ext cx="40158" cy="101944"/>
            </a:xfrm>
            <a:custGeom>
              <a:avLst/>
              <a:gdLst>
                <a:gd name="T0" fmla="*/ 0 w 59"/>
                <a:gd name="T1" fmla="*/ 117 h 146"/>
                <a:gd name="T2" fmla="*/ 0 w 59"/>
                <a:gd name="T3" fmla="*/ 29 h 146"/>
                <a:gd name="T4" fmla="*/ 0 w 59"/>
                <a:gd name="T5" fmla="*/ 29 h 146"/>
                <a:gd name="T6" fmla="*/ 29 w 59"/>
                <a:gd name="T7" fmla="*/ 0 h 146"/>
                <a:gd name="T8" fmla="*/ 29 w 59"/>
                <a:gd name="T9" fmla="*/ 0 h 146"/>
                <a:gd name="T10" fmla="*/ 58 w 59"/>
                <a:gd name="T11" fmla="*/ 29 h 146"/>
                <a:gd name="T12" fmla="*/ 58 w 59"/>
                <a:gd name="T13" fmla="*/ 117 h 146"/>
                <a:gd name="T14" fmla="*/ 58 w 59"/>
                <a:gd name="T15" fmla="*/ 117 h 146"/>
                <a:gd name="T16" fmla="*/ 29 w 59"/>
                <a:gd name="T17" fmla="*/ 145 h 146"/>
                <a:gd name="T18" fmla="*/ 29 w 59"/>
                <a:gd name="T19" fmla="*/ 145 h 146"/>
                <a:gd name="T20" fmla="*/ 0 w 59"/>
                <a:gd name="T21" fmla="*/ 1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46">
                  <a:moveTo>
                    <a:pt x="0" y="117"/>
                  </a:moveTo>
                  <a:lnTo>
                    <a:pt x="0" y="29"/>
                  </a:lnTo>
                  <a:lnTo>
                    <a:pt x="0" y="29"/>
                  </a:lnTo>
                  <a:cubicBezTo>
                    <a:pt x="0" y="13"/>
                    <a:pt x="13" y="0"/>
                    <a:pt x="29" y="0"/>
                  </a:cubicBezTo>
                  <a:lnTo>
                    <a:pt x="29" y="0"/>
                  </a:lnTo>
                  <a:cubicBezTo>
                    <a:pt x="45" y="0"/>
                    <a:pt x="58" y="13"/>
                    <a:pt x="58" y="29"/>
                  </a:cubicBezTo>
                  <a:lnTo>
                    <a:pt x="58" y="117"/>
                  </a:lnTo>
                  <a:lnTo>
                    <a:pt x="58" y="117"/>
                  </a:lnTo>
                  <a:cubicBezTo>
                    <a:pt x="58" y="133"/>
                    <a:pt x="45" y="145"/>
                    <a:pt x="29" y="145"/>
                  </a:cubicBezTo>
                  <a:lnTo>
                    <a:pt x="29" y="145"/>
                  </a:lnTo>
                  <a:cubicBezTo>
                    <a:pt x="13" y="145"/>
                    <a:pt x="0" y="133"/>
                    <a:pt x="0" y="117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59" name="Freeform 75">
              <a:extLst>
                <a:ext uri="{FF2B5EF4-FFF2-40B4-BE49-F238E27FC236}">
                  <a16:creationId xmlns:a16="http://schemas.microsoft.com/office/drawing/2014/main" id="{B71FAA94-80B2-5B47-962E-41F49C992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4749" y="8785654"/>
              <a:ext cx="1047236" cy="469557"/>
            </a:xfrm>
            <a:custGeom>
              <a:avLst/>
              <a:gdLst>
                <a:gd name="T0" fmla="*/ 0 w 1497"/>
                <a:gd name="T1" fmla="*/ 46 h 670"/>
                <a:gd name="T2" fmla="*/ 0 w 1497"/>
                <a:gd name="T3" fmla="*/ 46 h 670"/>
                <a:gd name="T4" fmla="*/ 35 w 1497"/>
                <a:gd name="T5" fmla="*/ 10 h 670"/>
                <a:gd name="T6" fmla="*/ 38 w 1497"/>
                <a:gd name="T7" fmla="*/ 10 h 670"/>
                <a:gd name="T8" fmla="*/ 131 w 1497"/>
                <a:gd name="T9" fmla="*/ 0 h 670"/>
                <a:gd name="T10" fmla="*/ 1334 w 1497"/>
                <a:gd name="T11" fmla="*/ 0 h 670"/>
                <a:gd name="T12" fmla="*/ 1334 w 1497"/>
                <a:gd name="T13" fmla="*/ 0 h 670"/>
                <a:gd name="T14" fmla="*/ 1496 w 1497"/>
                <a:gd name="T15" fmla="*/ 163 h 670"/>
                <a:gd name="T16" fmla="*/ 1496 w 1497"/>
                <a:gd name="T17" fmla="*/ 507 h 670"/>
                <a:gd name="T18" fmla="*/ 1496 w 1497"/>
                <a:gd name="T19" fmla="*/ 507 h 670"/>
                <a:gd name="T20" fmla="*/ 1334 w 1497"/>
                <a:gd name="T21" fmla="*/ 669 h 670"/>
                <a:gd name="T22" fmla="*/ 131 w 1497"/>
                <a:gd name="T23" fmla="*/ 669 h 670"/>
                <a:gd name="T24" fmla="*/ 38 w 1497"/>
                <a:gd name="T25" fmla="*/ 660 h 670"/>
                <a:gd name="T26" fmla="*/ 35 w 1497"/>
                <a:gd name="T27" fmla="*/ 660 h 670"/>
                <a:gd name="T28" fmla="*/ 35 w 1497"/>
                <a:gd name="T29" fmla="*/ 660 h 670"/>
                <a:gd name="T30" fmla="*/ 0 w 1497"/>
                <a:gd name="T31" fmla="*/ 624 h 670"/>
                <a:gd name="T32" fmla="*/ 0 w 1497"/>
                <a:gd name="T33" fmla="*/ 4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97" h="670">
                  <a:moveTo>
                    <a:pt x="0" y="46"/>
                  </a:moveTo>
                  <a:lnTo>
                    <a:pt x="0" y="46"/>
                  </a:lnTo>
                  <a:cubicBezTo>
                    <a:pt x="0" y="26"/>
                    <a:pt x="15" y="10"/>
                    <a:pt x="35" y="10"/>
                  </a:cubicBezTo>
                  <a:lnTo>
                    <a:pt x="38" y="10"/>
                  </a:lnTo>
                  <a:lnTo>
                    <a:pt x="131" y="0"/>
                  </a:lnTo>
                  <a:lnTo>
                    <a:pt x="1334" y="0"/>
                  </a:lnTo>
                  <a:lnTo>
                    <a:pt x="1334" y="0"/>
                  </a:lnTo>
                  <a:cubicBezTo>
                    <a:pt x="1423" y="0"/>
                    <a:pt x="1496" y="73"/>
                    <a:pt x="1496" y="163"/>
                  </a:cubicBezTo>
                  <a:lnTo>
                    <a:pt x="1496" y="507"/>
                  </a:lnTo>
                  <a:lnTo>
                    <a:pt x="1496" y="507"/>
                  </a:lnTo>
                  <a:cubicBezTo>
                    <a:pt x="1496" y="597"/>
                    <a:pt x="1423" y="669"/>
                    <a:pt x="1334" y="669"/>
                  </a:cubicBezTo>
                  <a:lnTo>
                    <a:pt x="131" y="669"/>
                  </a:lnTo>
                  <a:lnTo>
                    <a:pt x="38" y="660"/>
                  </a:lnTo>
                  <a:lnTo>
                    <a:pt x="35" y="660"/>
                  </a:lnTo>
                  <a:lnTo>
                    <a:pt x="35" y="660"/>
                  </a:lnTo>
                  <a:cubicBezTo>
                    <a:pt x="15" y="660"/>
                    <a:pt x="0" y="643"/>
                    <a:pt x="0" y="624"/>
                  </a:cubicBezTo>
                  <a:lnTo>
                    <a:pt x="0" y="4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0" name="Freeform 76">
              <a:extLst>
                <a:ext uri="{FF2B5EF4-FFF2-40B4-BE49-F238E27FC236}">
                  <a16:creationId xmlns:a16="http://schemas.microsoft.com/office/drawing/2014/main" id="{FDAE85A5-ADA9-6047-BDF2-E76450B82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2239" y="9122377"/>
              <a:ext cx="117389" cy="117389"/>
            </a:xfrm>
            <a:custGeom>
              <a:avLst/>
              <a:gdLst>
                <a:gd name="T0" fmla="*/ 0 w 167"/>
                <a:gd name="T1" fmla="*/ 140 h 167"/>
                <a:gd name="T2" fmla="*/ 0 w 167"/>
                <a:gd name="T3" fmla="*/ 140 h 167"/>
                <a:gd name="T4" fmla="*/ 27 w 167"/>
                <a:gd name="T5" fmla="*/ 113 h 167"/>
                <a:gd name="T6" fmla="*/ 27 w 167"/>
                <a:gd name="T7" fmla="*/ 113 h 167"/>
                <a:gd name="T8" fmla="*/ 113 w 167"/>
                <a:gd name="T9" fmla="*/ 26 h 167"/>
                <a:gd name="T10" fmla="*/ 113 w 167"/>
                <a:gd name="T11" fmla="*/ 26 h 167"/>
                <a:gd name="T12" fmla="*/ 140 w 167"/>
                <a:gd name="T13" fmla="*/ 0 h 167"/>
                <a:gd name="T14" fmla="*/ 140 w 167"/>
                <a:gd name="T15" fmla="*/ 0 h 167"/>
                <a:gd name="T16" fmla="*/ 166 w 167"/>
                <a:gd name="T17" fmla="*/ 26 h 167"/>
                <a:gd name="T18" fmla="*/ 166 w 167"/>
                <a:gd name="T19" fmla="*/ 26 h 167"/>
                <a:gd name="T20" fmla="*/ 27 w 167"/>
                <a:gd name="T21" fmla="*/ 166 h 167"/>
                <a:gd name="T22" fmla="*/ 27 w 167"/>
                <a:gd name="T23" fmla="*/ 166 h 167"/>
                <a:gd name="T24" fmla="*/ 0 w 167"/>
                <a:gd name="T25" fmla="*/ 14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67">
                  <a:moveTo>
                    <a:pt x="0" y="140"/>
                  </a:moveTo>
                  <a:lnTo>
                    <a:pt x="0" y="140"/>
                  </a:lnTo>
                  <a:cubicBezTo>
                    <a:pt x="0" y="125"/>
                    <a:pt x="12" y="113"/>
                    <a:pt x="27" y="113"/>
                  </a:cubicBezTo>
                  <a:lnTo>
                    <a:pt x="27" y="113"/>
                  </a:lnTo>
                  <a:cubicBezTo>
                    <a:pt x="75" y="113"/>
                    <a:pt x="113" y="74"/>
                    <a:pt x="113" y="26"/>
                  </a:cubicBezTo>
                  <a:lnTo>
                    <a:pt x="113" y="26"/>
                  </a:lnTo>
                  <a:cubicBezTo>
                    <a:pt x="113" y="11"/>
                    <a:pt x="126" y="0"/>
                    <a:pt x="140" y="0"/>
                  </a:cubicBezTo>
                  <a:lnTo>
                    <a:pt x="140" y="0"/>
                  </a:lnTo>
                  <a:cubicBezTo>
                    <a:pt x="154" y="0"/>
                    <a:pt x="166" y="11"/>
                    <a:pt x="166" y="26"/>
                  </a:cubicBezTo>
                  <a:lnTo>
                    <a:pt x="166" y="26"/>
                  </a:lnTo>
                  <a:cubicBezTo>
                    <a:pt x="166" y="103"/>
                    <a:pt x="103" y="166"/>
                    <a:pt x="27" y="166"/>
                  </a:cubicBezTo>
                  <a:lnTo>
                    <a:pt x="27" y="166"/>
                  </a:lnTo>
                  <a:cubicBezTo>
                    <a:pt x="12" y="166"/>
                    <a:pt x="0" y="154"/>
                    <a:pt x="0" y="14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1" name="Freeform 77">
              <a:extLst>
                <a:ext uri="{FF2B5EF4-FFF2-40B4-BE49-F238E27FC236}">
                  <a16:creationId xmlns:a16="http://schemas.microsoft.com/office/drawing/2014/main" id="{74470410-1275-E044-929E-AB9B1F441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2239" y="8801101"/>
              <a:ext cx="117389" cy="117389"/>
            </a:xfrm>
            <a:custGeom>
              <a:avLst/>
              <a:gdLst>
                <a:gd name="T0" fmla="*/ 0 w 167"/>
                <a:gd name="T1" fmla="*/ 26 h 167"/>
                <a:gd name="T2" fmla="*/ 0 w 167"/>
                <a:gd name="T3" fmla="*/ 26 h 167"/>
                <a:gd name="T4" fmla="*/ 27 w 167"/>
                <a:gd name="T5" fmla="*/ 0 h 167"/>
                <a:gd name="T6" fmla="*/ 27 w 167"/>
                <a:gd name="T7" fmla="*/ 0 h 167"/>
                <a:gd name="T8" fmla="*/ 166 w 167"/>
                <a:gd name="T9" fmla="*/ 140 h 167"/>
                <a:gd name="T10" fmla="*/ 166 w 167"/>
                <a:gd name="T11" fmla="*/ 140 h 167"/>
                <a:gd name="T12" fmla="*/ 140 w 167"/>
                <a:gd name="T13" fmla="*/ 166 h 167"/>
                <a:gd name="T14" fmla="*/ 140 w 167"/>
                <a:gd name="T15" fmla="*/ 166 h 167"/>
                <a:gd name="T16" fmla="*/ 113 w 167"/>
                <a:gd name="T17" fmla="*/ 140 h 167"/>
                <a:gd name="T18" fmla="*/ 113 w 167"/>
                <a:gd name="T19" fmla="*/ 140 h 167"/>
                <a:gd name="T20" fmla="*/ 27 w 167"/>
                <a:gd name="T21" fmla="*/ 52 h 167"/>
                <a:gd name="T22" fmla="*/ 27 w 167"/>
                <a:gd name="T23" fmla="*/ 52 h 167"/>
                <a:gd name="T24" fmla="*/ 0 w 167"/>
                <a:gd name="T25" fmla="*/ 2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67">
                  <a:moveTo>
                    <a:pt x="0" y="26"/>
                  </a:moveTo>
                  <a:lnTo>
                    <a:pt x="0" y="26"/>
                  </a:lnTo>
                  <a:cubicBezTo>
                    <a:pt x="0" y="11"/>
                    <a:pt x="12" y="0"/>
                    <a:pt x="27" y="0"/>
                  </a:cubicBezTo>
                  <a:lnTo>
                    <a:pt x="27" y="0"/>
                  </a:lnTo>
                  <a:cubicBezTo>
                    <a:pt x="103" y="0"/>
                    <a:pt x="166" y="62"/>
                    <a:pt x="166" y="140"/>
                  </a:cubicBezTo>
                  <a:lnTo>
                    <a:pt x="166" y="140"/>
                  </a:lnTo>
                  <a:cubicBezTo>
                    <a:pt x="166" y="154"/>
                    <a:pt x="154" y="166"/>
                    <a:pt x="140" y="166"/>
                  </a:cubicBezTo>
                  <a:lnTo>
                    <a:pt x="140" y="166"/>
                  </a:lnTo>
                  <a:cubicBezTo>
                    <a:pt x="126" y="166"/>
                    <a:pt x="113" y="154"/>
                    <a:pt x="113" y="140"/>
                  </a:cubicBezTo>
                  <a:lnTo>
                    <a:pt x="113" y="140"/>
                  </a:lnTo>
                  <a:cubicBezTo>
                    <a:pt x="113" y="91"/>
                    <a:pt x="75" y="52"/>
                    <a:pt x="27" y="52"/>
                  </a:cubicBezTo>
                  <a:lnTo>
                    <a:pt x="27" y="52"/>
                  </a:lnTo>
                  <a:cubicBezTo>
                    <a:pt x="12" y="52"/>
                    <a:pt x="0" y="41"/>
                    <a:pt x="0" y="26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2" name="Freeform 78">
              <a:extLst>
                <a:ext uri="{FF2B5EF4-FFF2-40B4-BE49-F238E27FC236}">
                  <a16:creationId xmlns:a16="http://schemas.microsoft.com/office/drawing/2014/main" id="{5139B298-675F-7044-9F1A-3DCB32E37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4336" y="8816546"/>
              <a:ext cx="667265" cy="407773"/>
            </a:xfrm>
            <a:custGeom>
              <a:avLst/>
              <a:gdLst>
                <a:gd name="T0" fmla="*/ 0 w 951"/>
                <a:gd name="T1" fmla="*/ 40 h 582"/>
                <a:gd name="T2" fmla="*/ 0 w 951"/>
                <a:gd name="T3" fmla="*/ 40 h 582"/>
                <a:gd name="T4" fmla="*/ 22 w 951"/>
                <a:gd name="T5" fmla="*/ 9 h 582"/>
                <a:gd name="T6" fmla="*/ 24 w 951"/>
                <a:gd name="T7" fmla="*/ 9 h 582"/>
                <a:gd name="T8" fmla="*/ 84 w 951"/>
                <a:gd name="T9" fmla="*/ 0 h 582"/>
                <a:gd name="T10" fmla="*/ 848 w 951"/>
                <a:gd name="T11" fmla="*/ 0 h 582"/>
                <a:gd name="T12" fmla="*/ 848 w 951"/>
                <a:gd name="T13" fmla="*/ 0 h 582"/>
                <a:gd name="T14" fmla="*/ 950 w 951"/>
                <a:gd name="T15" fmla="*/ 141 h 582"/>
                <a:gd name="T16" fmla="*/ 950 w 951"/>
                <a:gd name="T17" fmla="*/ 440 h 582"/>
                <a:gd name="T18" fmla="*/ 950 w 951"/>
                <a:gd name="T19" fmla="*/ 440 h 582"/>
                <a:gd name="T20" fmla="*/ 848 w 951"/>
                <a:gd name="T21" fmla="*/ 581 h 582"/>
                <a:gd name="T22" fmla="*/ 84 w 951"/>
                <a:gd name="T23" fmla="*/ 581 h 582"/>
                <a:gd name="T24" fmla="*/ 24 w 951"/>
                <a:gd name="T25" fmla="*/ 572 h 582"/>
                <a:gd name="T26" fmla="*/ 22 w 951"/>
                <a:gd name="T27" fmla="*/ 572 h 582"/>
                <a:gd name="T28" fmla="*/ 22 w 951"/>
                <a:gd name="T29" fmla="*/ 572 h 582"/>
                <a:gd name="T30" fmla="*/ 0 w 951"/>
                <a:gd name="T31" fmla="*/ 542 h 582"/>
                <a:gd name="T32" fmla="*/ 0 w 951"/>
                <a:gd name="T33" fmla="*/ 4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1" h="582">
                  <a:moveTo>
                    <a:pt x="0" y="40"/>
                  </a:moveTo>
                  <a:lnTo>
                    <a:pt x="0" y="40"/>
                  </a:lnTo>
                  <a:cubicBezTo>
                    <a:pt x="0" y="23"/>
                    <a:pt x="10" y="9"/>
                    <a:pt x="22" y="9"/>
                  </a:cubicBezTo>
                  <a:lnTo>
                    <a:pt x="24" y="9"/>
                  </a:lnTo>
                  <a:lnTo>
                    <a:pt x="84" y="0"/>
                  </a:lnTo>
                  <a:lnTo>
                    <a:pt x="848" y="0"/>
                  </a:lnTo>
                  <a:lnTo>
                    <a:pt x="848" y="0"/>
                  </a:lnTo>
                  <a:cubicBezTo>
                    <a:pt x="905" y="0"/>
                    <a:pt x="950" y="64"/>
                    <a:pt x="950" y="141"/>
                  </a:cubicBezTo>
                  <a:lnTo>
                    <a:pt x="950" y="440"/>
                  </a:lnTo>
                  <a:lnTo>
                    <a:pt x="950" y="440"/>
                  </a:lnTo>
                  <a:cubicBezTo>
                    <a:pt x="950" y="518"/>
                    <a:pt x="905" y="581"/>
                    <a:pt x="848" y="581"/>
                  </a:cubicBezTo>
                  <a:lnTo>
                    <a:pt x="84" y="581"/>
                  </a:lnTo>
                  <a:lnTo>
                    <a:pt x="24" y="572"/>
                  </a:lnTo>
                  <a:lnTo>
                    <a:pt x="22" y="572"/>
                  </a:lnTo>
                  <a:lnTo>
                    <a:pt x="22" y="572"/>
                  </a:lnTo>
                  <a:cubicBezTo>
                    <a:pt x="10" y="572"/>
                    <a:pt x="0" y="559"/>
                    <a:pt x="0" y="542"/>
                  </a:cubicBezTo>
                  <a:lnTo>
                    <a:pt x="0" y="4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3" name="Freeform 79">
              <a:extLst>
                <a:ext uri="{FF2B5EF4-FFF2-40B4-BE49-F238E27FC236}">
                  <a16:creationId xmlns:a16="http://schemas.microsoft.com/office/drawing/2014/main" id="{36FE639D-5485-4A43-88D1-27AC83891B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4336" y="9020432"/>
              <a:ext cx="667265" cy="203886"/>
            </a:xfrm>
            <a:custGeom>
              <a:avLst/>
              <a:gdLst>
                <a:gd name="T0" fmla="*/ 950 w 951"/>
                <a:gd name="T1" fmla="*/ 149 h 291"/>
                <a:gd name="T2" fmla="*/ 950 w 951"/>
                <a:gd name="T3" fmla="*/ 0 h 291"/>
                <a:gd name="T4" fmla="*/ 0 w 951"/>
                <a:gd name="T5" fmla="*/ 0 h 291"/>
                <a:gd name="T6" fmla="*/ 0 w 951"/>
                <a:gd name="T7" fmla="*/ 251 h 291"/>
                <a:gd name="T8" fmla="*/ 0 w 951"/>
                <a:gd name="T9" fmla="*/ 251 h 291"/>
                <a:gd name="T10" fmla="*/ 22 w 951"/>
                <a:gd name="T11" fmla="*/ 281 h 291"/>
                <a:gd name="T12" fmla="*/ 24 w 951"/>
                <a:gd name="T13" fmla="*/ 281 h 291"/>
                <a:gd name="T14" fmla="*/ 84 w 951"/>
                <a:gd name="T15" fmla="*/ 290 h 291"/>
                <a:gd name="T16" fmla="*/ 848 w 951"/>
                <a:gd name="T17" fmla="*/ 290 h 291"/>
                <a:gd name="T18" fmla="*/ 848 w 951"/>
                <a:gd name="T19" fmla="*/ 290 h 291"/>
                <a:gd name="T20" fmla="*/ 950 w 951"/>
                <a:gd name="T21" fmla="*/ 14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1" h="291">
                  <a:moveTo>
                    <a:pt x="950" y="149"/>
                  </a:moveTo>
                  <a:lnTo>
                    <a:pt x="950" y="0"/>
                  </a:lnTo>
                  <a:lnTo>
                    <a:pt x="0" y="0"/>
                  </a:lnTo>
                  <a:lnTo>
                    <a:pt x="0" y="251"/>
                  </a:lnTo>
                  <a:lnTo>
                    <a:pt x="0" y="251"/>
                  </a:lnTo>
                  <a:cubicBezTo>
                    <a:pt x="0" y="268"/>
                    <a:pt x="10" y="281"/>
                    <a:pt x="22" y="281"/>
                  </a:cubicBezTo>
                  <a:lnTo>
                    <a:pt x="24" y="281"/>
                  </a:lnTo>
                  <a:lnTo>
                    <a:pt x="84" y="290"/>
                  </a:lnTo>
                  <a:lnTo>
                    <a:pt x="848" y="290"/>
                  </a:lnTo>
                  <a:lnTo>
                    <a:pt x="848" y="290"/>
                  </a:lnTo>
                  <a:cubicBezTo>
                    <a:pt x="905" y="290"/>
                    <a:pt x="950" y="227"/>
                    <a:pt x="950" y="149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4" name="Freeform 80">
              <a:extLst>
                <a:ext uri="{FF2B5EF4-FFF2-40B4-BE49-F238E27FC236}">
                  <a16:creationId xmlns:a16="http://schemas.microsoft.com/office/drawing/2014/main" id="{F2925599-00A6-144A-9378-BE26B31C2F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3763" y="8850528"/>
              <a:ext cx="426308" cy="342899"/>
            </a:xfrm>
            <a:custGeom>
              <a:avLst/>
              <a:gdLst>
                <a:gd name="T0" fmla="*/ 0 w 610"/>
                <a:gd name="T1" fmla="*/ 33 h 491"/>
                <a:gd name="T2" fmla="*/ 0 w 610"/>
                <a:gd name="T3" fmla="*/ 33 h 491"/>
                <a:gd name="T4" fmla="*/ 14 w 610"/>
                <a:gd name="T5" fmla="*/ 7 h 491"/>
                <a:gd name="T6" fmla="*/ 15 w 610"/>
                <a:gd name="T7" fmla="*/ 7 h 491"/>
                <a:gd name="T8" fmla="*/ 542 w 610"/>
                <a:gd name="T9" fmla="*/ 0 h 491"/>
                <a:gd name="T10" fmla="*/ 542 w 610"/>
                <a:gd name="T11" fmla="*/ 0 h 491"/>
                <a:gd name="T12" fmla="*/ 609 w 610"/>
                <a:gd name="T13" fmla="*/ 119 h 491"/>
                <a:gd name="T14" fmla="*/ 609 w 610"/>
                <a:gd name="T15" fmla="*/ 371 h 491"/>
                <a:gd name="T16" fmla="*/ 609 w 610"/>
                <a:gd name="T17" fmla="*/ 371 h 491"/>
                <a:gd name="T18" fmla="*/ 542 w 610"/>
                <a:gd name="T19" fmla="*/ 490 h 491"/>
                <a:gd name="T20" fmla="*/ 15 w 610"/>
                <a:gd name="T21" fmla="*/ 483 h 491"/>
                <a:gd name="T22" fmla="*/ 14 w 610"/>
                <a:gd name="T23" fmla="*/ 483 h 491"/>
                <a:gd name="T24" fmla="*/ 14 w 610"/>
                <a:gd name="T25" fmla="*/ 483 h 491"/>
                <a:gd name="T26" fmla="*/ 0 w 610"/>
                <a:gd name="T27" fmla="*/ 457 h 491"/>
                <a:gd name="T28" fmla="*/ 0 w 610"/>
                <a:gd name="T29" fmla="*/ 33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10" h="491">
                  <a:moveTo>
                    <a:pt x="0" y="33"/>
                  </a:moveTo>
                  <a:lnTo>
                    <a:pt x="0" y="33"/>
                  </a:lnTo>
                  <a:cubicBezTo>
                    <a:pt x="0" y="18"/>
                    <a:pt x="6" y="7"/>
                    <a:pt x="14" y="7"/>
                  </a:cubicBezTo>
                  <a:lnTo>
                    <a:pt x="15" y="7"/>
                  </a:lnTo>
                  <a:lnTo>
                    <a:pt x="542" y="0"/>
                  </a:lnTo>
                  <a:lnTo>
                    <a:pt x="542" y="0"/>
                  </a:lnTo>
                  <a:cubicBezTo>
                    <a:pt x="579" y="0"/>
                    <a:pt x="609" y="53"/>
                    <a:pt x="609" y="119"/>
                  </a:cubicBezTo>
                  <a:lnTo>
                    <a:pt x="609" y="371"/>
                  </a:lnTo>
                  <a:lnTo>
                    <a:pt x="609" y="371"/>
                  </a:lnTo>
                  <a:cubicBezTo>
                    <a:pt x="609" y="437"/>
                    <a:pt x="579" y="490"/>
                    <a:pt x="542" y="490"/>
                  </a:cubicBezTo>
                  <a:lnTo>
                    <a:pt x="15" y="483"/>
                  </a:lnTo>
                  <a:lnTo>
                    <a:pt x="14" y="483"/>
                  </a:lnTo>
                  <a:lnTo>
                    <a:pt x="14" y="483"/>
                  </a:lnTo>
                  <a:cubicBezTo>
                    <a:pt x="6" y="483"/>
                    <a:pt x="0" y="471"/>
                    <a:pt x="0" y="457"/>
                  </a:cubicBezTo>
                  <a:lnTo>
                    <a:pt x="0" y="33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5" name="Freeform 81">
              <a:extLst>
                <a:ext uri="{FF2B5EF4-FFF2-40B4-BE49-F238E27FC236}">
                  <a16:creationId xmlns:a16="http://schemas.microsoft.com/office/drawing/2014/main" id="{9FFA2488-133F-2446-A99B-4C35F8086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0644" y="8788744"/>
              <a:ext cx="210065" cy="105032"/>
            </a:xfrm>
            <a:custGeom>
              <a:avLst/>
              <a:gdLst>
                <a:gd name="T0" fmla="*/ 0 w 301"/>
                <a:gd name="T1" fmla="*/ 124 h 149"/>
                <a:gd name="T2" fmla="*/ 0 w 301"/>
                <a:gd name="T3" fmla="*/ 124 h 149"/>
                <a:gd name="T4" fmla="*/ 13 w 301"/>
                <a:gd name="T5" fmla="*/ 105 h 149"/>
                <a:gd name="T6" fmla="*/ 269 w 301"/>
                <a:gd name="T7" fmla="*/ 5 h 149"/>
                <a:gd name="T8" fmla="*/ 269 w 301"/>
                <a:gd name="T9" fmla="*/ 5 h 149"/>
                <a:gd name="T10" fmla="*/ 296 w 301"/>
                <a:gd name="T11" fmla="*/ 17 h 149"/>
                <a:gd name="T12" fmla="*/ 296 w 301"/>
                <a:gd name="T13" fmla="*/ 17 h 149"/>
                <a:gd name="T14" fmla="*/ 285 w 301"/>
                <a:gd name="T15" fmla="*/ 44 h 149"/>
                <a:gd name="T16" fmla="*/ 29 w 301"/>
                <a:gd name="T17" fmla="*/ 144 h 149"/>
                <a:gd name="T18" fmla="*/ 29 w 301"/>
                <a:gd name="T19" fmla="*/ 144 h 149"/>
                <a:gd name="T20" fmla="*/ 2 w 301"/>
                <a:gd name="T21" fmla="*/ 132 h 149"/>
                <a:gd name="T22" fmla="*/ 2 w 301"/>
                <a:gd name="T23" fmla="*/ 132 h 149"/>
                <a:gd name="T24" fmla="*/ 0 w 301"/>
                <a:gd name="T25" fmla="*/ 12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1" h="149">
                  <a:moveTo>
                    <a:pt x="0" y="124"/>
                  </a:moveTo>
                  <a:lnTo>
                    <a:pt x="0" y="124"/>
                  </a:lnTo>
                  <a:cubicBezTo>
                    <a:pt x="0" y="116"/>
                    <a:pt x="5" y="108"/>
                    <a:pt x="13" y="105"/>
                  </a:cubicBezTo>
                  <a:lnTo>
                    <a:pt x="269" y="5"/>
                  </a:lnTo>
                  <a:lnTo>
                    <a:pt x="269" y="5"/>
                  </a:lnTo>
                  <a:cubicBezTo>
                    <a:pt x="280" y="0"/>
                    <a:pt x="292" y="6"/>
                    <a:pt x="296" y="17"/>
                  </a:cubicBezTo>
                  <a:lnTo>
                    <a:pt x="296" y="17"/>
                  </a:lnTo>
                  <a:cubicBezTo>
                    <a:pt x="300" y="28"/>
                    <a:pt x="295" y="40"/>
                    <a:pt x="285" y="44"/>
                  </a:cubicBezTo>
                  <a:lnTo>
                    <a:pt x="29" y="144"/>
                  </a:lnTo>
                  <a:lnTo>
                    <a:pt x="29" y="144"/>
                  </a:lnTo>
                  <a:cubicBezTo>
                    <a:pt x="18" y="148"/>
                    <a:pt x="6" y="143"/>
                    <a:pt x="2" y="132"/>
                  </a:cubicBezTo>
                  <a:lnTo>
                    <a:pt x="2" y="132"/>
                  </a:lnTo>
                  <a:cubicBezTo>
                    <a:pt x="0" y="129"/>
                    <a:pt x="0" y="127"/>
                    <a:pt x="0" y="12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6" name="Freeform 82">
              <a:extLst>
                <a:ext uri="{FF2B5EF4-FFF2-40B4-BE49-F238E27FC236}">
                  <a16:creationId xmlns:a16="http://schemas.microsoft.com/office/drawing/2014/main" id="{36547952-3F6F-594A-A27C-FF440A7D5C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3095" y="8791832"/>
              <a:ext cx="30892" cy="86497"/>
            </a:xfrm>
            <a:custGeom>
              <a:avLst/>
              <a:gdLst>
                <a:gd name="T0" fmla="*/ 0 w 43"/>
                <a:gd name="T1" fmla="*/ 101 h 123"/>
                <a:gd name="T2" fmla="*/ 0 w 43"/>
                <a:gd name="T3" fmla="*/ 21 h 123"/>
                <a:gd name="T4" fmla="*/ 0 w 43"/>
                <a:gd name="T5" fmla="*/ 21 h 123"/>
                <a:gd name="T6" fmla="*/ 21 w 43"/>
                <a:gd name="T7" fmla="*/ 0 h 123"/>
                <a:gd name="T8" fmla="*/ 21 w 43"/>
                <a:gd name="T9" fmla="*/ 0 h 123"/>
                <a:gd name="T10" fmla="*/ 42 w 43"/>
                <a:gd name="T11" fmla="*/ 21 h 123"/>
                <a:gd name="T12" fmla="*/ 42 w 43"/>
                <a:gd name="T13" fmla="*/ 101 h 123"/>
                <a:gd name="T14" fmla="*/ 42 w 43"/>
                <a:gd name="T15" fmla="*/ 101 h 123"/>
                <a:gd name="T16" fmla="*/ 21 w 43"/>
                <a:gd name="T17" fmla="*/ 122 h 123"/>
                <a:gd name="T18" fmla="*/ 21 w 43"/>
                <a:gd name="T19" fmla="*/ 122 h 123"/>
                <a:gd name="T20" fmla="*/ 0 w 43"/>
                <a:gd name="T21" fmla="*/ 10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23">
                  <a:moveTo>
                    <a:pt x="0" y="101"/>
                  </a:moveTo>
                  <a:lnTo>
                    <a:pt x="0" y="21"/>
                  </a:lnTo>
                  <a:lnTo>
                    <a:pt x="0" y="21"/>
                  </a:lnTo>
                  <a:cubicBezTo>
                    <a:pt x="0" y="9"/>
                    <a:pt x="9" y="0"/>
                    <a:pt x="21" y="0"/>
                  </a:cubicBezTo>
                  <a:lnTo>
                    <a:pt x="21" y="0"/>
                  </a:lnTo>
                  <a:cubicBezTo>
                    <a:pt x="33" y="0"/>
                    <a:pt x="42" y="9"/>
                    <a:pt x="42" y="21"/>
                  </a:cubicBezTo>
                  <a:lnTo>
                    <a:pt x="42" y="101"/>
                  </a:lnTo>
                  <a:lnTo>
                    <a:pt x="42" y="101"/>
                  </a:lnTo>
                  <a:cubicBezTo>
                    <a:pt x="42" y="112"/>
                    <a:pt x="33" y="122"/>
                    <a:pt x="21" y="122"/>
                  </a:cubicBezTo>
                  <a:lnTo>
                    <a:pt x="21" y="122"/>
                  </a:lnTo>
                  <a:cubicBezTo>
                    <a:pt x="9" y="122"/>
                    <a:pt x="0" y="112"/>
                    <a:pt x="0" y="1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7" name="Freeform 83">
              <a:extLst>
                <a:ext uri="{FF2B5EF4-FFF2-40B4-BE49-F238E27FC236}">
                  <a16:creationId xmlns:a16="http://schemas.microsoft.com/office/drawing/2014/main" id="{FEF8EAF3-37E2-844D-84C6-C69E7AA21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2711" y="8801101"/>
              <a:ext cx="101944" cy="80319"/>
            </a:xfrm>
            <a:custGeom>
              <a:avLst/>
              <a:gdLst>
                <a:gd name="T0" fmla="*/ 0 w 145"/>
                <a:gd name="T1" fmla="*/ 24 h 114"/>
                <a:gd name="T2" fmla="*/ 0 w 145"/>
                <a:gd name="T3" fmla="*/ 24 h 114"/>
                <a:gd name="T4" fmla="*/ 3 w 145"/>
                <a:gd name="T5" fmla="*/ 13 h 114"/>
                <a:gd name="T6" fmla="*/ 3 w 145"/>
                <a:gd name="T7" fmla="*/ 13 h 114"/>
                <a:gd name="T8" fmla="*/ 33 w 145"/>
                <a:gd name="T9" fmla="*/ 7 h 114"/>
                <a:gd name="T10" fmla="*/ 132 w 145"/>
                <a:gd name="T11" fmla="*/ 71 h 114"/>
                <a:gd name="T12" fmla="*/ 132 w 145"/>
                <a:gd name="T13" fmla="*/ 71 h 114"/>
                <a:gd name="T14" fmla="*/ 138 w 145"/>
                <a:gd name="T15" fmla="*/ 100 h 114"/>
                <a:gd name="T16" fmla="*/ 138 w 145"/>
                <a:gd name="T17" fmla="*/ 100 h 114"/>
                <a:gd name="T18" fmla="*/ 108 w 145"/>
                <a:gd name="T19" fmla="*/ 107 h 114"/>
                <a:gd name="T20" fmla="*/ 10 w 145"/>
                <a:gd name="T21" fmla="*/ 43 h 114"/>
                <a:gd name="T22" fmla="*/ 10 w 145"/>
                <a:gd name="T23" fmla="*/ 43 h 114"/>
                <a:gd name="T24" fmla="*/ 0 w 145"/>
                <a:gd name="T25" fmla="*/ 2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114">
                  <a:moveTo>
                    <a:pt x="0" y="24"/>
                  </a:moveTo>
                  <a:lnTo>
                    <a:pt x="0" y="24"/>
                  </a:lnTo>
                  <a:cubicBezTo>
                    <a:pt x="0" y="21"/>
                    <a:pt x="1" y="17"/>
                    <a:pt x="3" y="13"/>
                  </a:cubicBezTo>
                  <a:lnTo>
                    <a:pt x="3" y="13"/>
                  </a:lnTo>
                  <a:cubicBezTo>
                    <a:pt x="10" y="3"/>
                    <a:pt x="23" y="0"/>
                    <a:pt x="33" y="7"/>
                  </a:cubicBezTo>
                  <a:lnTo>
                    <a:pt x="132" y="71"/>
                  </a:lnTo>
                  <a:lnTo>
                    <a:pt x="132" y="71"/>
                  </a:lnTo>
                  <a:cubicBezTo>
                    <a:pt x="141" y="77"/>
                    <a:pt x="144" y="91"/>
                    <a:pt x="138" y="100"/>
                  </a:cubicBezTo>
                  <a:lnTo>
                    <a:pt x="138" y="100"/>
                  </a:lnTo>
                  <a:cubicBezTo>
                    <a:pt x="131" y="110"/>
                    <a:pt x="118" y="113"/>
                    <a:pt x="108" y="107"/>
                  </a:cubicBezTo>
                  <a:lnTo>
                    <a:pt x="10" y="43"/>
                  </a:lnTo>
                  <a:lnTo>
                    <a:pt x="10" y="43"/>
                  </a:lnTo>
                  <a:cubicBezTo>
                    <a:pt x="3" y="38"/>
                    <a:pt x="0" y="32"/>
                    <a:pt x="0" y="2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8" name="Freeform 84">
              <a:extLst>
                <a:ext uri="{FF2B5EF4-FFF2-40B4-BE49-F238E27FC236}">
                  <a16:creationId xmlns:a16="http://schemas.microsoft.com/office/drawing/2014/main" id="{58A2731D-9163-C148-BADF-B7F35F670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0644" y="9153269"/>
              <a:ext cx="210065" cy="105032"/>
            </a:xfrm>
            <a:custGeom>
              <a:avLst/>
              <a:gdLst>
                <a:gd name="T0" fmla="*/ 0 w 301"/>
                <a:gd name="T1" fmla="*/ 25 h 149"/>
                <a:gd name="T2" fmla="*/ 0 w 301"/>
                <a:gd name="T3" fmla="*/ 25 h 149"/>
                <a:gd name="T4" fmla="*/ 2 w 301"/>
                <a:gd name="T5" fmla="*/ 17 h 149"/>
                <a:gd name="T6" fmla="*/ 2 w 301"/>
                <a:gd name="T7" fmla="*/ 17 h 149"/>
                <a:gd name="T8" fmla="*/ 29 w 301"/>
                <a:gd name="T9" fmla="*/ 5 h 149"/>
                <a:gd name="T10" fmla="*/ 285 w 301"/>
                <a:gd name="T11" fmla="*/ 105 h 149"/>
                <a:gd name="T12" fmla="*/ 285 w 301"/>
                <a:gd name="T13" fmla="*/ 105 h 149"/>
                <a:gd name="T14" fmla="*/ 296 w 301"/>
                <a:gd name="T15" fmla="*/ 132 h 149"/>
                <a:gd name="T16" fmla="*/ 296 w 301"/>
                <a:gd name="T17" fmla="*/ 132 h 149"/>
                <a:gd name="T18" fmla="*/ 269 w 301"/>
                <a:gd name="T19" fmla="*/ 144 h 149"/>
                <a:gd name="T20" fmla="*/ 13 w 301"/>
                <a:gd name="T21" fmla="*/ 45 h 149"/>
                <a:gd name="T22" fmla="*/ 13 w 301"/>
                <a:gd name="T23" fmla="*/ 45 h 149"/>
                <a:gd name="T24" fmla="*/ 0 w 301"/>
                <a:gd name="T25" fmla="*/ 2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1" h="149">
                  <a:moveTo>
                    <a:pt x="0" y="25"/>
                  </a:moveTo>
                  <a:lnTo>
                    <a:pt x="0" y="25"/>
                  </a:lnTo>
                  <a:cubicBezTo>
                    <a:pt x="0" y="22"/>
                    <a:pt x="0" y="19"/>
                    <a:pt x="2" y="17"/>
                  </a:cubicBezTo>
                  <a:lnTo>
                    <a:pt x="2" y="17"/>
                  </a:lnTo>
                  <a:cubicBezTo>
                    <a:pt x="6" y="6"/>
                    <a:pt x="18" y="0"/>
                    <a:pt x="29" y="5"/>
                  </a:cubicBezTo>
                  <a:lnTo>
                    <a:pt x="285" y="105"/>
                  </a:lnTo>
                  <a:lnTo>
                    <a:pt x="285" y="105"/>
                  </a:lnTo>
                  <a:cubicBezTo>
                    <a:pt x="295" y="109"/>
                    <a:pt x="300" y="121"/>
                    <a:pt x="296" y="132"/>
                  </a:cubicBezTo>
                  <a:lnTo>
                    <a:pt x="296" y="132"/>
                  </a:lnTo>
                  <a:cubicBezTo>
                    <a:pt x="292" y="143"/>
                    <a:pt x="280" y="148"/>
                    <a:pt x="269" y="144"/>
                  </a:cubicBezTo>
                  <a:lnTo>
                    <a:pt x="13" y="45"/>
                  </a:lnTo>
                  <a:lnTo>
                    <a:pt x="13" y="45"/>
                  </a:lnTo>
                  <a:cubicBezTo>
                    <a:pt x="5" y="41"/>
                    <a:pt x="0" y="33"/>
                    <a:pt x="0" y="2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69" name="Freeform 85">
              <a:extLst>
                <a:ext uri="{FF2B5EF4-FFF2-40B4-BE49-F238E27FC236}">
                  <a16:creationId xmlns:a16="http://schemas.microsoft.com/office/drawing/2014/main" id="{A4D8427F-EF07-0248-A271-49F34512D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3095" y="9171804"/>
              <a:ext cx="30892" cy="86497"/>
            </a:xfrm>
            <a:custGeom>
              <a:avLst/>
              <a:gdLst>
                <a:gd name="T0" fmla="*/ 0 w 43"/>
                <a:gd name="T1" fmla="*/ 100 h 123"/>
                <a:gd name="T2" fmla="*/ 0 w 43"/>
                <a:gd name="T3" fmla="*/ 21 h 123"/>
                <a:gd name="T4" fmla="*/ 0 w 43"/>
                <a:gd name="T5" fmla="*/ 21 h 123"/>
                <a:gd name="T6" fmla="*/ 21 w 43"/>
                <a:gd name="T7" fmla="*/ 0 h 123"/>
                <a:gd name="T8" fmla="*/ 21 w 43"/>
                <a:gd name="T9" fmla="*/ 0 h 123"/>
                <a:gd name="T10" fmla="*/ 42 w 43"/>
                <a:gd name="T11" fmla="*/ 21 h 123"/>
                <a:gd name="T12" fmla="*/ 42 w 43"/>
                <a:gd name="T13" fmla="*/ 100 h 123"/>
                <a:gd name="T14" fmla="*/ 42 w 43"/>
                <a:gd name="T15" fmla="*/ 100 h 123"/>
                <a:gd name="T16" fmla="*/ 21 w 43"/>
                <a:gd name="T17" fmla="*/ 122 h 123"/>
                <a:gd name="T18" fmla="*/ 21 w 43"/>
                <a:gd name="T19" fmla="*/ 122 h 123"/>
                <a:gd name="T20" fmla="*/ 0 w 43"/>
                <a:gd name="T21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23">
                  <a:moveTo>
                    <a:pt x="0" y="100"/>
                  </a:moveTo>
                  <a:lnTo>
                    <a:pt x="0" y="21"/>
                  </a:lnTo>
                  <a:lnTo>
                    <a:pt x="0" y="21"/>
                  </a:lnTo>
                  <a:cubicBezTo>
                    <a:pt x="0" y="9"/>
                    <a:pt x="9" y="0"/>
                    <a:pt x="21" y="0"/>
                  </a:cubicBezTo>
                  <a:lnTo>
                    <a:pt x="21" y="0"/>
                  </a:lnTo>
                  <a:cubicBezTo>
                    <a:pt x="33" y="0"/>
                    <a:pt x="42" y="9"/>
                    <a:pt x="42" y="21"/>
                  </a:cubicBezTo>
                  <a:lnTo>
                    <a:pt x="42" y="100"/>
                  </a:lnTo>
                  <a:lnTo>
                    <a:pt x="42" y="100"/>
                  </a:lnTo>
                  <a:cubicBezTo>
                    <a:pt x="42" y="112"/>
                    <a:pt x="33" y="122"/>
                    <a:pt x="21" y="122"/>
                  </a:cubicBezTo>
                  <a:lnTo>
                    <a:pt x="21" y="122"/>
                  </a:lnTo>
                  <a:cubicBezTo>
                    <a:pt x="9" y="122"/>
                    <a:pt x="0" y="112"/>
                    <a:pt x="0" y="10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70" name="Freeform 86">
              <a:extLst>
                <a:ext uri="{FF2B5EF4-FFF2-40B4-BE49-F238E27FC236}">
                  <a16:creationId xmlns:a16="http://schemas.microsoft.com/office/drawing/2014/main" id="{DBBAFB7E-2170-DB45-A032-4CD2C3B80C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2711" y="9168714"/>
              <a:ext cx="101944" cy="80319"/>
            </a:xfrm>
            <a:custGeom>
              <a:avLst/>
              <a:gdLst>
                <a:gd name="T0" fmla="*/ 0 w 145"/>
                <a:gd name="T1" fmla="*/ 88 h 113"/>
                <a:gd name="T2" fmla="*/ 0 w 145"/>
                <a:gd name="T3" fmla="*/ 88 h 113"/>
                <a:gd name="T4" fmla="*/ 10 w 145"/>
                <a:gd name="T5" fmla="*/ 70 h 113"/>
                <a:gd name="T6" fmla="*/ 108 w 145"/>
                <a:gd name="T7" fmla="*/ 6 h 113"/>
                <a:gd name="T8" fmla="*/ 108 w 145"/>
                <a:gd name="T9" fmla="*/ 6 h 113"/>
                <a:gd name="T10" fmla="*/ 138 w 145"/>
                <a:gd name="T11" fmla="*/ 12 h 113"/>
                <a:gd name="T12" fmla="*/ 138 w 145"/>
                <a:gd name="T13" fmla="*/ 12 h 113"/>
                <a:gd name="T14" fmla="*/ 132 w 145"/>
                <a:gd name="T15" fmla="*/ 42 h 113"/>
                <a:gd name="T16" fmla="*/ 33 w 145"/>
                <a:gd name="T17" fmla="*/ 106 h 113"/>
                <a:gd name="T18" fmla="*/ 33 w 145"/>
                <a:gd name="T19" fmla="*/ 106 h 113"/>
                <a:gd name="T20" fmla="*/ 3 w 145"/>
                <a:gd name="T21" fmla="*/ 100 h 113"/>
                <a:gd name="T22" fmla="*/ 3 w 145"/>
                <a:gd name="T23" fmla="*/ 100 h 113"/>
                <a:gd name="T24" fmla="*/ 0 w 145"/>
                <a:gd name="T25" fmla="*/ 8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113">
                  <a:moveTo>
                    <a:pt x="0" y="88"/>
                  </a:moveTo>
                  <a:lnTo>
                    <a:pt x="0" y="88"/>
                  </a:lnTo>
                  <a:cubicBezTo>
                    <a:pt x="0" y="81"/>
                    <a:pt x="3" y="75"/>
                    <a:pt x="10" y="70"/>
                  </a:cubicBezTo>
                  <a:lnTo>
                    <a:pt x="108" y="6"/>
                  </a:lnTo>
                  <a:lnTo>
                    <a:pt x="108" y="6"/>
                  </a:lnTo>
                  <a:cubicBezTo>
                    <a:pt x="118" y="0"/>
                    <a:pt x="131" y="2"/>
                    <a:pt x="138" y="12"/>
                  </a:cubicBezTo>
                  <a:lnTo>
                    <a:pt x="138" y="12"/>
                  </a:lnTo>
                  <a:cubicBezTo>
                    <a:pt x="144" y="22"/>
                    <a:pt x="141" y="35"/>
                    <a:pt x="132" y="42"/>
                  </a:cubicBezTo>
                  <a:lnTo>
                    <a:pt x="33" y="106"/>
                  </a:lnTo>
                  <a:lnTo>
                    <a:pt x="33" y="106"/>
                  </a:lnTo>
                  <a:cubicBezTo>
                    <a:pt x="23" y="112"/>
                    <a:pt x="10" y="109"/>
                    <a:pt x="3" y="100"/>
                  </a:cubicBezTo>
                  <a:lnTo>
                    <a:pt x="3" y="100"/>
                  </a:lnTo>
                  <a:cubicBezTo>
                    <a:pt x="1" y="96"/>
                    <a:pt x="0" y="92"/>
                    <a:pt x="0" y="8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71" name="Freeform 87">
              <a:extLst>
                <a:ext uri="{FF2B5EF4-FFF2-40B4-BE49-F238E27FC236}">
                  <a16:creationId xmlns:a16="http://schemas.microsoft.com/office/drawing/2014/main" id="{2295625A-952D-0941-B4F7-DC2C0561B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6214" y="8791832"/>
              <a:ext cx="37070" cy="123568"/>
            </a:xfrm>
            <a:custGeom>
              <a:avLst/>
              <a:gdLst>
                <a:gd name="T0" fmla="*/ 0 w 54"/>
                <a:gd name="T1" fmla="*/ 149 h 176"/>
                <a:gd name="T2" fmla="*/ 0 w 54"/>
                <a:gd name="T3" fmla="*/ 27 h 176"/>
                <a:gd name="T4" fmla="*/ 0 w 54"/>
                <a:gd name="T5" fmla="*/ 27 h 176"/>
                <a:gd name="T6" fmla="*/ 27 w 54"/>
                <a:gd name="T7" fmla="*/ 0 h 176"/>
                <a:gd name="T8" fmla="*/ 27 w 54"/>
                <a:gd name="T9" fmla="*/ 0 h 176"/>
                <a:gd name="T10" fmla="*/ 53 w 54"/>
                <a:gd name="T11" fmla="*/ 27 h 176"/>
                <a:gd name="T12" fmla="*/ 53 w 54"/>
                <a:gd name="T13" fmla="*/ 149 h 176"/>
                <a:gd name="T14" fmla="*/ 53 w 54"/>
                <a:gd name="T15" fmla="*/ 149 h 176"/>
                <a:gd name="T16" fmla="*/ 27 w 54"/>
                <a:gd name="T17" fmla="*/ 175 h 176"/>
                <a:gd name="T18" fmla="*/ 27 w 54"/>
                <a:gd name="T19" fmla="*/ 175 h 176"/>
                <a:gd name="T20" fmla="*/ 0 w 54"/>
                <a:gd name="T21" fmla="*/ 14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76">
                  <a:moveTo>
                    <a:pt x="0" y="149"/>
                  </a:moveTo>
                  <a:lnTo>
                    <a:pt x="0" y="27"/>
                  </a:lnTo>
                  <a:lnTo>
                    <a:pt x="0" y="27"/>
                  </a:lnTo>
                  <a:cubicBezTo>
                    <a:pt x="0" y="12"/>
                    <a:pt x="12" y="0"/>
                    <a:pt x="27" y="0"/>
                  </a:cubicBezTo>
                  <a:lnTo>
                    <a:pt x="27" y="0"/>
                  </a:lnTo>
                  <a:cubicBezTo>
                    <a:pt x="41" y="0"/>
                    <a:pt x="53" y="12"/>
                    <a:pt x="53" y="27"/>
                  </a:cubicBezTo>
                  <a:lnTo>
                    <a:pt x="53" y="149"/>
                  </a:lnTo>
                  <a:lnTo>
                    <a:pt x="53" y="149"/>
                  </a:lnTo>
                  <a:cubicBezTo>
                    <a:pt x="53" y="164"/>
                    <a:pt x="41" y="175"/>
                    <a:pt x="27" y="175"/>
                  </a:cubicBezTo>
                  <a:lnTo>
                    <a:pt x="27" y="175"/>
                  </a:lnTo>
                  <a:cubicBezTo>
                    <a:pt x="12" y="175"/>
                    <a:pt x="0" y="164"/>
                    <a:pt x="0" y="149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272" name="Freeform 88">
              <a:extLst>
                <a:ext uri="{FF2B5EF4-FFF2-40B4-BE49-F238E27FC236}">
                  <a16:creationId xmlns:a16="http://schemas.microsoft.com/office/drawing/2014/main" id="{6F957389-D49B-A344-982B-D6212A157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6214" y="9122377"/>
              <a:ext cx="37070" cy="123568"/>
            </a:xfrm>
            <a:custGeom>
              <a:avLst/>
              <a:gdLst>
                <a:gd name="T0" fmla="*/ 0 w 54"/>
                <a:gd name="T1" fmla="*/ 149 h 177"/>
                <a:gd name="T2" fmla="*/ 0 w 54"/>
                <a:gd name="T3" fmla="*/ 26 h 177"/>
                <a:gd name="T4" fmla="*/ 0 w 54"/>
                <a:gd name="T5" fmla="*/ 26 h 177"/>
                <a:gd name="T6" fmla="*/ 27 w 54"/>
                <a:gd name="T7" fmla="*/ 0 h 177"/>
                <a:gd name="T8" fmla="*/ 27 w 54"/>
                <a:gd name="T9" fmla="*/ 0 h 177"/>
                <a:gd name="T10" fmla="*/ 53 w 54"/>
                <a:gd name="T11" fmla="*/ 26 h 177"/>
                <a:gd name="T12" fmla="*/ 53 w 54"/>
                <a:gd name="T13" fmla="*/ 149 h 177"/>
                <a:gd name="T14" fmla="*/ 53 w 54"/>
                <a:gd name="T15" fmla="*/ 149 h 177"/>
                <a:gd name="T16" fmla="*/ 27 w 54"/>
                <a:gd name="T17" fmla="*/ 176 h 177"/>
                <a:gd name="T18" fmla="*/ 27 w 54"/>
                <a:gd name="T19" fmla="*/ 176 h 177"/>
                <a:gd name="T20" fmla="*/ 0 w 54"/>
                <a:gd name="T21" fmla="*/ 1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77">
                  <a:moveTo>
                    <a:pt x="0" y="149"/>
                  </a:moveTo>
                  <a:lnTo>
                    <a:pt x="0" y="26"/>
                  </a:lnTo>
                  <a:lnTo>
                    <a:pt x="0" y="26"/>
                  </a:lnTo>
                  <a:cubicBezTo>
                    <a:pt x="0" y="12"/>
                    <a:pt x="12" y="0"/>
                    <a:pt x="27" y="0"/>
                  </a:cubicBezTo>
                  <a:lnTo>
                    <a:pt x="27" y="0"/>
                  </a:lnTo>
                  <a:cubicBezTo>
                    <a:pt x="41" y="0"/>
                    <a:pt x="53" y="12"/>
                    <a:pt x="53" y="26"/>
                  </a:cubicBezTo>
                  <a:lnTo>
                    <a:pt x="53" y="149"/>
                  </a:lnTo>
                  <a:lnTo>
                    <a:pt x="53" y="149"/>
                  </a:lnTo>
                  <a:cubicBezTo>
                    <a:pt x="53" y="164"/>
                    <a:pt x="41" y="176"/>
                    <a:pt x="27" y="176"/>
                  </a:cubicBezTo>
                  <a:lnTo>
                    <a:pt x="27" y="176"/>
                  </a:lnTo>
                  <a:cubicBezTo>
                    <a:pt x="12" y="176"/>
                    <a:pt x="0" y="164"/>
                    <a:pt x="0" y="149"/>
                  </a:cubicBezTo>
                </a:path>
              </a:pathLst>
            </a:custGeom>
            <a:solidFill>
              <a:srgbClr val="FFC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FCF941C-B9BF-E94B-820F-B0916EDA287F}"/>
              </a:ext>
            </a:extLst>
          </p:cNvPr>
          <p:cNvCxnSpPr>
            <a:stCxn id="13" idx="2"/>
          </p:cNvCxnSpPr>
          <p:nvPr/>
        </p:nvCxnSpPr>
        <p:spPr>
          <a:xfrm flipH="1" flipV="1">
            <a:off x="14617100" y="8668322"/>
            <a:ext cx="1720938" cy="1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ABC7237-18F2-C940-92B7-8E145F225832}"/>
              </a:ext>
            </a:extLst>
          </p:cNvPr>
          <p:cNvGrpSpPr/>
          <p:nvPr/>
        </p:nvGrpSpPr>
        <p:grpSpPr>
          <a:xfrm>
            <a:off x="16338038" y="7818216"/>
            <a:ext cx="1700213" cy="1700213"/>
            <a:chOff x="16338038" y="7818216"/>
            <a:chExt cx="1700213" cy="170021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C0772CC-ECA0-2343-99A9-552C613804CB}"/>
                </a:ext>
              </a:extLst>
            </p:cNvPr>
            <p:cNvSpPr/>
            <p:nvPr/>
          </p:nvSpPr>
          <p:spPr>
            <a:xfrm>
              <a:off x="16338038" y="7818216"/>
              <a:ext cx="1700213" cy="17002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0F83C7F3-4B90-ED4D-92B8-30100D21B283}"/>
                </a:ext>
              </a:extLst>
            </p:cNvPr>
            <p:cNvSpPr/>
            <p:nvPr/>
          </p:nvSpPr>
          <p:spPr>
            <a:xfrm>
              <a:off x="16503841" y="7986571"/>
              <a:ext cx="1363502" cy="1363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CE3DF06-1F41-FA4A-B07F-BDCB1B681541}"/>
              </a:ext>
            </a:extLst>
          </p:cNvPr>
          <p:cNvSpPr txBox="1"/>
          <p:nvPr/>
        </p:nvSpPr>
        <p:spPr>
          <a:xfrm>
            <a:off x="16878604" y="8159864"/>
            <a:ext cx="6190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1"/>
                </a:solidFill>
                <a:latin typeface="Fira Sans" panose="020B0503050000020004" pitchFamily="34" charset="0"/>
              </a:rPr>
              <a:t>4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202115F2-E615-9546-994F-06913BDC1160}"/>
              </a:ext>
            </a:extLst>
          </p:cNvPr>
          <p:cNvSpPr txBox="1"/>
          <p:nvPr/>
        </p:nvSpPr>
        <p:spPr>
          <a:xfrm>
            <a:off x="18295100" y="7923248"/>
            <a:ext cx="1576072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uccess</a:t>
            </a:r>
          </a:p>
        </p:txBody>
      </p:sp>
      <p:sp>
        <p:nvSpPr>
          <p:cNvPr id="286" name="Subtitle 2">
            <a:extLst>
              <a:ext uri="{FF2B5EF4-FFF2-40B4-BE49-F238E27FC236}">
                <a16:creationId xmlns:a16="http://schemas.microsoft.com/office/drawing/2014/main" id="{21FE07F3-9EF9-9A4A-9E3C-C6D1D8A7338A}"/>
              </a:ext>
            </a:extLst>
          </p:cNvPr>
          <p:cNvSpPr txBox="1">
            <a:spLocks/>
          </p:cNvSpPr>
          <p:nvPr/>
        </p:nvSpPr>
        <p:spPr>
          <a:xfrm>
            <a:off x="18184555" y="8528046"/>
            <a:ext cx="4672270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.</a:t>
            </a:r>
          </a:p>
        </p:txBody>
      </p: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695CD9E8-2E2E-624F-B781-3358ABFBF1DF}"/>
              </a:ext>
            </a:extLst>
          </p:cNvPr>
          <p:cNvCxnSpPr>
            <a:stCxn id="288" idx="2"/>
          </p:cNvCxnSpPr>
          <p:nvPr/>
        </p:nvCxnSpPr>
        <p:spPr>
          <a:xfrm flipH="1" flipV="1">
            <a:off x="13356682" y="4711587"/>
            <a:ext cx="1720938" cy="1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3E02E6F-F4F6-4544-B62B-F8562C6B9160}"/>
              </a:ext>
            </a:extLst>
          </p:cNvPr>
          <p:cNvGrpSpPr/>
          <p:nvPr/>
        </p:nvGrpSpPr>
        <p:grpSpPr>
          <a:xfrm>
            <a:off x="15077620" y="3861481"/>
            <a:ext cx="1700213" cy="1700213"/>
            <a:chOff x="15077620" y="3861481"/>
            <a:chExt cx="1700213" cy="1700213"/>
          </a:xfrm>
        </p:grpSpPr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7DEDBA54-D1A9-9E45-B302-105C994521E6}"/>
                </a:ext>
              </a:extLst>
            </p:cNvPr>
            <p:cNvSpPr/>
            <p:nvPr/>
          </p:nvSpPr>
          <p:spPr>
            <a:xfrm>
              <a:off x="15077620" y="3861481"/>
              <a:ext cx="1700213" cy="17002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4EEA2602-F327-4D40-B5F3-73587A3EFC26}"/>
                </a:ext>
              </a:extLst>
            </p:cNvPr>
            <p:cNvSpPr/>
            <p:nvPr/>
          </p:nvSpPr>
          <p:spPr>
            <a:xfrm>
              <a:off x="15245975" y="4029209"/>
              <a:ext cx="1363502" cy="1363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290" name="TextBox 289">
            <a:extLst>
              <a:ext uri="{FF2B5EF4-FFF2-40B4-BE49-F238E27FC236}">
                <a16:creationId xmlns:a16="http://schemas.microsoft.com/office/drawing/2014/main" id="{EDAE6484-85DA-4B45-8B87-9DD147EE9D26}"/>
              </a:ext>
            </a:extLst>
          </p:cNvPr>
          <p:cNvSpPr txBox="1"/>
          <p:nvPr/>
        </p:nvSpPr>
        <p:spPr>
          <a:xfrm>
            <a:off x="15635018" y="4203129"/>
            <a:ext cx="58541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/>
                </a:solidFill>
                <a:latin typeface="Fira Sans" panose="020B0503050000020004" pitchFamily="34" charset="0"/>
              </a:rPr>
              <a:t>3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16B614EB-32D2-EF47-88CE-B59FFE224DD0}"/>
              </a:ext>
            </a:extLst>
          </p:cNvPr>
          <p:cNvSpPr txBox="1"/>
          <p:nvPr/>
        </p:nvSpPr>
        <p:spPr>
          <a:xfrm>
            <a:off x="17034682" y="3966513"/>
            <a:ext cx="1851789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tions</a:t>
            </a:r>
          </a:p>
        </p:txBody>
      </p:sp>
      <p:sp>
        <p:nvSpPr>
          <p:cNvPr id="292" name="Subtitle 2">
            <a:extLst>
              <a:ext uri="{FF2B5EF4-FFF2-40B4-BE49-F238E27FC236}">
                <a16:creationId xmlns:a16="http://schemas.microsoft.com/office/drawing/2014/main" id="{C645F403-6E14-CE40-AB5E-C2427FF3E842}"/>
              </a:ext>
            </a:extLst>
          </p:cNvPr>
          <p:cNvSpPr txBox="1">
            <a:spLocks/>
          </p:cNvSpPr>
          <p:nvPr/>
        </p:nvSpPr>
        <p:spPr>
          <a:xfrm>
            <a:off x="16924137" y="4571311"/>
            <a:ext cx="4672270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666708D-1FBE-8E41-9B53-BE24F73309DE}"/>
              </a:ext>
            </a:extLst>
          </p:cNvPr>
          <p:cNvGrpSpPr/>
          <p:nvPr/>
        </p:nvGrpSpPr>
        <p:grpSpPr>
          <a:xfrm>
            <a:off x="6337465" y="9850968"/>
            <a:ext cx="1700213" cy="1700213"/>
            <a:chOff x="6337465" y="9850968"/>
            <a:chExt cx="1700213" cy="1700213"/>
          </a:xfrm>
        </p:grpSpPr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56CC73E1-DA50-D343-8ABD-FDEE60864EBE}"/>
                </a:ext>
              </a:extLst>
            </p:cNvPr>
            <p:cNvSpPr/>
            <p:nvPr/>
          </p:nvSpPr>
          <p:spPr>
            <a:xfrm>
              <a:off x="6337465" y="9850968"/>
              <a:ext cx="1700213" cy="17002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  <p:sp>
          <p:nvSpPr>
            <p:cNvPr id="294" name="Oval 293">
              <a:extLst>
                <a:ext uri="{FF2B5EF4-FFF2-40B4-BE49-F238E27FC236}">
                  <a16:creationId xmlns:a16="http://schemas.microsoft.com/office/drawing/2014/main" id="{D2BED802-CC51-2F44-B2FA-ADC7C579C140}"/>
                </a:ext>
              </a:extLst>
            </p:cNvPr>
            <p:cNvSpPr/>
            <p:nvPr/>
          </p:nvSpPr>
          <p:spPr>
            <a:xfrm>
              <a:off x="6505820" y="10021572"/>
              <a:ext cx="1363502" cy="1363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295" name="TextBox 294">
            <a:extLst>
              <a:ext uri="{FF2B5EF4-FFF2-40B4-BE49-F238E27FC236}">
                <a16:creationId xmlns:a16="http://schemas.microsoft.com/office/drawing/2014/main" id="{8BCA52C2-60DE-F14E-950B-C7C91AD45F85}"/>
              </a:ext>
            </a:extLst>
          </p:cNvPr>
          <p:cNvSpPr txBox="1"/>
          <p:nvPr/>
        </p:nvSpPr>
        <p:spPr>
          <a:xfrm>
            <a:off x="6896465" y="10192616"/>
            <a:ext cx="5822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  <a:latin typeface="Fira Sans" panose="020B0503050000020004" pitchFamily="34" charset="0"/>
              </a:rPr>
              <a:t>2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D437FCD9-43AF-5947-B591-0B2B84B1D5BF}"/>
              </a:ext>
            </a:extLst>
          </p:cNvPr>
          <p:cNvSpPr txBox="1"/>
          <p:nvPr/>
        </p:nvSpPr>
        <p:spPr>
          <a:xfrm>
            <a:off x="8294527" y="9956000"/>
            <a:ext cx="199766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ategies</a:t>
            </a:r>
          </a:p>
        </p:txBody>
      </p:sp>
      <p:sp>
        <p:nvSpPr>
          <p:cNvPr id="297" name="Subtitle 2">
            <a:extLst>
              <a:ext uri="{FF2B5EF4-FFF2-40B4-BE49-F238E27FC236}">
                <a16:creationId xmlns:a16="http://schemas.microsoft.com/office/drawing/2014/main" id="{DDC3D6FC-7EB1-754F-BF2F-F6735711A5F3}"/>
              </a:ext>
            </a:extLst>
          </p:cNvPr>
          <p:cNvSpPr txBox="1">
            <a:spLocks/>
          </p:cNvSpPr>
          <p:nvPr/>
        </p:nvSpPr>
        <p:spPr>
          <a:xfrm>
            <a:off x="8183982" y="10560798"/>
            <a:ext cx="4672270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.</a:t>
            </a:r>
          </a:p>
        </p:txBody>
      </p:sp>
      <p:cxnSp>
        <p:nvCxnSpPr>
          <p:cNvPr id="298" name="Straight Arrow Connector 297">
            <a:extLst>
              <a:ext uri="{FF2B5EF4-FFF2-40B4-BE49-F238E27FC236}">
                <a16:creationId xmlns:a16="http://schemas.microsoft.com/office/drawing/2014/main" id="{90D98F44-FA3A-E04C-A96F-BBD9D1B44E13}"/>
              </a:ext>
            </a:extLst>
          </p:cNvPr>
          <p:cNvCxnSpPr>
            <a:cxnSpLocks/>
            <a:stCxn id="293" idx="0"/>
          </p:cNvCxnSpPr>
          <p:nvPr/>
        </p:nvCxnSpPr>
        <p:spPr>
          <a:xfrm flipV="1">
            <a:off x="7187572" y="8194174"/>
            <a:ext cx="0" cy="1656794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956A66C-1FB0-B440-BF62-8D2D8C0FA6A4}"/>
              </a:ext>
            </a:extLst>
          </p:cNvPr>
          <p:cNvGrpSpPr/>
          <p:nvPr/>
        </p:nvGrpSpPr>
        <p:grpSpPr>
          <a:xfrm>
            <a:off x="3526751" y="3930679"/>
            <a:ext cx="1700213" cy="1700213"/>
            <a:chOff x="3526751" y="3930679"/>
            <a:chExt cx="1700213" cy="1700213"/>
          </a:xfrm>
        </p:grpSpPr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2AB777DB-2090-9C49-8D78-8FFAE5639BE6}"/>
                </a:ext>
              </a:extLst>
            </p:cNvPr>
            <p:cNvSpPr/>
            <p:nvPr/>
          </p:nvSpPr>
          <p:spPr>
            <a:xfrm>
              <a:off x="3526751" y="3930679"/>
              <a:ext cx="1700213" cy="17002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D8AED2CC-D899-ED4D-A425-EAFE4978C151}"/>
                </a:ext>
              </a:extLst>
            </p:cNvPr>
            <p:cNvSpPr/>
            <p:nvPr/>
          </p:nvSpPr>
          <p:spPr>
            <a:xfrm>
              <a:off x="3695106" y="4098407"/>
              <a:ext cx="1363502" cy="13635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03" name="TextBox 302">
            <a:extLst>
              <a:ext uri="{FF2B5EF4-FFF2-40B4-BE49-F238E27FC236}">
                <a16:creationId xmlns:a16="http://schemas.microsoft.com/office/drawing/2014/main" id="{40657CEA-FBE3-EC41-978C-98EE79BD4FDE}"/>
              </a:ext>
            </a:extLst>
          </p:cNvPr>
          <p:cNvSpPr txBox="1"/>
          <p:nvPr/>
        </p:nvSpPr>
        <p:spPr>
          <a:xfrm>
            <a:off x="4105789" y="4272327"/>
            <a:ext cx="54213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4"/>
                </a:solidFill>
                <a:latin typeface="Fira Sans" panose="020B0503050000020004" pitchFamily="34" charset="0"/>
              </a:rPr>
              <a:t>1</a:t>
            </a:r>
          </a:p>
        </p:txBody>
      </p:sp>
      <p:cxnSp>
        <p:nvCxnSpPr>
          <p:cNvPr id="304" name="Straight Arrow Connector 303">
            <a:extLst>
              <a:ext uri="{FF2B5EF4-FFF2-40B4-BE49-F238E27FC236}">
                <a16:creationId xmlns:a16="http://schemas.microsoft.com/office/drawing/2014/main" id="{A7F0F276-47DD-764A-9033-F9688EEB27E0}"/>
              </a:ext>
            </a:extLst>
          </p:cNvPr>
          <p:cNvCxnSpPr>
            <a:cxnSpLocks/>
          </p:cNvCxnSpPr>
          <p:nvPr/>
        </p:nvCxnSpPr>
        <p:spPr>
          <a:xfrm flipV="1">
            <a:off x="5226964" y="4740624"/>
            <a:ext cx="1719072" cy="0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6" name="TextBox 305">
            <a:extLst>
              <a:ext uri="{FF2B5EF4-FFF2-40B4-BE49-F238E27FC236}">
                <a16:creationId xmlns:a16="http://schemas.microsoft.com/office/drawing/2014/main" id="{4BD89BD8-94C3-9542-8B11-B07830A91F17}"/>
              </a:ext>
            </a:extLst>
          </p:cNvPr>
          <p:cNvSpPr txBox="1"/>
          <p:nvPr/>
        </p:nvSpPr>
        <p:spPr>
          <a:xfrm>
            <a:off x="3767903" y="5874341"/>
            <a:ext cx="1845378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ucture</a:t>
            </a:r>
          </a:p>
        </p:txBody>
      </p:sp>
      <p:sp>
        <p:nvSpPr>
          <p:cNvPr id="307" name="Subtitle 2">
            <a:extLst>
              <a:ext uri="{FF2B5EF4-FFF2-40B4-BE49-F238E27FC236}">
                <a16:creationId xmlns:a16="http://schemas.microsoft.com/office/drawing/2014/main" id="{4EC94491-6539-F941-898A-4BB887977E4E}"/>
              </a:ext>
            </a:extLst>
          </p:cNvPr>
          <p:cNvSpPr txBox="1">
            <a:spLocks/>
          </p:cNvSpPr>
          <p:nvPr/>
        </p:nvSpPr>
        <p:spPr>
          <a:xfrm>
            <a:off x="1073165" y="6479139"/>
            <a:ext cx="4672270" cy="1115885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.</a:t>
            </a:r>
          </a:p>
        </p:txBody>
      </p:sp>
    </p:spTree>
    <p:extLst>
      <p:ext uri="{BB962C8B-B14F-4D97-AF65-F5344CB8AC3E}">
        <p14:creationId xmlns:p14="http://schemas.microsoft.com/office/powerpoint/2010/main" val="46903786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061359"/>
          </a:xfrm>
          <a:prstGeom prst="rect">
            <a:avLst/>
          </a:prstGeom>
          <a:solidFill>
            <a:srgbClr val="A8AF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7" name="Triângulo Retângulo 16"/>
          <p:cNvSpPr/>
          <p:nvPr/>
        </p:nvSpPr>
        <p:spPr>
          <a:xfrm flipH="1">
            <a:off x="1461147" y="10814553"/>
            <a:ext cx="894711" cy="894711"/>
          </a:xfrm>
          <a:prstGeom prst="rtTriangle">
            <a:avLst/>
          </a:prstGeom>
          <a:solidFill>
            <a:srgbClr val="ECC5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2879610" y="6268873"/>
            <a:ext cx="0" cy="7160279"/>
          </a:xfrm>
          <a:prstGeom prst="line">
            <a:avLst/>
          </a:prstGeom>
          <a:ln w="38100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031970" y="5143937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" name="Retângulo 20"/>
          <p:cNvSpPr/>
          <p:nvPr/>
        </p:nvSpPr>
        <p:spPr>
          <a:xfrm rot="2700000">
            <a:off x="2309605" y="5581687"/>
            <a:ext cx="459112" cy="459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ângulo 21"/>
          <p:cNvSpPr/>
          <p:nvPr/>
        </p:nvSpPr>
        <p:spPr>
          <a:xfrm rot="2700000">
            <a:off x="3195627" y="6630126"/>
            <a:ext cx="222888" cy="22288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693677" y="4754874"/>
            <a:ext cx="1170127" cy="830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799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665390" y="7388774"/>
            <a:ext cx="1170127" cy="523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99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1979337" y="8206842"/>
            <a:ext cx="1170127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1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6" name="Forma Livre: Forma 25"/>
          <p:cNvSpPr/>
          <p:nvPr/>
        </p:nvSpPr>
        <p:spPr>
          <a:xfrm>
            <a:off x="2174393" y="9893970"/>
            <a:ext cx="171405" cy="757993"/>
          </a:xfrm>
          <a:custGeom>
            <a:avLst/>
            <a:gdLst>
              <a:gd name="connsiteX0" fmla="*/ 80010 w 85725"/>
              <a:gd name="connsiteY0" fmla="*/ 0 h 379095"/>
              <a:gd name="connsiteX1" fmla="*/ 0 w 85725"/>
              <a:gd name="connsiteY1" fmla="*/ 55245 h 379095"/>
              <a:gd name="connsiteX2" fmla="*/ 83820 w 85725"/>
              <a:gd name="connsiteY2" fmla="*/ 112395 h 379095"/>
              <a:gd name="connsiteX3" fmla="*/ 5715 w 85725"/>
              <a:gd name="connsiteY3" fmla="*/ 169545 h 379095"/>
              <a:gd name="connsiteX4" fmla="*/ 85725 w 85725"/>
              <a:gd name="connsiteY4" fmla="*/ 219075 h 379095"/>
              <a:gd name="connsiteX5" fmla="*/ 3810 w 85725"/>
              <a:gd name="connsiteY5" fmla="*/ 274320 h 379095"/>
              <a:gd name="connsiteX6" fmla="*/ 81915 w 85725"/>
              <a:gd name="connsiteY6" fmla="*/ 321945 h 379095"/>
              <a:gd name="connsiteX7" fmla="*/ 5715 w 85725"/>
              <a:gd name="connsiteY7" fmla="*/ 379095 h 37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725" h="379095">
                <a:moveTo>
                  <a:pt x="80010" y="0"/>
                </a:moveTo>
                <a:lnTo>
                  <a:pt x="0" y="55245"/>
                </a:lnTo>
                <a:lnTo>
                  <a:pt x="83820" y="112395"/>
                </a:lnTo>
                <a:lnTo>
                  <a:pt x="5715" y="169545"/>
                </a:lnTo>
                <a:lnTo>
                  <a:pt x="85725" y="219075"/>
                </a:lnTo>
                <a:lnTo>
                  <a:pt x="3810" y="274320"/>
                </a:lnTo>
                <a:lnTo>
                  <a:pt x="81915" y="321945"/>
                </a:lnTo>
                <a:lnTo>
                  <a:pt x="5715" y="379095"/>
                </a:ln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298325" y="5296013"/>
            <a:ext cx="16771579" cy="2613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0" i="0" u="none" strike="noStrike" kern="1200" cap="none" spc="1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MPLATE PARA </a:t>
            </a:r>
          </a:p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9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RESENTAÇÕES DE </a:t>
            </a:r>
            <a:r>
              <a:rPr kumimoji="0" lang="pt-BR" sz="7998" b="1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CNOLOGIA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3804475" y="3123165"/>
            <a:ext cx="1170127" cy="156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598" b="0" i="0" u="none" strike="noStrike" kern="1200" cap="none" spc="0" normalizeH="0" baseline="0" noProof="0" dirty="0">
                <a:ln>
                  <a:noFill/>
                </a:ln>
                <a:solidFill>
                  <a:srgbClr val="ECC52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30" name="Retângulo 29"/>
          <p:cNvSpPr/>
          <p:nvPr/>
        </p:nvSpPr>
        <p:spPr>
          <a:xfrm rot="2700000">
            <a:off x="3144944" y="2984822"/>
            <a:ext cx="639463" cy="639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4" name="Agrupar 123"/>
          <p:cNvGrpSpPr/>
          <p:nvPr/>
        </p:nvGrpSpPr>
        <p:grpSpPr>
          <a:xfrm>
            <a:off x="5697164" y="10230096"/>
            <a:ext cx="1991393" cy="1252616"/>
            <a:chOff x="2849324" y="5115487"/>
            <a:chExt cx="995956" cy="626471"/>
          </a:xfrm>
        </p:grpSpPr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3205390" y="5319838"/>
              <a:ext cx="181646" cy="184742"/>
            </a:xfrm>
            <a:custGeom>
              <a:avLst/>
              <a:gdLst>
                <a:gd name="T0" fmla="*/ 6 w 66"/>
                <a:gd name="T1" fmla="*/ 67 h 67"/>
                <a:gd name="T2" fmla="*/ 3 w 66"/>
                <a:gd name="T3" fmla="*/ 66 h 67"/>
                <a:gd name="T4" fmla="*/ 0 w 66"/>
                <a:gd name="T5" fmla="*/ 61 h 67"/>
                <a:gd name="T6" fmla="*/ 0 w 66"/>
                <a:gd name="T7" fmla="*/ 6 h 67"/>
                <a:gd name="T8" fmla="*/ 3 w 66"/>
                <a:gd name="T9" fmla="*/ 1 h 67"/>
                <a:gd name="T10" fmla="*/ 8 w 66"/>
                <a:gd name="T11" fmla="*/ 1 h 67"/>
                <a:gd name="T12" fmla="*/ 63 w 66"/>
                <a:gd name="T13" fmla="*/ 28 h 67"/>
                <a:gd name="T14" fmla="*/ 66 w 66"/>
                <a:gd name="T15" fmla="*/ 34 h 67"/>
                <a:gd name="T16" fmla="*/ 63 w 66"/>
                <a:gd name="T17" fmla="*/ 39 h 67"/>
                <a:gd name="T18" fmla="*/ 8 w 66"/>
                <a:gd name="T19" fmla="*/ 66 h 67"/>
                <a:gd name="T20" fmla="*/ 6 w 66"/>
                <a:gd name="T21" fmla="*/ 67 h 67"/>
                <a:gd name="T22" fmla="*/ 12 w 66"/>
                <a:gd name="T23" fmla="*/ 16 h 67"/>
                <a:gd name="T24" fmla="*/ 12 w 66"/>
                <a:gd name="T25" fmla="*/ 51 h 67"/>
                <a:gd name="T26" fmla="*/ 47 w 66"/>
                <a:gd name="T27" fmla="*/ 34 h 67"/>
                <a:gd name="T28" fmla="*/ 12 w 66"/>
                <a:gd name="T29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7">
                  <a:moveTo>
                    <a:pt x="6" y="67"/>
                  </a:moveTo>
                  <a:cubicBezTo>
                    <a:pt x="5" y="67"/>
                    <a:pt x="4" y="66"/>
                    <a:pt x="3" y="66"/>
                  </a:cubicBezTo>
                  <a:cubicBezTo>
                    <a:pt x="1" y="65"/>
                    <a:pt x="0" y="63"/>
                    <a:pt x="0" y="6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9"/>
                    <a:pt x="66" y="31"/>
                    <a:pt x="66" y="34"/>
                  </a:cubicBezTo>
                  <a:cubicBezTo>
                    <a:pt x="66" y="36"/>
                    <a:pt x="65" y="38"/>
                    <a:pt x="63" y="3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7"/>
                    <a:pt x="7" y="67"/>
                    <a:pt x="6" y="67"/>
                  </a:cubicBezTo>
                  <a:close/>
                  <a:moveTo>
                    <a:pt x="12" y="16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47" y="34"/>
                    <a:pt x="47" y="34"/>
                    <a:pt x="47" y="34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2849324" y="5115487"/>
              <a:ext cx="852497" cy="519136"/>
            </a:xfrm>
            <a:custGeom>
              <a:avLst/>
              <a:gdLst>
                <a:gd name="T0" fmla="*/ 303 w 309"/>
                <a:gd name="T1" fmla="*/ 188 h 188"/>
                <a:gd name="T2" fmla="*/ 6 w 309"/>
                <a:gd name="T3" fmla="*/ 188 h 188"/>
                <a:gd name="T4" fmla="*/ 0 w 309"/>
                <a:gd name="T5" fmla="*/ 182 h 188"/>
                <a:gd name="T6" fmla="*/ 0 w 309"/>
                <a:gd name="T7" fmla="*/ 17 h 188"/>
                <a:gd name="T8" fmla="*/ 17 w 309"/>
                <a:gd name="T9" fmla="*/ 0 h 188"/>
                <a:gd name="T10" fmla="*/ 293 w 309"/>
                <a:gd name="T11" fmla="*/ 0 h 188"/>
                <a:gd name="T12" fmla="*/ 309 w 309"/>
                <a:gd name="T13" fmla="*/ 17 h 188"/>
                <a:gd name="T14" fmla="*/ 309 w 309"/>
                <a:gd name="T15" fmla="*/ 182 h 188"/>
                <a:gd name="T16" fmla="*/ 303 w 309"/>
                <a:gd name="T17" fmla="*/ 188 h 188"/>
                <a:gd name="T18" fmla="*/ 12 w 309"/>
                <a:gd name="T19" fmla="*/ 176 h 188"/>
                <a:gd name="T20" fmla="*/ 297 w 309"/>
                <a:gd name="T21" fmla="*/ 176 h 188"/>
                <a:gd name="T22" fmla="*/ 297 w 309"/>
                <a:gd name="T23" fmla="*/ 17 h 188"/>
                <a:gd name="T24" fmla="*/ 293 w 309"/>
                <a:gd name="T25" fmla="*/ 12 h 188"/>
                <a:gd name="T26" fmla="*/ 17 w 309"/>
                <a:gd name="T27" fmla="*/ 12 h 188"/>
                <a:gd name="T28" fmla="*/ 12 w 309"/>
                <a:gd name="T29" fmla="*/ 17 h 188"/>
                <a:gd name="T30" fmla="*/ 12 w 309"/>
                <a:gd name="T31" fmla="*/ 17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9" h="188">
                  <a:moveTo>
                    <a:pt x="303" y="188"/>
                  </a:moveTo>
                  <a:cubicBezTo>
                    <a:pt x="6" y="188"/>
                    <a:pt x="6" y="188"/>
                    <a:pt x="6" y="188"/>
                  </a:cubicBezTo>
                  <a:cubicBezTo>
                    <a:pt x="3" y="188"/>
                    <a:pt x="0" y="186"/>
                    <a:pt x="0" y="18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302" y="0"/>
                    <a:pt x="309" y="8"/>
                    <a:pt x="309" y="17"/>
                  </a:cubicBezTo>
                  <a:cubicBezTo>
                    <a:pt x="309" y="182"/>
                    <a:pt x="309" y="182"/>
                    <a:pt x="309" y="182"/>
                  </a:cubicBezTo>
                  <a:cubicBezTo>
                    <a:pt x="309" y="186"/>
                    <a:pt x="307" y="188"/>
                    <a:pt x="303" y="188"/>
                  </a:cubicBezTo>
                  <a:close/>
                  <a:moveTo>
                    <a:pt x="12" y="176"/>
                  </a:moveTo>
                  <a:cubicBezTo>
                    <a:pt x="297" y="176"/>
                    <a:pt x="297" y="176"/>
                    <a:pt x="297" y="176"/>
                  </a:cubicBezTo>
                  <a:cubicBezTo>
                    <a:pt x="297" y="17"/>
                    <a:pt x="297" y="17"/>
                    <a:pt x="297" y="17"/>
                  </a:cubicBezTo>
                  <a:cubicBezTo>
                    <a:pt x="297" y="14"/>
                    <a:pt x="295" y="12"/>
                    <a:pt x="293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4" y="12"/>
                    <a:pt x="12" y="14"/>
                    <a:pt x="12" y="17"/>
                  </a:cubicBezTo>
                  <a:lnTo>
                    <a:pt x="12" y="1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2940147" y="5601595"/>
              <a:ext cx="905133" cy="140363"/>
            </a:xfrm>
            <a:custGeom>
              <a:avLst/>
              <a:gdLst>
                <a:gd name="T0" fmla="*/ 322 w 328"/>
                <a:gd name="T1" fmla="*/ 51 h 51"/>
                <a:gd name="T2" fmla="*/ 6 w 328"/>
                <a:gd name="T3" fmla="*/ 51 h 51"/>
                <a:gd name="T4" fmla="*/ 0 w 328"/>
                <a:gd name="T5" fmla="*/ 45 h 51"/>
                <a:gd name="T6" fmla="*/ 0 w 328"/>
                <a:gd name="T7" fmla="*/ 6 h 51"/>
                <a:gd name="T8" fmla="*/ 6 w 328"/>
                <a:gd name="T9" fmla="*/ 0 h 51"/>
                <a:gd name="T10" fmla="*/ 322 w 328"/>
                <a:gd name="T11" fmla="*/ 0 h 51"/>
                <a:gd name="T12" fmla="*/ 328 w 328"/>
                <a:gd name="T13" fmla="*/ 6 h 51"/>
                <a:gd name="T14" fmla="*/ 328 w 328"/>
                <a:gd name="T15" fmla="*/ 45 h 51"/>
                <a:gd name="T16" fmla="*/ 322 w 328"/>
                <a:gd name="T17" fmla="*/ 51 h 51"/>
                <a:gd name="T18" fmla="*/ 12 w 328"/>
                <a:gd name="T19" fmla="*/ 39 h 51"/>
                <a:gd name="T20" fmla="*/ 316 w 328"/>
                <a:gd name="T21" fmla="*/ 39 h 51"/>
                <a:gd name="T22" fmla="*/ 316 w 328"/>
                <a:gd name="T23" fmla="*/ 12 h 51"/>
                <a:gd name="T24" fmla="*/ 12 w 328"/>
                <a:gd name="T25" fmla="*/ 12 h 51"/>
                <a:gd name="T26" fmla="*/ 12 w 328"/>
                <a:gd name="T27" fmla="*/ 3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8" h="51">
                  <a:moveTo>
                    <a:pt x="322" y="51"/>
                  </a:move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48"/>
                    <a:pt x="0" y="4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5" y="0"/>
                    <a:pt x="328" y="3"/>
                    <a:pt x="328" y="6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28" y="48"/>
                    <a:pt x="325" y="51"/>
                    <a:pt x="322" y="51"/>
                  </a:cubicBezTo>
                  <a:close/>
                  <a:moveTo>
                    <a:pt x="12" y="39"/>
                  </a:moveTo>
                  <a:cubicBezTo>
                    <a:pt x="316" y="39"/>
                    <a:pt x="316" y="39"/>
                    <a:pt x="316" y="39"/>
                  </a:cubicBezTo>
                  <a:cubicBezTo>
                    <a:pt x="316" y="12"/>
                    <a:pt x="316" y="12"/>
                    <a:pt x="31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8"/>
            <p:cNvSpPr>
              <a:spLocks/>
            </p:cNvSpPr>
            <p:nvPr/>
          </p:nvSpPr>
          <p:spPr bwMode="auto">
            <a:xfrm>
              <a:off x="3004135" y="5656296"/>
              <a:ext cx="771995" cy="34059"/>
            </a:xfrm>
            <a:custGeom>
              <a:avLst/>
              <a:gdLst>
                <a:gd name="T0" fmla="*/ 274 w 280"/>
                <a:gd name="T1" fmla="*/ 12 h 12"/>
                <a:gd name="T2" fmla="*/ 6 w 280"/>
                <a:gd name="T3" fmla="*/ 12 h 12"/>
                <a:gd name="T4" fmla="*/ 0 w 280"/>
                <a:gd name="T5" fmla="*/ 6 h 12"/>
                <a:gd name="T6" fmla="*/ 6 w 280"/>
                <a:gd name="T7" fmla="*/ 0 h 12"/>
                <a:gd name="T8" fmla="*/ 274 w 280"/>
                <a:gd name="T9" fmla="*/ 0 h 12"/>
                <a:gd name="T10" fmla="*/ 280 w 280"/>
                <a:gd name="T11" fmla="*/ 6 h 12"/>
                <a:gd name="T12" fmla="*/ 274 w 2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0" h="12">
                  <a:moveTo>
                    <a:pt x="2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278" y="0"/>
                    <a:pt x="280" y="2"/>
                    <a:pt x="280" y="6"/>
                  </a:cubicBezTo>
                  <a:cubicBezTo>
                    <a:pt x="280" y="9"/>
                    <a:pt x="278" y="12"/>
                    <a:pt x="274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2" name="Agrupar 121"/>
          <p:cNvGrpSpPr/>
          <p:nvPr/>
        </p:nvGrpSpPr>
        <p:grpSpPr>
          <a:xfrm>
            <a:off x="8544958" y="11528112"/>
            <a:ext cx="877040" cy="883228"/>
            <a:chOff x="4273592" y="5764664"/>
            <a:chExt cx="438634" cy="441729"/>
          </a:xfrm>
        </p:grpSpPr>
        <p:sp>
          <p:nvSpPr>
            <p:cNvPr id="38" name="Freeform 9"/>
            <p:cNvSpPr>
              <a:spLocks noEditPoints="1"/>
            </p:cNvSpPr>
            <p:nvPr/>
          </p:nvSpPr>
          <p:spPr bwMode="auto">
            <a:xfrm>
              <a:off x="4273592" y="5764664"/>
              <a:ext cx="438634" cy="392190"/>
            </a:xfrm>
            <a:custGeom>
              <a:avLst/>
              <a:gdLst>
                <a:gd name="T0" fmla="*/ 31 w 159"/>
                <a:gd name="T1" fmla="*/ 142 h 142"/>
                <a:gd name="T2" fmla="*/ 27 w 159"/>
                <a:gd name="T3" fmla="*/ 140 h 142"/>
                <a:gd name="T4" fmla="*/ 0 w 159"/>
                <a:gd name="T5" fmla="*/ 80 h 142"/>
                <a:gd name="T6" fmla="*/ 79 w 159"/>
                <a:gd name="T7" fmla="*/ 0 h 142"/>
                <a:gd name="T8" fmla="*/ 159 w 159"/>
                <a:gd name="T9" fmla="*/ 80 h 142"/>
                <a:gd name="T10" fmla="*/ 133 w 159"/>
                <a:gd name="T11" fmla="*/ 139 h 142"/>
                <a:gd name="T12" fmla="*/ 125 w 159"/>
                <a:gd name="T13" fmla="*/ 139 h 142"/>
                <a:gd name="T14" fmla="*/ 99 w 159"/>
                <a:gd name="T15" fmla="*/ 123 h 142"/>
                <a:gd name="T16" fmla="*/ 87 w 159"/>
                <a:gd name="T17" fmla="*/ 108 h 142"/>
                <a:gd name="T18" fmla="*/ 89 w 159"/>
                <a:gd name="T19" fmla="*/ 102 h 142"/>
                <a:gd name="T20" fmla="*/ 99 w 159"/>
                <a:gd name="T21" fmla="*/ 87 h 142"/>
                <a:gd name="T22" fmla="*/ 99 w 159"/>
                <a:gd name="T23" fmla="*/ 56 h 142"/>
                <a:gd name="T24" fmla="*/ 94 w 159"/>
                <a:gd name="T25" fmla="*/ 40 h 142"/>
                <a:gd name="T26" fmla="*/ 81 w 159"/>
                <a:gd name="T27" fmla="*/ 36 h 142"/>
                <a:gd name="T28" fmla="*/ 67 w 159"/>
                <a:gd name="T29" fmla="*/ 40 h 142"/>
                <a:gd name="T30" fmla="*/ 62 w 159"/>
                <a:gd name="T31" fmla="*/ 55 h 142"/>
                <a:gd name="T32" fmla="*/ 62 w 159"/>
                <a:gd name="T33" fmla="*/ 87 h 142"/>
                <a:gd name="T34" fmla="*/ 72 w 159"/>
                <a:gd name="T35" fmla="*/ 102 h 142"/>
                <a:gd name="T36" fmla="*/ 74 w 159"/>
                <a:gd name="T37" fmla="*/ 108 h 142"/>
                <a:gd name="T38" fmla="*/ 62 w 159"/>
                <a:gd name="T39" fmla="*/ 123 h 142"/>
                <a:gd name="T40" fmla="*/ 35 w 159"/>
                <a:gd name="T41" fmla="*/ 140 h 142"/>
                <a:gd name="T42" fmla="*/ 31 w 159"/>
                <a:gd name="T43" fmla="*/ 142 h 142"/>
                <a:gd name="T44" fmla="*/ 79 w 159"/>
                <a:gd name="T45" fmla="*/ 12 h 142"/>
                <a:gd name="T46" fmla="*/ 12 w 159"/>
                <a:gd name="T47" fmla="*/ 80 h 142"/>
                <a:gd name="T48" fmla="*/ 31 w 159"/>
                <a:gd name="T49" fmla="*/ 128 h 142"/>
                <a:gd name="T50" fmla="*/ 57 w 159"/>
                <a:gd name="T51" fmla="*/ 112 h 142"/>
                <a:gd name="T52" fmla="*/ 62 w 159"/>
                <a:gd name="T53" fmla="*/ 109 h 142"/>
                <a:gd name="T54" fmla="*/ 50 w 159"/>
                <a:gd name="T55" fmla="*/ 87 h 142"/>
                <a:gd name="T56" fmla="*/ 50 w 159"/>
                <a:gd name="T57" fmla="*/ 56 h 142"/>
                <a:gd name="T58" fmla="*/ 58 w 159"/>
                <a:gd name="T59" fmla="*/ 32 h 142"/>
                <a:gd name="T60" fmla="*/ 81 w 159"/>
                <a:gd name="T61" fmla="*/ 24 h 142"/>
                <a:gd name="T62" fmla="*/ 103 w 159"/>
                <a:gd name="T63" fmla="*/ 32 h 142"/>
                <a:gd name="T64" fmla="*/ 111 w 159"/>
                <a:gd name="T65" fmla="*/ 56 h 142"/>
                <a:gd name="T66" fmla="*/ 111 w 159"/>
                <a:gd name="T67" fmla="*/ 87 h 142"/>
                <a:gd name="T68" fmla="*/ 100 w 159"/>
                <a:gd name="T69" fmla="*/ 109 h 142"/>
                <a:gd name="T70" fmla="*/ 104 w 159"/>
                <a:gd name="T71" fmla="*/ 112 h 142"/>
                <a:gd name="T72" fmla="*/ 129 w 159"/>
                <a:gd name="T73" fmla="*/ 126 h 142"/>
                <a:gd name="T74" fmla="*/ 147 w 159"/>
                <a:gd name="T75" fmla="*/ 80 h 142"/>
                <a:gd name="T76" fmla="*/ 79 w 159"/>
                <a:gd name="T77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9" h="142">
                  <a:moveTo>
                    <a:pt x="31" y="142"/>
                  </a:moveTo>
                  <a:cubicBezTo>
                    <a:pt x="29" y="142"/>
                    <a:pt x="28" y="141"/>
                    <a:pt x="27" y="140"/>
                  </a:cubicBezTo>
                  <a:cubicBezTo>
                    <a:pt x="10" y="125"/>
                    <a:pt x="0" y="103"/>
                    <a:pt x="0" y="80"/>
                  </a:cubicBezTo>
                  <a:cubicBezTo>
                    <a:pt x="0" y="36"/>
                    <a:pt x="35" y="0"/>
                    <a:pt x="79" y="0"/>
                  </a:cubicBezTo>
                  <a:cubicBezTo>
                    <a:pt x="123" y="0"/>
                    <a:pt x="159" y="36"/>
                    <a:pt x="159" y="80"/>
                  </a:cubicBezTo>
                  <a:cubicBezTo>
                    <a:pt x="159" y="102"/>
                    <a:pt x="150" y="124"/>
                    <a:pt x="133" y="139"/>
                  </a:cubicBezTo>
                  <a:cubicBezTo>
                    <a:pt x="131" y="141"/>
                    <a:pt x="127" y="141"/>
                    <a:pt x="125" y="139"/>
                  </a:cubicBezTo>
                  <a:cubicBezTo>
                    <a:pt x="117" y="131"/>
                    <a:pt x="103" y="125"/>
                    <a:pt x="99" y="123"/>
                  </a:cubicBezTo>
                  <a:cubicBezTo>
                    <a:pt x="92" y="120"/>
                    <a:pt x="88" y="115"/>
                    <a:pt x="87" y="108"/>
                  </a:cubicBezTo>
                  <a:cubicBezTo>
                    <a:pt x="86" y="106"/>
                    <a:pt x="87" y="103"/>
                    <a:pt x="89" y="102"/>
                  </a:cubicBezTo>
                  <a:cubicBezTo>
                    <a:pt x="95" y="98"/>
                    <a:pt x="99" y="91"/>
                    <a:pt x="99" y="87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5"/>
                    <a:pt x="100" y="46"/>
                    <a:pt x="94" y="40"/>
                  </a:cubicBezTo>
                  <a:cubicBezTo>
                    <a:pt x="91" y="37"/>
                    <a:pt x="87" y="36"/>
                    <a:pt x="81" y="36"/>
                  </a:cubicBezTo>
                  <a:cubicBezTo>
                    <a:pt x="75" y="36"/>
                    <a:pt x="70" y="37"/>
                    <a:pt x="67" y="40"/>
                  </a:cubicBezTo>
                  <a:cubicBezTo>
                    <a:pt x="62" y="46"/>
                    <a:pt x="62" y="55"/>
                    <a:pt x="62" y="55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91"/>
                    <a:pt x="66" y="98"/>
                    <a:pt x="72" y="102"/>
                  </a:cubicBezTo>
                  <a:cubicBezTo>
                    <a:pt x="74" y="103"/>
                    <a:pt x="75" y="106"/>
                    <a:pt x="74" y="108"/>
                  </a:cubicBezTo>
                  <a:cubicBezTo>
                    <a:pt x="73" y="115"/>
                    <a:pt x="69" y="120"/>
                    <a:pt x="62" y="123"/>
                  </a:cubicBezTo>
                  <a:cubicBezTo>
                    <a:pt x="50" y="129"/>
                    <a:pt x="41" y="135"/>
                    <a:pt x="35" y="140"/>
                  </a:cubicBezTo>
                  <a:cubicBezTo>
                    <a:pt x="34" y="141"/>
                    <a:pt x="32" y="142"/>
                    <a:pt x="31" y="142"/>
                  </a:cubicBezTo>
                  <a:close/>
                  <a:moveTo>
                    <a:pt x="79" y="12"/>
                  </a:moveTo>
                  <a:cubicBezTo>
                    <a:pt x="42" y="12"/>
                    <a:pt x="12" y="43"/>
                    <a:pt x="12" y="80"/>
                  </a:cubicBezTo>
                  <a:cubicBezTo>
                    <a:pt x="12" y="98"/>
                    <a:pt x="19" y="115"/>
                    <a:pt x="31" y="128"/>
                  </a:cubicBezTo>
                  <a:cubicBezTo>
                    <a:pt x="37" y="122"/>
                    <a:pt x="46" y="117"/>
                    <a:pt x="57" y="112"/>
                  </a:cubicBezTo>
                  <a:cubicBezTo>
                    <a:pt x="59" y="112"/>
                    <a:pt x="61" y="110"/>
                    <a:pt x="62" y="109"/>
                  </a:cubicBezTo>
                  <a:cubicBezTo>
                    <a:pt x="55" y="103"/>
                    <a:pt x="50" y="94"/>
                    <a:pt x="50" y="8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49" y="42"/>
                    <a:pt x="58" y="32"/>
                  </a:cubicBezTo>
                  <a:cubicBezTo>
                    <a:pt x="64" y="26"/>
                    <a:pt x="71" y="24"/>
                    <a:pt x="81" y="24"/>
                  </a:cubicBezTo>
                  <a:cubicBezTo>
                    <a:pt x="90" y="24"/>
                    <a:pt x="97" y="26"/>
                    <a:pt x="103" y="32"/>
                  </a:cubicBezTo>
                  <a:cubicBezTo>
                    <a:pt x="112" y="42"/>
                    <a:pt x="111" y="55"/>
                    <a:pt x="111" y="56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94"/>
                    <a:pt x="107" y="103"/>
                    <a:pt x="100" y="109"/>
                  </a:cubicBezTo>
                  <a:cubicBezTo>
                    <a:pt x="101" y="110"/>
                    <a:pt x="102" y="112"/>
                    <a:pt x="104" y="112"/>
                  </a:cubicBezTo>
                  <a:cubicBezTo>
                    <a:pt x="108" y="114"/>
                    <a:pt x="119" y="119"/>
                    <a:pt x="129" y="126"/>
                  </a:cubicBezTo>
                  <a:cubicBezTo>
                    <a:pt x="140" y="114"/>
                    <a:pt x="147" y="97"/>
                    <a:pt x="147" y="80"/>
                  </a:cubicBezTo>
                  <a:cubicBezTo>
                    <a:pt x="147" y="43"/>
                    <a:pt x="117" y="12"/>
                    <a:pt x="79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4341709" y="5830717"/>
              <a:ext cx="303431" cy="375676"/>
            </a:xfrm>
            <a:custGeom>
              <a:avLst/>
              <a:gdLst>
                <a:gd name="T0" fmla="*/ 54 w 110"/>
                <a:gd name="T1" fmla="*/ 136 h 136"/>
                <a:gd name="T2" fmla="*/ 2 w 110"/>
                <a:gd name="T3" fmla="*/ 116 h 136"/>
                <a:gd name="T4" fmla="*/ 0 w 110"/>
                <a:gd name="T5" fmla="*/ 112 h 136"/>
                <a:gd name="T6" fmla="*/ 2 w 110"/>
                <a:gd name="T7" fmla="*/ 108 h 136"/>
                <a:gd name="T8" fmla="*/ 32 w 110"/>
                <a:gd name="T9" fmla="*/ 88 h 136"/>
                <a:gd name="T10" fmla="*/ 37 w 110"/>
                <a:gd name="T11" fmla="*/ 85 h 136"/>
                <a:gd name="T12" fmla="*/ 25 w 110"/>
                <a:gd name="T13" fmla="*/ 63 h 136"/>
                <a:gd name="T14" fmla="*/ 25 w 110"/>
                <a:gd name="T15" fmla="*/ 32 h 136"/>
                <a:gd name="T16" fmla="*/ 33 w 110"/>
                <a:gd name="T17" fmla="*/ 8 h 136"/>
                <a:gd name="T18" fmla="*/ 56 w 110"/>
                <a:gd name="T19" fmla="*/ 0 h 136"/>
                <a:gd name="T20" fmla="*/ 78 w 110"/>
                <a:gd name="T21" fmla="*/ 8 h 136"/>
                <a:gd name="T22" fmla="*/ 86 w 110"/>
                <a:gd name="T23" fmla="*/ 32 h 136"/>
                <a:gd name="T24" fmla="*/ 86 w 110"/>
                <a:gd name="T25" fmla="*/ 63 h 136"/>
                <a:gd name="T26" fmla="*/ 75 w 110"/>
                <a:gd name="T27" fmla="*/ 85 h 136"/>
                <a:gd name="T28" fmla="*/ 79 w 110"/>
                <a:gd name="T29" fmla="*/ 88 h 136"/>
                <a:gd name="T30" fmla="*/ 108 w 110"/>
                <a:gd name="T31" fmla="*/ 106 h 136"/>
                <a:gd name="T32" fmla="*/ 110 w 110"/>
                <a:gd name="T33" fmla="*/ 111 h 136"/>
                <a:gd name="T34" fmla="*/ 108 w 110"/>
                <a:gd name="T35" fmla="*/ 115 h 136"/>
                <a:gd name="T36" fmla="*/ 54 w 110"/>
                <a:gd name="T37" fmla="*/ 136 h 136"/>
                <a:gd name="T38" fmla="*/ 15 w 110"/>
                <a:gd name="T39" fmla="*/ 112 h 136"/>
                <a:gd name="T40" fmla="*/ 54 w 110"/>
                <a:gd name="T41" fmla="*/ 124 h 136"/>
                <a:gd name="T42" fmla="*/ 95 w 110"/>
                <a:gd name="T43" fmla="*/ 111 h 136"/>
                <a:gd name="T44" fmla="*/ 74 w 110"/>
                <a:gd name="T45" fmla="*/ 99 h 136"/>
                <a:gd name="T46" fmla="*/ 62 w 110"/>
                <a:gd name="T47" fmla="*/ 84 h 136"/>
                <a:gd name="T48" fmla="*/ 64 w 110"/>
                <a:gd name="T49" fmla="*/ 78 h 136"/>
                <a:gd name="T50" fmla="*/ 74 w 110"/>
                <a:gd name="T51" fmla="*/ 63 h 136"/>
                <a:gd name="T52" fmla="*/ 74 w 110"/>
                <a:gd name="T53" fmla="*/ 32 h 136"/>
                <a:gd name="T54" fmla="*/ 69 w 110"/>
                <a:gd name="T55" fmla="*/ 16 h 136"/>
                <a:gd name="T56" fmla="*/ 56 w 110"/>
                <a:gd name="T57" fmla="*/ 12 h 136"/>
                <a:gd name="T58" fmla="*/ 42 w 110"/>
                <a:gd name="T59" fmla="*/ 16 h 136"/>
                <a:gd name="T60" fmla="*/ 37 w 110"/>
                <a:gd name="T61" fmla="*/ 31 h 136"/>
                <a:gd name="T62" fmla="*/ 37 w 110"/>
                <a:gd name="T63" fmla="*/ 63 h 136"/>
                <a:gd name="T64" fmla="*/ 47 w 110"/>
                <a:gd name="T65" fmla="*/ 78 h 136"/>
                <a:gd name="T66" fmla="*/ 49 w 110"/>
                <a:gd name="T67" fmla="*/ 84 h 136"/>
                <a:gd name="T68" fmla="*/ 37 w 110"/>
                <a:gd name="T69" fmla="*/ 99 h 136"/>
                <a:gd name="T70" fmla="*/ 15 w 110"/>
                <a:gd name="T7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36">
                  <a:moveTo>
                    <a:pt x="54" y="136"/>
                  </a:moveTo>
                  <a:cubicBezTo>
                    <a:pt x="35" y="136"/>
                    <a:pt x="16" y="129"/>
                    <a:pt x="2" y="116"/>
                  </a:cubicBezTo>
                  <a:cubicBezTo>
                    <a:pt x="1" y="115"/>
                    <a:pt x="0" y="114"/>
                    <a:pt x="0" y="112"/>
                  </a:cubicBezTo>
                  <a:cubicBezTo>
                    <a:pt x="0" y="110"/>
                    <a:pt x="0" y="109"/>
                    <a:pt x="2" y="108"/>
                  </a:cubicBezTo>
                  <a:cubicBezTo>
                    <a:pt x="8" y="101"/>
                    <a:pt x="18" y="95"/>
                    <a:pt x="32" y="88"/>
                  </a:cubicBezTo>
                  <a:cubicBezTo>
                    <a:pt x="34" y="88"/>
                    <a:pt x="36" y="86"/>
                    <a:pt x="37" y="85"/>
                  </a:cubicBezTo>
                  <a:cubicBezTo>
                    <a:pt x="30" y="79"/>
                    <a:pt x="25" y="70"/>
                    <a:pt x="25" y="63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4" y="18"/>
                    <a:pt x="33" y="8"/>
                  </a:cubicBezTo>
                  <a:cubicBezTo>
                    <a:pt x="39" y="2"/>
                    <a:pt x="46" y="0"/>
                    <a:pt x="56" y="0"/>
                  </a:cubicBezTo>
                  <a:cubicBezTo>
                    <a:pt x="65" y="0"/>
                    <a:pt x="72" y="2"/>
                    <a:pt x="78" y="8"/>
                  </a:cubicBezTo>
                  <a:cubicBezTo>
                    <a:pt x="87" y="18"/>
                    <a:pt x="86" y="31"/>
                    <a:pt x="86" y="3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70"/>
                    <a:pt x="82" y="79"/>
                    <a:pt x="75" y="85"/>
                  </a:cubicBezTo>
                  <a:cubicBezTo>
                    <a:pt x="76" y="86"/>
                    <a:pt x="77" y="88"/>
                    <a:pt x="79" y="88"/>
                  </a:cubicBezTo>
                  <a:cubicBezTo>
                    <a:pt x="84" y="91"/>
                    <a:pt x="98" y="97"/>
                    <a:pt x="108" y="106"/>
                  </a:cubicBezTo>
                  <a:cubicBezTo>
                    <a:pt x="109" y="107"/>
                    <a:pt x="110" y="109"/>
                    <a:pt x="110" y="111"/>
                  </a:cubicBezTo>
                  <a:cubicBezTo>
                    <a:pt x="110" y="112"/>
                    <a:pt x="109" y="114"/>
                    <a:pt x="108" y="115"/>
                  </a:cubicBezTo>
                  <a:cubicBezTo>
                    <a:pt x="93" y="128"/>
                    <a:pt x="74" y="136"/>
                    <a:pt x="54" y="136"/>
                  </a:cubicBezTo>
                  <a:close/>
                  <a:moveTo>
                    <a:pt x="15" y="112"/>
                  </a:moveTo>
                  <a:cubicBezTo>
                    <a:pt x="27" y="120"/>
                    <a:pt x="40" y="124"/>
                    <a:pt x="54" y="124"/>
                  </a:cubicBezTo>
                  <a:cubicBezTo>
                    <a:pt x="69" y="124"/>
                    <a:pt x="83" y="119"/>
                    <a:pt x="95" y="111"/>
                  </a:cubicBezTo>
                  <a:cubicBezTo>
                    <a:pt x="87" y="105"/>
                    <a:pt x="77" y="101"/>
                    <a:pt x="74" y="99"/>
                  </a:cubicBezTo>
                  <a:cubicBezTo>
                    <a:pt x="67" y="96"/>
                    <a:pt x="63" y="91"/>
                    <a:pt x="62" y="84"/>
                  </a:cubicBezTo>
                  <a:cubicBezTo>
                    <a:pt x="61" y="82"/>
                    <a:pt x="62" y="79"/>
                    <a:pt x="64" y="78"/>
                  </a:cubicBezTo>
                  <a:cubicBezTo>
                    <a:pt x="70" y="74"/>
                    <a:pt x="74" y="67"/>
                    <a:pt x="74" y="63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5" y="22"/>
                    <a:pt x="69" y="16"/>
                  </a:cubicBezTo>
                  <a:cubicBezTo>
                    <a:pt x="66" y="13"/>
                    <a:pt x="62" y="12"/>
                    <a:pt x="56" y="12"/>
                  </a:cubicBezTo>
                  <a:cubicBezTo>
                    <a:pt x="50" y="12"/>
                    <a:pt x="45" y="13"/>
                    <a:pt x="42" y="16"/>
                  </a:cubicBezTo>
                  <a:cubicBezTo>
                    <a:pt x="37" y="22"/>
                    <a:pt x="37" y="31"/>
                    <a:pt x="37" y="31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7"/>
                    <a:pt x="41" y="74"/>
                    <a:pt x="47" y="78"/>
                  </a:cubicBezTo>
                  <a:cubicBezTo>
                    <a:pt x="49" y="79"/>
                    <a:pt x="50" y="82"/>
                    <a:pt x="49" y="84"/>
                  </a:cubicBezTo>
                  <a:cubicBezTo>
                    <a:pt x="48" y="91"/>
                    <a:pt x="44" y="96"/>
                    <a:pt x="37" y="99"/>
                  </a:cubicBezTo>
                  <a:cubicBezTo>
                    <a:pt x="28" y="103"/>
                    <a:pt x="21" y="108"/>
                    <a:pt x="15" y="1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9" name="Agrupar 118"/>
          <p:cNvGrpSpPr/>
          <p:nvPr/>
        </p:nvGrpSpPr>
        <p:grpSpPr>
          <a:xfrm>
            <a:off x="4477564" y="8628728"/>
            <a:ext cx="945138" cy="1403260"/>
            <a:chOff x="2239365" y="4314594"/>
            <a:chExt cx="472692" cy="701813"/>
          </a:xfrm>
        </p:grpSpPr>
        <p:sp>
          <p:nvSpPr>
            <p:cNvPr id="40" name="Freeform 11"/>
            <p:cNvSpPr>
              <a:spLocks noEditPoints="1"/>
            </p:cNvSpPr>
            <p:nvPr/>
          </p:nvSpPr>
          <p:spPr bwMode="auto">
            <a:xfrm>
              <a:off x="2526283" y="4314594"/>
              <a:ext cx="185774" cy="187838"/>
            </a:xfrm>
            <a:custGeom>
              <a:avLst/>
              <a:gdLst>
                <a:gd name="T0" fmla="*/ 61 w 67"/>
                <a:gd name="T1" fmla="*/ 68 h 68"/>
                <a:gd name="T2" fmla="*/ 6 w 67"/>
                <a:gd name="T3" fmla="*/ 68 h 68"/>
                <a:gd name="T4" fmla="*/ 0 w 67"/>
                <a:gd name="T5" fmla="*/ 62 h 68"/>
                <a:gd name="T6" fmla="*/ 0 w 67"/>
                <a:gd name="T7" fmla="*/ 6 h 68"/>
                <a:gd name="T8" fmla="*/ 3 w 67"/>
                <a:gd name="T9" fmla="*/ 1 h 68"/>
                <a:gd name="T10" fmla="*/ 10 w 67"/>
                <a:gd name="T11" fmla="*/ 2 h 68"/>
                <a:gd name="T12" fmla="*/ 65 w 67"/>
                <a:gd name="T13" fmla="*/ 57 h 68"/>
                <a:gd name="T14" fmla="*/ 67 w 67"/>
                <a:gd name="T15" fmla="*/ 64 h 68"/>
                <a:gd name="T16" fmla="*/ 61 w 67"/>
                <a:gd name="T17" fmla="*/ 68 h 68"/>
                <a:gd name="T18" fmla="*/ 12 w 67"/>
                <a:gd name="T19" fmla="*/ 56 h 68"/>
                <a:gd name="T20" fmla="*/ 47 w 67"/>
                <a:gd name="T21" fmla="*/ 56 h 68"/>
                <a:gd name="T22" fmla="*/ 12 w 67"/>
                <a:gd name="T23" fmla="*/ 21 h 68"/>
                <a:gd name="T24" fmla="*/ 12 w 67"/>
                <a:gd name="T25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8">
                  <a:moveTo>
                    <a:pt x="61" y="68"/>
                  </a:moveTo>
                  <a:cubicBezTo>
                    <a:pt x="6" y="68"/>
                    <a:pt x="6" y="68"/>
                    <a:pt x="6" y="68"/>
                  </a:cubicBezTo>
                  <a:cubicBezTo>
                    <a:pt x="2" y="68"/>
                    <a:pt x="0" y="65"/>
                    <a:pt x="0" y="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6" y="0"/>
                    <a:pt x="8" y="0"/>
                    <a:pt x="10" y="2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9"/>
                    <a:pt x="67" y="62"/>
                    <a:pt x="67" y="64"/>
                  </a:cubicBezTo>
                  <a:cubicBezTo>
                    <a:pt x="66" y="66"/>
                    <a:pt x="63" y="68"/>
                    <a:pt x="61" y="68"/>
                  </a:cubicBezTo>
                  <a:close/>
                  <a:moveTo>
                    <a:pt x="12" y="56"/>
                  </a:moveTo>
                  <a:cubicBezTo>
                    <a:pt x="47" y="56"/>
                    <a:pt x="47" y="56"/>
                    <a:pt x="47" y="56"/>
                  </a:cubicBezTo>
                  <a:cubicBezTo>
                    <a:pt x="12" y="21"/>
                    <a:pt x="12" y="21"/>
                    <a:pt x="12" y="21"/>
                  </a:cubicBezTo>
                  <a:lnTo>
                    <a:pt x="12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239365" y="4314594"/>
              <a:ext cx="472692" cy="582092"/>
            </a:xfrm>
            <a:custGeom>
              <a:avLst/>
              <a:gdLst>
                <a:gd name="T0" fmla="*/ 165 w 171"/>
                <a:gd name="T1" fmla="*/ 211 h 211"/>
                <a:gd name="T2" fmla="*/ 136 w 171"/>
                <a:gd name="T3" fmla="*/ 211 h 211"/>
                <a:gd name="T4" fmla="*/ 130 w 171"/>
                <a:gd name="T5" fmla="*/ 205 h 211"/>
                <a:gd name="T6" fmla="*/ 136 w 171"/>
                <a:gd name="T7" fmla="*/ 199 h 211"/>
                <a:gd name="T8" fmla="*/ 159 w 171"/>
                <a:gd name="T9" fmla="*/ 199 h 211"/>
                <a:gd name="T10" fmla="*/ 159 w 171"/>
                <a:gd name="T11" fmla="*/ 64 h 211"/>
                <a:gd name="T12" fmla="*/ 107 w 171"/>
                <a:gd name="T13" fmla="*/ 12 h 211"/>
                <a:gd name="T14" fmla="*/ 12 w 171"/>
                <a:gd name="T15" fmla="*/ 12 h 211"/>
                <a:gd name="T16" fmla="*/ 12 w 171"/>
                <a:gd name="T17" fmla="*/ 199 h 211"/>
                <a:gd name="T18" fmla="*/ 29 w 171"/>
                <a:gd name="T19" fmla="*/ 199 h 211"/>
                <a:gd name="T20" fmla="*/ 35 w 171"/>
                <a:gd name="T21" fmla="*/ 205 h 211"/>
                <a:gd name="T22" fmla="*/ 29 w 171"/>
                <a:gd name="T23" fmla="*/ 211 h 211"/>
                <a:gd name="T24" fmla="*/ 6 w 171"/>
                <a:gd name="T25" fmla="*/ 211 h 211"/>
                <a:gd name="T26" fmla="*/ 0 w 171"/>
                <a:gd name="T27" fmla="*/ 205 h 211"/>
                <a:gd name="T28" fmla="*/ 0 w 171"/>
                <a:gd name="T29" fmla="*/ 6 h 211"/>
                <a:gd name="T30" fmla="*/ 6 w 171"/>
                <a:gd name="T31" fmla="*/ 0 h 211"/>
                <a:gd name="T32" fmla="*/ 110 w 171"/>
                <a:gd name="T33" fmla="*/ 0 h 211"/>
                <a:gd name="T34" fmla="*/ 114 w 171"/>
                <a:gd name="T35" fmla="*/ 2 h 211"/>
                <a:gd name="T36" fmla="*/ 169 w 171"/>
                <a:gd name="T37" fmla="*/ 57 h 211"/>
                <a:gd name="T38" fmla="*/ 171 w 171"/>
                <a:gd name="T39" fmla="*/ 62 h 211"/>
                <a:gd name="T40" fmla="*/ 171 w 171"/>
                <a:gd name="T41" fmla="*/ 205 h 211"/>
                <a:gd name="T42" fmla="*/ 165 w 171"/>
                <a:gd name="T4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1" h="211">
                  <a:moveTo>
                    <a:pt x="165" y="211"/>
                  </a:moveTo>
                  <a:cubicBezTo>
                    <a:pt x="136" y="211"/>
                    <a:pt x="136" y="211"/>
                    <a:pt x="136" y="211"/>
                  </a:cubicBezTo>
                  <a:cubicBezTo>
                    <a:pt x="132" y="211"/>
                    <a:pt x="130" y="209"/>
                    <a:pt x="130" y="205"/>
                  </a:cubicBezTo>
                  <a:cubicBezTo>
                    <a:pt x="130" y="202"/>
                    <a:pt x="132" y="199"/>
                    <a:pt x="136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9"/>
                    <a:pt x="12" y="199"/>
                    <a:pt x="12" y="199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32" y="199"/>
                    <a:pt x="35" y="202"/>
                    <a:pt x="35" y="205"/>
                  </a:cubicBezTo>
                  <a:cubicBezTo>
                    <a:pt x="35" y="209"/>
                    <a:pt x="32" y="211"/>
                    <a:pt x="29" y="211"/>
                  </a:cubicBezTo>
                  <a:cubicBezTo>
                    <a:pt x="6" y="211"/>
                    <a:pt x="6" y="211"/>
                    <a:pt x="6" y="211"/>
                  </a:cubicBezTo>
                  <a:cubicBezTo>
                    <a:pt x="3" y="211"/>
                    <a:pt x="0" y="209"/>
                    <a:pt x="0" y="20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3" y="1"/>
                    <a:pt x="114" y="2"/>
                  </a:cubicBezTo>
                  <a:cubicBezTo>
                    <a:pt x="169" y="57"/>
                    <a:pt x="169" y="57"/>
                    <a:pt x="169" y="57"/>
                  </a:cubicBezTo>
                  <a:cubicBezTo>
                    <a:pt x="170" y="59"/>
                    <a:pt x="171" y="60"/>
                    <a:pt x="171" y="62"/>
                  </a:cubicBezTo>
                  <a:cubicBezTo>
                    <a:pt x="171" y="205"/>
                    <a:pt x="171" y="205"/>
                    <a:pt x="171" y="205"/>
                  </a:cubicBezTo>
                  <a:cubicBezTo>
                    <a:pt x="171" y="209"/>
                    <a:pt x="168" y="211"/>
                    <a:pt x="165" y="2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2385920" y="4911135"/>
              <a:ext cx="182678" cy="105272"/>
            </a:xfrm>
            <a:custGeom>
              <a:avLst/>
              <a:gdLst>
                <a:gd name="T0" fmla="*/ 33 w 66"/>
                <a:gd name="T1" fmla="*/ 38 h 38"/>
                <a:gd name="T2" fmla="*/ 29 w 66"/>
                <a:gd name="T3" fmla="*/ 37 h 38"/>
                <a:gd name="T4" fmla="*/ 2 w 66"/>
                <a:gd name="T5" fmla="*/ 11 h 38"/>
                <a:gd name="T6" fmla="*/ 2 w 66"/>
                <a:gd name="T7" fmla="*/ 2 h 38"/>
                <a:gd name="T8" fmla="*/ 10 w 66"/>
                <a:gd name="T9" fmla="*/ 2 h 38"/>
                <a:gd name="T10" fmla="*/ 33 w 66"/>
                <a:gd name="T11" fmla="*/ 24 h 38"/>
                <a:gd name="T12" fmla="*/ 55 w 66"/>
                <a:gd name="T13" fmla="*/ 2 h 38"/>
                <a:gd name="T14" fmla="*/ 63 w 66"/>
                <a:gd name="T15" fmla="*/ 2 h 38"/>
                <a:gd name="T16" fmla="*/ 63 w 66"/>
                <a:gd name="T17" fmla="*/ 11 h 38"/>
                <a:gd name="T18" fmla="*/ 37 w 66"/>
                <a:gd name="T19" fmla="*/ 37 h 38"/>
                <a:gd name="T20" fmla="*/ 33 w 66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38">
                  <a:moveTo>
                    <a:pt x="33" y="38"/>
                  </a:moveTo>
                  <a:cubicBezTo>
                    <a:pt x="32" y="38"/>
                    <a:pt x="30" y="38"/>
                    <a:pt x="29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7" y="0"/>
                    <a:pt x="61" y="0"/>
                    <a:pt x="63" y="2"/>
                  </a:cubicBezTo>
                  <a:cubicBezTo>
                    <a:pt x="66" y="4"/>
                    <a:pt x="66" y="8"/>
                    <a:pt x="63" y="11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6" y="38"/>
                    <a:pt x="35" y="38"/>
                    <a:pt x="33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2460230" y="4609768"/>
              <a:ext cx="33027" cy="406639"/>
            </a:xfrm>
            <a:custGeom>
              <a:avLst/>
              <a:gdLst>
                <a:gd name="T0" fmla="*/ 6 w 12"/>
                <a:gd name="T1" fmla="*/ 147 h 147"/>
                <a:gd name="T2" fmla="*/ 0 w 12"/>
                <a:gd name="T3" fmla="*/ 141 h 147"/>
                <a:gd name="T4" fmla="*/ 0 w 12"/>
                <a:gd name="T5" fmla="*/ 6 h 147"/>
                <a:gd name="T6" fmla="*/ 6 w 12"/>
                <a:gd name="T7" fmla="*/ 0 h 147"/>
                <a:gd name="T8" fmla="*/ 12 w 12"/>
                <a:gd name="T9" fmla="*/ 6 h 147"/>
                <a:gd name="T10" fmla="*/ 12 w 12"/>
                <a:gd name="T11" fmla="*/ 141 h 147"/>
                <a:gd name="T12" fmla="*/ 6 w 12"/>
                <a:gd name="T1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7">
                  <a:moveTo>
                    <a:pt x="6" y="147"/>
                  </a:moveTo>
                  <a:cubicBezTo>
                    <a:pt x="3" y="147"/>
                    <a:pt x="0" y="145"/>
                    <a:pt x="0" y="1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5"/>
                    <a:pt x="9" y="147"/>
                    <a:pt x="6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auto">
            <a:xfrm>
              <a:off x="2410690" y="4609768"/>
              <a:ext cx="140363" cy="33027"/>
            </a:xfrm>
            <a:custGeom>
              <a:avLst/>
              <a:gdLst>
                <a:gd name="T0" fmla="*/ 45 w 51"/>
                <a:gd name="T1" fmla="*/ 12 h 12"/>
                <a:gd name="T2" fmla="*/ 6 w 51"/>
                <a:gd name="T3" fmla="*/ 12 h 12"/>
                <a:gd name="T4" fmla="*/ 0 w 51"/>
                <a:gd name="T5" fmla="*/ 6 h 12"/>
                <a:gd name="T6" fmla="*/ 6 w 51"/>
                <a:gd name="T7" fmla="*/ 0 h 12"/>
                <a:gd name="T8" fmla="*/ 45 w 51"/>
                <a:gd name="T9" fmla="*/ 0 h 12"/>
                <a:gd name="T10" fmla="*/ 51 w 51"/>
                <a:gd name="T11" fmla="*/ 6 h 12"/>
                <a:gd name="T12" fmla="*/ 45 w 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12">
                  <a:moveTo>
                    <a:pt x="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8" y="0"/>
                    <a:pt x="51" y="3"/>
                    <a:pt x="51" y="6"/>
                  </a:cubicBezTo>
                  <a:cubicBezTo>
                    <a:pt x="51" y="10"/>
                    <a:pt x="48" y="12"/>
                    <a:pt x="45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Freeform 16"/>
          <p:cNvSpPr>
            <a:spLocks noEditPoints="1"/>
          </p:cNvSpPr>
          <p:nvPr/>
        </p:nvSpPr>
        <p:spPr bwMode="auto">
          <a:xfrm>
            <a:off x="4974896" y="10622185"/>
            <a:ext cx="379705" cy="385897"/>
          </a:xfrm>
          <a:custGeom>
            <a:avLst/>
            <a:gdLst>
              <a:gd name="T0" fmla="*/ 35 w 69"/>
              <a:gd name="T1" fmla="*/ 70 h 70"/>
              <a:gd name="T2" fmla="*/ 0 w 69"/>
              <a:gd name="T3" fmla="*/ 35 h 70"/>
              <a:gd name="T4" fmla="*/ 35 w 69"/>
              <a:gd name="T5" fmla="*/ 0 h 70"/>
              <a:gd name="T6" fmla="*/ 69 w 69"/>
              <a:gd name="T7" fmla="*/ 35 h 70"/>
              <a:gd name="T8" fmla="*/ 35 w 69"/>
              <a:gd name="T9" fmla="*/ 70 h 70"/>
              <a:gd name="T10" fmla="*/ 35 w 69"/>
              <a:gd name="T11" fmla="*/ 12 h 70"/>
              <a:gd name="T12" fmla="*/ 12 w 69"/>
              <a:gd name="T13" fmla="*/ 35 h 70"/>
              <a:gd name="T14" fmla="*/ 35 w 69"/>
              <a:gd name="T15" fmla="*/ 58 h 70"/>
              <a:gd name="T16" fmla="*/ 57 w 69"/>
              <a:gd name="T17" fmla="*/ 35 h 70"/>
              <a:gd name="T18" fmla="*/ 35 w 69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70">
                <a:moveTo>
                  <a:pt x="35" y="70"/>
                </a:moveTo>
                <a:cubicBezTo>
                  <a:pt x="15" y="70"/>
                  <a:pt x="0" y="54"/>
                  <a:pt x="0" y="35"/>
                </a:cubicBezTo>
                <a:cubicBezTo>
                  <a:pt x="0" y="16"/>
                  <a:pt x="15" y="0"/>
                  <a:pt x="35" y="0"/>
                </a:cubicBezTo>
                <a:cubicBezTo>
                  <a:pt x="54" y="0"/>
                  <a:pt x="69" y="16"/>
                  <a:pt x="69" y="35"/>
                </a:cubicBezTo>
                <a:cubicBezTo>
                  <a:pt x="69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7" y="58"/>
                  <a:pt x="57" y="48"/>
                  <a:pt x="57" y="35"/>
                </a:cubicBezTo>
                <a:cubicBezTo>
                  <a:pt x="57" y="22"/>
                  <a:pt x="47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17"/>
          <p:cNvSpPr>
            <a:spLocks noEditPoints="1"/>
          </p:cNvSpPr>
          <p:nvPr/>
        </p:nvSpPr>
        <p:spPr bwMode="auto">
          <a:xfrm>
            <a:off x="6435941" y="11814956"/>
            <a:ext cx="387961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5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5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3"/>
                  <a:pt x="12" y="35"/>
                </a:cubicBezTo>
                <a:cubicBezTo>
                  <a:pt x="12" y="48"/>
                  <a:pt x="22" y="58"/>
                  <a:pt x="35" y="58"/>
                </a:cubicBezTo>
                <a:cubicBezTo>
                  <a:pt x="48" y="58"/>
                  <a:pt x="58" y="48"/>
                  <a:pt x="58" y="35"/>
                </a:cubicBezTo>
                <a:cubicBezTo>
                  <a:pt x="58" y="23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auto">
          <a:xfrm>
            <a:off x="6237832" y="9020816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 20"/>
          <p:cNvSpPr>
            <a:spLocks noEditPoints="1"/>
          </p:cNvSpPr>
          <p:nvPr/>
        </p:nvSpPr>
        <p:spPr bwMode="auto">
          <a:xfrm>
            <a:off x="8185889" y="10362168"/>
            <a:ext cx="385897" cy="385897"/>
          </a:xfrm>
          <a:custGeom>
            <a:avLst/>
            <a:gdLst>
              <a:gd name="T0" fmla="*/ 35 w 70"/>
              <a:gd name="T1" fmla="*/ 70 h 70"/>
              <a:gd name="T2" fmla="*/ 0 w 70"/>
              <a:gd name="T3" fmla="*/ 35 h 70"/>
              <a:gd name="T4" fmla="*/ 35 w 70"/>
              <a:gd name="T5" fmla="*/ 0 h 70"/>
              <a:gd name="T6" fmla="*/ 70 w 70"/>
              <a:gd name="T7" fmla="*/ 35 h 70"/>
              <a:gd name="T8" fmla="*/ 35 w 70"/>
              <a:gd name="T9" fmla="*/ 70 h 70"/>
              <a:gd name="T10" fmla="*/ 35 w 70"/>
              <a:gd name="T11" fmla="*/ 12 h 70"/>
              <a:gd name="T12" fmla="*/ 12 w 70"/>
              <a:gd name="T13" fmla="*/ 35 h 70"/>
              <a:gd name="T14" fmla="*/ 35 w 70"/>
              <a:gd name="T15" fmla="*/ 58 h 70"/>
              <a:gd name="T16" fmla="*/ 58 w 70"/>
              <a:gd name="T17" fmla="*/ 35 h 70"/>
              <a:gd name="T18" fmla="*/ 35 w 70"/>
              <a:gd name="T19" fmla="*/ 1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70">
                <a:moveTo>
                  <a:pt x="35" y="70"/>
                </a:moveTo>
                <a:cubicBezTo>
                  <a:pt x="16" y="70"/>
                  <a:pt x="0" y="54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54" y="0"/>
                  <a:pt x="70" y="16"/>
                  <a:pt x="70" y="35"/>
                </a:cubicBezTo>
                <a:cubicBezTo>
                  <a:pt x="70" y="54"/>
                  <a:pt x="54" y="70"/>
                  <a:pt x="35" y="70"/>
                </a:cubicBezTo>
                <a:close/>
                <a:moveTo>
                  <a:pt x="35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2" y="58"/>
                  <a:pt x="35" y="58"/>
                </a:cubicBezTo>
                <a:cubicBezTo>
                  <a:pt x="48" y="58"/>
                  <a:pt x="58" y="47"/>
                  <a:pt x="58" y="35"/>
                </a:cubicBezTo>
                <a:cubicBezTo>
                  <a:pt x="58" y="22"/>
                  <a:pt x="48" y="12"/>
                  <a:pt x="35" y="12"/>
                </a:cubicBezTo>
                <a:close/>
              </a:path>
            </a:pathLst>
          </a:custGeom>
          <a:solidFill>
            <a:srgbClr val="ECC520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8" name="Agrupar 117"/>
          <p:cNvGrpSpPr/>
          <p:nvPr/>
        </p:nvGrpSpPr>
        <p:grpSpPr>
          <a:xfrm>
            <a:off x="3811016" y="9060024"/>
            <a:ext cx="392088" cy="385897"/>
            <a:chOff x="1906004" y="4530298"/>
            <a:chExt cx="196095" cy="192999"/>
          </a:xfrm>
        </p:grpSpPr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1909100" y="4532362"/>
              <a:ext cx="71214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22"/>
            <p:cNvSpPr>
              <a:spLocks/>
            </p:cNvSpPr>
            <p:nvPr/>
          </p:nvSpPr>
          <p:spPr bwMode="auto">
            <a:xfrm>
              <a:off x="2032949" y="4654147"/>
              <a:ext cx="69150" cy="69150"/>
            </a:xfrm>
            <a:custGeom>
              <a:avLst/>
              <a:gdLst>
                <a:gd name="T0" fmla="*/ 19 w 25"/>
                <a:gd name="T1" fmla="*/ 25 h 25"/>
                <a:gd name="T2" fmla="*/ 15 w 25"/>
                <a:gd name="T3" fmla="*/ 24 h 25"/>
                <a:gd name="T4" fmla="*/ 2 w 25"/>
                <a:gd name="T5" fmla="*/ 11 h 25"/>
                <a:gd name="T6" fmla="*/ 2 w 25"/>
                <a:gd name="T7" fmla="*/ 2 h 25"/>
                <a:gd name="T8" fmla="*/ 10 w 25"/>
                <a:gd name="T9" fmla="*/ 2 h 25"/>
                <a:gd name="T10" fmla="*/ 23 w 25"/>
                <a:gd name="T11" fmla="*/ 15 h 25"/>
                <a:gd name="T12" fmla="*/ 23 w 25"/>
                <a:gd name="T13" fmla="*/ 24 h 25"/>
                <a:gd name="T14" fmla="*/ 19 w 25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19" y="25"/>
                  </a:moveTo>
                  <a:cubicBezTo>
                    <a:pt x="17" y="25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8"/>
                    <a:pt x="25" y="21"/>
                    <a:pt x="23" y="24"/>
                  </a:cubicBezTo>
                  <a:cubicBezTo>
                    <a:pt x="22" y="25"/>
                    <a:pt x="20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23"/>
            <p:cNvSpPr>
              <a:spLocks/>
            </p:cNvSpPr>
            <p:nvPr/>
          </p:nvSpPr>
          <p:spPr bwMode="auto">
            <a:xfrm>
              <a:off x="1906004" y="4651051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5"/>
                    <a:pt x="26" y="8"/>
                    <a:pt x="24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24"/>
            <p:cNvSpPr>
              <a:spLocks/>
            </p:cNvSpPr>
            <p:nvPr/>
          </p:nvSpPr>
          <p:spPr bwMode="auto">
            <a:xfrm>
              <a:off x="2027789" y="4530298"/>
              <a:ext cx="71214" cy="68117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3" name="Agrupar 122"/>
          <p:cNvGrpSpPr/>
          <p:nvPr/>
        </p:nvGrpSpPr>
        <p:grpSpPr>
          <a:xfrm>
            <a:off x="7903171" y="11567320"/>
            <a:ext cx="392090" cy="392088"/>
            <a:chOff x="3952615" y="5784273"/>
            <a:chExt cx="196096" cy="196095"/>
          </a:xfrm>
        </p:grpSpPr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3955712" y="5786338"/>
              <a:ext cx="72245" cy="72245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1 w 26"/>
                <a:gd name="T9" fmla="*/ 3 h 26"/>
                <a:gd name="T10" fmla="*/ 24 w 26"/>
                <a:gd name="T11" fmla="*/ 15 h 26"/>
                <a:gd name="T12" fmla="*/ 24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8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auto">
            <a:xfrm>
              <a:off x="4077497" y="5908123"/>
              <a:ext cx="71214" cy="72245"/>
            </a:xfrm>
            <a:custGeom>
              <a:avLst/>
              <a:gdLst>
                <a:gd name="T0" fmla="*/ 20 w 26"/>
                <a:gd name="T1" fmla="*/ 26 h 26"/>
                <a:gd name="T2" fmla="*/ 15 w 26"/>
                <a:gd name="T3" fmla="*/ 24 h 26"/>
                <a:gd name="T4" fmla="*/ 3 w 26"/>
                <a:gd name="T5" fmla="*/ 11 h 26"/>
                <a:gd name="T6" fmla="*/ 3 w 26"/>
                <a:gd name="T7" fmla="*/ 3 h 26"/>
                <a:gd name="T8" fmla="*/ 11 w 26"/>
                <a:gd name="T9" fmla="*/ 3 h 26"/>
                <a:gd name="T10" fmla="*/ 24 w 26"/>
                <a:gd name="T11" fmla="*/ 16 h 26"/>
                <a:gd name="T12" fmla="*/ 24 w 26"/>
                <a:gd name="T13" fmla="*/ 24 h 26"/>
                <a:gd name="T14" fmla="*/ 20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20" y="26"/>
                  </a:moveTo>
                  <a:cubicBezTo>
                    <a:pt x="18" y="26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8"/>
                    <a:pt x="26" y="22"/>
                    <a:pt x="24" y="24"/>
                  </a:cubicBezTo>
                  <a:cubicBezTo>
                    <a:pt x="23" y="25"/>
                    <a:pt x="21" y="26"/>
                    <a:pt x="2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27"/>
            <p:cNvSpPr>
              <a:spLocks/>
            </p:cNvSpPr>
            <p:nvPr/>
          </p:nvSpPr>
          <p:spPr bwMode="auto">
            <a:xfrm>
              <a:off x="3952615" y="5905026"/>
              <a:ext cx="72245" cy="72245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5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1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28"/>
            <p:cNvSpPr>
              <a:spLocks/>
            </p:cNvSpPr>
            <p:nvPr/>
          </p:nvSpPr>
          <p:spPr bwMode="auto">
            <a:xfrm>
              <a:off x="4074400" y="5784273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4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1 h 25"/>
                <a:gd name="T12" fmla="*/ 11 w 26"/>
                <a:gd name="T13" fmla="*/ 24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5"/>
                    <a:pt x="2" y="24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4" y="2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7" name="Agrupar 116"/>
          <p:cNvGrpSpPr/>
          <p:nvPr/>
        </p:nvGrpSpPr>
        <p:grpSpPr>
          <a:xfrm>
            <a:off x="4555981" y="11307492"/>
            <a:ext cx="392086" cy="387961"/>
            <a:chOff x="2278584" y="5725445"/>
            <a:chExt cx="196094" cy="194031"/>
          </a:xfrm>
        </p:grpSpPr>
        <p:sp>
          <p:nvSpPr>
            <p:cNvPr id="58" name="Freeform 29"/>
            <p:cNvSpPr>
              <a:spLocks/>
            </p:cNvSpPr>
            <p:nvPr/>
          </p:nvSpPr>
          <p:spPr bwMode="auto">
            <a:xfrm>
              <a:off x="2280648" y="5728541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3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3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8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3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0"/>
            <p:cNvSpPr>
              <a:spLocks/>
            </p:cNvSpPr>
            <p:nvPr/>
          </p:nvSpPr>
          <p:spPr bwMode="auto">
            <a:xfrm>
              <a:off x="2402433" y="5850326"/>
              <a:ext cx="72245" cy="69150"/>
            </a:xfrm>
            <a:custGeom>
              <a:avLst/>
              <a:gdLst>
                <a:gd name="T0" fmla="*/ 20 w 26"/>
                <a:gd name="T1" fmla="*/ 25 h 25"/>
                <a:gd name="T2" fmla="*/ 15 w 26"/>
                <a:gd name="T3" fmla="*/ 24 h 25"/>
                <a:gd name="T4" fmla="*/ 3 w 26"/>
                <a:gd name="T5" fmla="*/ 11 h 25"/>
                <a:gd name="T6" fmla="*/ 3 w 26"/>
                <a:gd name="T7" fmla="*/ 2 h 25"/>
                <a:gd name="T8" fmla="*/ 11 w 26"/>
                <a:gd name="T9" fmla="*/ 2 h 25"/>
                <a:gd name="T10" fmla="*/ 24 w 26"/>
                <a:gd name="T11" fmla="*/ 15 h 25"/>
                <a:gd name="T12" fmla="*/ 24 w 26"/>
                <a:gd name="T13" fmla="*/ 24 h 25"/>
                <a:gd name="T14" fmla="*/ 20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20" y="25"/>
                  </a:moveTo>
                  <a:cubicBezTo>
                    <a:pt x="18" y="25"/>
                    <a:pt x="17" y="25"/>
                    <a:pt x="15" y="24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6" y="17"/>
                    <a:pt x="26" y="21"/>
                    <a:pt x="24" y="24"/>
                  </a:cubicBezTo>
                  <a:cubicBezTo>
                    <a:pt x="23" y="25"/>
                    <a:pt x="21" y="25"/>
                    <a:pt x="20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2278584" y="5847230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3 w 26"/>
                <a:gd name="T9" fmla="*/ 2 h 25"/>
                <a:gd name="T10" fmla="*/ 23 w 26"/>
                <a:gd name="T11" fmla="*/ 11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3" y="25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7" y="0"/>
                    <a:pt x="21" y="0"/>
                    <a:pt x="23" y="2"/>
                  </a:cubicBezTo>
                  <a:cubicBezTo>
                    <a:pt x="26" y="4"/>
                    <a:pt x="26" y="8"/>
                    <a:pt x="23" y="11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5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32"/>
            <p:cNvSpPr>
              <a:spLocks/>
            </p:cNvSpPr>
            <p:nvPr/>
          </p:nvSpPr>
          <p:spPr bwMode="auto">
            <a:xfrm>
              <a:off x="2399337" y="5725445"/>
              <a:ext cx="72245" cy="69150"/>
            </a:xfrm>
            <a:custGeom>
              <a:avLst/>
              <a:gdLst>
                <a:gd name="T0" fmla="*/ 7 w 26"/>
                <a:gd name="T1" fmla="*/ 25 h 25"/>
                <a:gd name="T2" fmla="*/ 2 w 26"/>
                <a:gd name="T3" fmla="*/ 23 h 25"/>
                <a:gd name="T4" fmla="*/ 2 w 26"/>
                <a:gd name="T5" fmla="*/ 15 h 25"/>
                <a:gd name="T6" fmla="*/ 15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5" y="25"/>
                    <a:pt x="4" y="24"/>
                    <a:pt x="2" y="23"/>
                  </a:cubicBezTo>
                  <a:cubicBezTo>
                    <a:pt x="0" y="21"/>
                    <a:pt x="0" y="17"/>
                    <a:pt x="2" y="1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0"/>
                    <a:pt x="21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8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1" name="Agrupar 120"/>
          <p:cNvGrpSpPr/>
          <p:nvPr/>
        </p:nvGrpSpPr>
        <p:grpSpPr>
          <a:xfrm>
            <a:off x="9056736" y="10589164"/>
            <a:ext cx="398278" cy="392090"/>
            <a:chOff x="4529547" y="5295068"/>
            <a:chExt cx="199191" cy="196096"/>
          </a:xfrm>
        </p:grpSpPr>
        <p:sp>
          <p:nvSpPr>
            <p:cNvPr id="62" name="Freeform 33"/>
            <p:cNvSpPr>
              <a:spLocks/>
            </p:cNvSpPr>
            <p:nvPr/>
          </p:nvSpPr>
          <p:spPr bwMode="auto">
            <a:xfrm>
              <a:off x="4535740" y="5298164"/>
              <a:ext cx="71214" cy="71214"/>
            </a:xfrm>
            <a:custGeom>
              <a:avLst/>
              <a:gdLst>
                <a:gd name="T0" fmla="*/ 19 w 26"/>
                <a:gd name="T1" fmla="*/ 26 h 26"/>
                <a:gd name="T2" fmla="*/ 15 w 26"/>
                <a:gd name="T3" fmla="*/ 24 h 26"/>
                <a:gd name="T4" fmla="*/ 2 w 26"/>
                <a:gd name="T5" fmla="*/ 11 h 26"/>
                <a:gd name="T6" fmla="*/ 2 w 26"/>
                <a:gd name="T7" fmla="*/ 3 h 26"/>
                <a:gd name="T8" fmla="*/ 10 w 26"/>
                <a:gd name="T9" fmla="*/ 3 h 26"/>
                <a:gd name="T10" fmla="*/ 23 w 26"/>
                <a:gd name="T11" fmla="*/ 16 h 26"/>
                <a:gd name="T12" fmla="*/ 23 w 26"/>
                <a:gd name="T13" fmla="*/ 24 h 26"/>
                <a:gd name="T14" fmla="*/ 19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19" y="26"/>
                  </a:moveTo>
                  <a:cubicBezTo>
                    <a:pt x="17" y="26"/>
                    <a:pt x="16" y="25"/>
                    <a:pt x="15" y="2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6" y="18"/>
                    <a:pt x="26" y="22"/>
                    <a:pt x="23" y="24"/>
                  </a:cubicBezTo>
                  <a:cubicBezTo>
                    <a:pt x="22" y="25"/>
                    <a:pt x="21" y="26"/>
                    <a:pt x="19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34"/>
            <p:cNvSpPr>
              <a:spLocks/>
            </p:cNvSpPr>
            <p:nvPr/>
          </p:nvSpPr>
          <p:spPr bwMode="auto">
            <a:xfrm>
              <a:off x="4656493" y="5422014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0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529547" y="5416854"/>
              <a:ext cx="72245" cy="71214"/>
            </a:xfrm>
            <a:custGeom>
              <a:avLst/>
              <a:gdLst>
                <a:gd name="T0" fmla="*/ 7 w 26"/>
                <a:gd name="T1" fmla="*/ 26 h 26"/>
                <a:gd name="T2" fmla="*/ 3 w 26"/>
                <a:gd name="T3" fmla="*/ 24 h 26"/>
                <a:gd name="T4" fmla="*/ 3 w 26"/>
                <a:gd name="T5" fmla="*/ 15 h 26"/>
                <a:gd name="T6" fmla="*/ 15 w 26"/>
                <a:gd name="T7" fmla="*/ 3 h 26"/>
                <a:gd name="T8" fmla="*/ 24 w 26"/>
                <a:gd name="T9" fmla="*/ 3 h 26"/>
                <a:gd name="T10" fmla="*/ 24 w 26"/>
                <a:gd name="T11" fmla="*/ 11 h 26"/>
                <a:gd name="T12" fmla="*/ 11 w 26"/>
                <a:gd name="T13" fmla="*/ 24 h 26"/>
                <a:gd name="T14" fmla="*/ 7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7" y="26"/>
                  </a:moveTo>
                  <a:cubicBezTo>
                    <a:pt x="5" y="26"/>
                    <a:pt x="4" y="25"/>
                    <a:pt x="3" y="24"/>
                  </a:cubicBezTo>
                  <a:cubicBezTo>
                    <a:pt x="0" y="22"/>
                    <a:pt x="0" y="18"/>
                    <a:pt x="3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8" y="0"/>
                    <a:pt x="22" y="0"/>
                    <a:pt x="24" y="3"/>
                  </a:cubicBezTo>
                  <a:cubicBezTo>
                    <a:pt x="26" y="5"/>
                    <a:pt x="26" y="9"/>
                    <a:pt x="24" y="11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5"/>
                    <a:pt x="9" y="26"/>
                    <a:pt x="7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654428" y="5295068"/>
              <a:ext cx="68117" cy="71214"/>
            </a:xfrm>
            <a:custGeom>
              <a:avLst/>
              <a:gdLst>
                <a:gd name="T0" fmla="*/ 6 w 25"/>
                <a:gd name="T1" fmla="*/ 26 h 26"/>
                <a:gd name="T2" fmla="*/ 2 w 25"/>
                <a:gd name="T3" fmla="*/ 24 h 26"/>
                <a:gd name="T4" fmla="*/ 2 w 25"/>
                <a:gd name="T5" fmla="*/ 15 h 26"/>
                <a:gd name="T6" fmla="*/ 15 w 25"/>
                <a:gd name="T7" fmla="*/ 3 h 26"/>
                <a:gd name="T8" fmla="*/ 23 w 25"/>
                <a:gd name="T9" fmla="*/ 3 h 26"/>
                <a:gd name="T10" fmla="*/ 23 w 25"/>
                <a:gd name="T11" fmla="*/ 11 h 26"/>
                <a:gd name="T12" fmla="*/ 10 w 25"/>
                <a:gd name="T13" fmla="*/ 24 h 26"/>
                <a:gd name="T14" fmla="*/ 6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1"/>
                    <a:pt x="0" y="18"/>
                    <a:pt x="2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5" y="5"/>
                    <a:pt x="25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0" name="Agrupar 119"/>
          <p:cNvGrpSpPr/>
          <p:nvPr/>
        </p:nvGrpSpPr>
        <p:grpSpPr>
          <a:xfrm>
            <a:off x="6834216" y="9501637"/>
            <a:ext cx="396217" cy="392090"/>
            <a:chOff x="3417998" y="4751163"/>
            <a:chExt cx="198160" cy="196096"/>
          </a:xfrm>
        </p:grpSpPr>
        <p:sp>
          <p:nvSpPr>
            <p:cNvPr id="70" name="Freeform 41"/>
            <p:cNvSpPr>
              <a:spLocks/>
            </p:cNvSpPr>
            <p:nvPr/>
          </p:nvSpPr>
          <p:spPr bwMode="auto">
            <a:xfrm>
              <a:off x="3423159" y="4756323"/>
              <a:ext cx="72245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4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4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42"/>
            <p:cNvSpPr>
              <a:spLocks/>
            </p:cNvSpPr>
            <p:nvPr/>
          </p:nvSpPr>
          <p:spPr bwMode="auto">
            <a:xfrm>
              <a:off x="3544944" y="4878109"/>
              <a:ext cx="71214" cy="69150"/>
            </a:xfrm>
            <a:custGeom>
              <a:avLst/>
              <a:gdLst>
                <a:gd name="T0" fmla="*/ 19 w 26"/>
                <a:gd name="T1" fmla="*/ 25 h 25"/>
                <a:gd name="T2" fmla="*/ 15 w 26"/>
                <a:gd name="T3" fmla="*/ 23 h 25"/>
                <a:gd name="T4" fmla="*/ 2 w 26"/>
                <a:gd name="T5" fmla="*/ 11 h 25"/>
                <a:gd name="T6" fmla="*/ 2 w 26"/>
                <a:gd name="T7" fmla="*/ 2 h 25"/>
                <a:gd name="T8" fmla="*/ 11 w 26"/>
                <a:gd name="T9" fmla="*/ 2 h 25"/>
                <a:gd name="T10" fmla="*/ 23 w 26"/>
                <a:gd name="T11" fmla="*/ 15 h 25"/>
                <a:gd name="T12" fmla="*/ 23 w 26"/>
                <a:gd name="T13" fmla="*/ 23 h 25"/>
                <a:gd name="T14" fmla="*/ 19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19" y="25"/>
                  </a:moveTo>
                  <a:cubicBezTo>
                    <a:pt x="18" y="25"/>
                    <a:pt x="16" y="25"/>
                    <a:pt x="15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6" y="17"/>
                    <a:pt x="26" y="21"/>
                    <a:pt x="23" y="23"/>
                  </a:cubicBezTo>
                  <a:cubicBezTo>
                    <a:pt x="22" y="25"/>
                    <a:pt x="21" y="25"/>
                    <a:pt x="19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43"/>
            <p:cNvSpPr>
              <a:spLocks/>
            </p:cNvSpPr>
            <p:nvPr/>
          </p:nvSpPr>
          <p:spPr bwMode="auto">
            <a:xfrm>
              <a:off x="3417998" y="4875012"/>
              <a:ext cx="71214" cy="69150"/>
            </a:xfrm>
            <a:custGeom>
              <a:avLst/>
              <a:gdLst>
                <a:gd name="T0" fmla="*/ 7 w 26"/>
                <a:gd name="T1" fmla="*/ 25 h 25"/>
                <a:gd name="T2" fmla="*/ 3 w 26"/>
                <a:gd name="T3" fmla="*/ 23 h 25"/>
                <a:gd name="T4" fmla="*/ 3 w 26"/>
                <a:gd name="T5" fmla="*/ 15 h 25"/>
                <a:gd name="T6" fmla="*/ 16 w 26"/>
                <a:gd name="T7" fmla="*/ 2 h 25"/>
                <a:gd name="T8" fmla="*/ 24 w 26"/>
                <a:gd name="T9" fmla="*/ 2 h 25"/>
                <a:gd name="T10" fmla="*/ 24 w 26"/>
                <a:gd name="T11" fmla="*/ 10 h 25"/>
                <a:gd name="T12" fmla="*/ 11 w 26"/>
                <a:gd name="T13" fmla="*/ 23 h 25"/>
                <a:gd name="T14" fmla="*/ 7 w 26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5">
                  <a:moveTo>
                    <a:pt x="7" y="25"/>
                  </a:moveTo>
                  <a:cubicBezTo>
                    <a:pt x="6" y="25"/>
                    <a:pt x="4" y="24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2" y="0"/>
                    <a:pt x="24" y="2"/>
                  </a:cubicBezTo>
                  <a:cubicBezTo>
                    <a:pt x="26" y="4"/>
                    <a:pt x="26" y="8"/>
                    <a:pt x="24" y="10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4"/>
                    <a:pt x="9" y="25"/>
                    <a:pt x="7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44"/>
            <p:cNvSpPr>
              <a:spLocks/>
            </p:cNvSpPr>
            <p:nvPr/>
          </p:nvSpPr>
          <p:spPr bwMode="auto">
            <a:xfrm>
              <a:off x="3541848" y="4751163"/>
              <a:ext cx="72245" cy="71214"/>
            </a:xfrm>
            <a:custGeom>
              <a:avLst/>
              <a:gdLst>
                <a:gd name="T0" fmla="*/ 6 w 26"/>
                <a:gd name="T1" fmla="*/ 26 h 26"/>
                <a:gd name="T2" fmla="*/ 2 w 26"/>
                <a:gd name="T3" fmla="*/ 24 h 26"/>
                <a:gd name="T4" fmla="*/ 2 w 26"/>
                <a:gd name="T5" fmla="*/ 16 h 26"/>
                <a:gd name="T6" fmla="*/ 15 w 26"/>
                <a:gd name="T7" fmla="*/ 3 h 26"/>
                <a:gd name="T8" fmla="*/ 23 w 26"/>
                <a:gd name="T9" fmla="*/ 3 h 26"/>
                <a:gd name="T10" fmla="*/ 23 w 26"/>
                <a:gd name="T11" fmla="*/ 11 h 26"/>
                <a:gd name="T12" fmla="*/ 10 w 26"/>
                <a:gd name="T13" fmla="*/ 24 h 26"/>
                <a:gd name="T14" fmla="*/ 6 w 2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5" y="26"/>
                    <a:pt x="3" y="25"/>
                    <a:pt x="2" y="24"/>
                  </a:cubicBezTo>
                  <a:cubicBezTo>
                    <a:pt x="0" y="22"/>
                    <a:pt x="0" y="18"/>
                    <a:pt x="2" y="16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7" y="0"/>
                    <a:pt x="21" y="0"/>
                    <a:pt x="23" y="3"/>
                  </a:cubicBezTo>
                  <a:cubicBezTo>
                    <a:pt x="26" y="5"/>
                    <a:pt x="26" y="9"/>
                    <a:pt x="23" y="1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5" name="Agrupar 134"/>
          <p:cNvGrpSpPr/>
          <p:nvPr/>
        </p:nvGrpSpPr>
        <p:grpSpPr>
          <a:xfrm>
            <a:off x="4389539" y="2703653"/>
            <a:ext cx="917997" cy="652828"/>
            <a:chOff x="6351" y="1588"/>
            <a:chExt cx="1082675" cy="769938"/>
          </a:xfrm>
          <a:solidFill>
            <a:schemeClr val="bg1"/>
          </a:solidFill>
        </p:grpSpPr>
        <p:sp>
          <p:nvSpPr>
            <p:cNvPr id="128" name="Freeform 48"/>
            <p:cNvSpPr>
              <a:spLocks/>
            </p:cNvSpPr>
            <p:nvPr/>
          </p:nvSpPr>
          <p:spPr bwMode="auto">
            <a:xfrm>
              <a:off x="6351" y="1588"/>
              <a:ext cx="338138" cy="339725"/>
            </a:xfrm>
            <a:custGeom>
              <a:avLst/>
              <a:gdLst>
                <a:gd name="T0" fmla="*/ 72 w 79"/>
                <a:gd name="T1" fmla="*/ 78 h 79"/>
                <a:gd name="T2" fmla="*/ 67 w 79"/>
                <a:gd name="T3" fmla="*/ 75 h 79"/>
                <a:gd name="T4" fmla="*/ 40 w 79"/>
                <a:gd name="T5" fmla="*/ 19 h 79"/>
                <a:gd name="T6" fmla="*/ 12 w 79"/>
                <a:gd name="T7" fmla="*/ 75 h 79"/>
                <a:gd name="T8" fmla="*/ 4 w 79"/>
                <a:gd name="T9" fmla="*/ 77 h 79"/>
                <a:gd name="T10" fmla="*/ 1 w 79"/>
                <a:gd name="T11" fmla="*/ 69 h 79"/>
                <a:gd name="T12" fmla="*/ 35 w 79"/>
                <a:gd name="T13" fmla="*/ 3 h 79"/>
                <a:gd name="T14" fmla="*/ 40 w 79"/>
                <a:gd name="T15" fmla="*/ 0 h 79"/>
                <a:gd name="T16" fmla="*/ 40 w 79"/>
                <a:gd name="T17" fmla="*/ 0 h 79"/>
                <a:gd name="T18" fmla="*/ 46 w 79"/>
                <a:gd name="T19" fmla="*/ 3 h 79"/>
                <a:gd name="T20" fmla="*/ 78 w 79"/>
                <a:gd name="T21" fmla="*/ 70 h 79"/>
                <a:gd name="T22" fmla="*/ 75 w 79"/>
                <a:gd name="T23" fmla="*/ 78 h 79"/>
                <a:gd name="T24" fmla="*/ 72 w 79"/>
                <a:gd name="T25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79">
                  <a:moveTo>
                    <a:pt x="72" y="78"/>
                  </a:moveTo>
                  <a:cubicBezTo>
                    <a:pt x="70" y="78"/>
                    <a:pt x="68" y="77"/>
                    <a:pt x="67" y="75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0" y="78"/>
                    <a:pt x="7" y="79"/>
                    <a:pt x="4" y="77"/>
                  </a:cubicBezTo>
                  <a:cubicBezTo>
                    <a:pt x="1" y="76"/>
                    <a:pt x="0" y="72"/>
                    <a:pt x="1" y="69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1"/>
                    <a:pt x="38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5" y="1"/>
                    <a:pt x="46" y="3"/>
                  </a:cubicBezTo>
                  <a:cubicBezTo>
                    <a:pt x="78" y="70"/>
                    <a:pt x="78" y="70"/>
                    <a:pt x="78" y="70"/>
                  </a:cubicBezTo>
                  <a:cubicBezTo>
                    <a:pt x="79" y="73"/>
                    <a:pt x="78" y="76"/>
                    <a:pt x="75" y="78"/>
                  </a:cubicBezTo>
                  <a:cubicBezTo>
                    <a:pt x="74" y="78"/>
                    <a:pt x="73" y="78"/>
                    <a:pt x="7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9"/>
            <p:cNvSpPr>
              <a:spLocks/>
            </p:cNvSpPr>
            <p:nvPr/>
          </p:nvSpPr>
          <p:spPr bwMode="auto">
            <a:xfrm>
              <a:off x="57151" y="185738"/>
              <a:ext cx="234950" cy="52388"/>
            </a:xfrm>
            <a:custGeom>
              <a:avLst/>
              <a:gdLst>
                <a:gd name="T0" fmla="*/ 49 w 55"/>
                <a:gd name="T1" fmla="*/ 12 h 12"/>
                <a:gd name="T2" fmla="*/ 6 w 55"/>
                <a:gd name="T3" fmla="*/ 12 h 12"/>
                <a:gd name="T4" fmla="*/ 0 w 55"/>
                <a:gd name="T5" fmla="*/ 6 h 12"/>
                <a:gd name="T6" fmla="*/ 6 w 55"/>
                <a:gd name="T7" fmla="*/ 0 h 12"/>
                <a:gd name="T8" fmla="*/ 49 w 55"/>
                <a:gd name="T9" fmla="*/ 0 h 12"/>
                <a:gd name="T10" fmla="*/ 55 w 55"/>
                <a:gd name="T11" fmla="*/ 6 h 12"/>
                <a:gd name="T12" fmla="*/ 49 w 5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">
                  <a:moveTo>
                    <a:pt x="4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6"/>
                  </a:cubicBezTo>
                  <a:cubicBezTo>
                    <a:pt x="55" y="9"/>
                    <a:pt x="52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50"/>
            <p:cNvSpPr>
              <a:spLocks/>
            </p:cNvSpPr>
            <p:nvPr/>
          </p:nvSpPr>
          <p:spPr bwMode="auto">
            <a:xfrm>
              <a:off x="460376" y="22226"/>
              <a:ext cx="628650" cy="52388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51"/>
            <p:cNvSpPr>
              <a:spLocks/>
            </p:cNvSpPr>
            <p:nvPr/>
          </p:nvSpPr>
          <p:spPr bwMode="auto">
            <a:xfrm>
              <a:off x="460376" y="255588"/>
              <a:ext cx="628650" cy="50800"/>
            </a:xfrm>
            <a:custGeom>
              <a:avLst/>
              <a:gdLst>
                <a:gd name="T0" fmla="*/ 141 w 147"/>
                <a:gd name="T1" fmla="*/ 12 h 12"/>
                <a:gd name="T2" fmla="*/ 6 w 147"/>
                <a:gd name="T3" fmla="*/ 12 h 12"/>
                <a:gd name="T4" fmla="*/ 0 w 147"/>
                <a:gd name="T5" fmla="*/ 6 h 12"/>
                <a:gd name="T6" fmla="*/ 6 w 147"/>
                <a:gd name="T7" fmla="*/ 0 h 12"/>
                <a:gd name="T8" fmla="*/ 141 w 147"/>
                <a:gd name="T9" fmla="*/ 0 h 12"/>
                <a:gd name="T10" fmla="*/ 147 w 147"/>
                <a:gd name="T11" fmla="*/ 6 h 12"/>
                <a:gd name="T12" fmla="*/ 141 w 1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12">
                  <a:moveTo>
                    <a:pt x="1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5" y="0"/>
                    <a:pt x="147" y="3"/>
                    <a:pt x="147" y="6"/>
                  </a:cubicBezTo>
                  <a:cubicBezTo>
                    <a:pt x="147" y="9"/>
                    <a:pt x="145" y="12"/>
                    <a:pt x="1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52"/>
            <p:cNvSpPr>
              <a:spLocks/>
            </p:cNvSpPr>
            <p:nvPr/>
          </p:nvSpPr>
          <p:spPr bwMode="auto">
            <a:xfrm>
              <a:off x="14288" y="487363"/>
              <a:ext cx="1074738" cy="52388"/>
            </a:xfrm>
            <a:custGeom>
              <a:avLst/>
              <a:gdLst>
                <a:gd name="T0" fmla="*/ 245 w 251"/>
                <a:gd name="T1" fmla="*/ 12 h 12"/>
                <a:gd name="T2" fmla="*/ 6 w 251"/>
                <a:gd name="T3" fmla="*/ 12 h 12"/>
                <a:gd name="T4" fmla="*/ 0 w 251"/>
                <a:gd name="T5" fmla="*/ 6 h 12"/>
                <a:gd name="T6" fmla="*/ 6 w 251"/>
                <a:gd name="T7" fmla="*/ 0 h 12"/>
                <a:gd name="T8" fmla="*/ 245 w 251"/>
                <a:gd name="T9" fmla="*/ 0 h 12"/>
                <a:gd name="T10" fmla="*/ 251 w 251"/>
                <a:gd name="T11" fmla="*/ 6 h 12"/>
                <a:gd name="T12" fmla="*/ 245 w 25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12">
                  <a:moveTo>
                    <a:pt x="24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9" y="0"/>
                    <a:pt x="251" y="3"/>
                    <a:pt x="251" y="6"/>
                  </a:cubicBezTo>
                  <a:cubicBezTo>
                    <a:pt x="251" y="9"/>
                    <a:pt x="249" y="12"/>
                    <a:pt x="24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53"/>
            <p:cNvSpPr>
              <a:spLocks/>
            </p:cNvSpPr>
            <p:nvPr/>
          </p:nvSpPr>
          <p:spPr bwMode="auto">
            <a:xfrm>
              <a:off x="14288" y="720726"/>
              <a:ext cx="642938" cy="50800"/>
            </a:xfrm>
            <a:custGeom>
              <a:avLst/>
              <a:gdLst>
                <a:gd name="T0" fmla="*/ 144 w 150"/>
                <a:gd name="T1" fmla="*/ 12 h 12"/>
                <a:gd name="T2" fmla="*/ 6 w 150"/>
                <a:gd name="T3" fmla="*/ 12 h 12"/>
                <a:gd name="T4" fmla="*/ 0 w 150"/>
                <a:gd name="T5" fmla="*/ 6 h 12"/>
                <a:gd name="T6" fmla="*/ 6 w 150"/>
                <a:gd name="T7" fmla="*/ 0 h 12"/>
                <a:gd name="T8" fmla="*/ 144 w 150"/>
                <a:gd name="T9" fmla="*/ 0 h 12"/>
                <a:gd name="T10" fmla="*/ 150 w 150"/>
                <a:gd name="T11" fmla="*/ 6 h 12"/>
                <a:gd name="T12" fmla="*/ 144 w 15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">
                  <a:moveTo>
                    <a:pt x="14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0"/>
                    <a:pt x="150" y="3"/>
                    <a:pt x="150" y="6"/>
                  </a:cubicBezTo>
                  <a:cubicBezTo>
                    <a:pt x="150" y="9"/>
                    <a:pt x="14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54"/>
            <p:cNvSpPr>
              <a:spLocks/>
            </p:cNvSpPr>
            <p:nvPr/>
          </p:nvSpPr>
          <p:spPr bwMode="auto">
            <a:xfrm>
              <a:off x="785813" y="720726"/>
              <a:ext cx="303213" cy="50800"/>
            </a:xfrm>
            <a:custGeom>
              <a:avLst/>
              <a:gdLst>
                <a:gd name="T0" fmla="*/ 65 w 71"/>
                <a:gd name="T1" fmla="*/ 12 h 12"/>
                <a:gd name="T2" fmla="*/ 6 w 71"/>
                <a:gd name="T3" fmla="*/ 12 h 12"/>
                <a:gd name="T4" fmla="*/ 0 w 71"/>
                <a:gd name="T5" fmla="*/ 6 h 12"/>
                <a:gd name="T6" fmla="*/ 6 w 71"/>
                <a:gd name="T7" fmla="*/ 0 h 12"/>
                <a:gd name="T8" fmla="*/ 65 w 71"/>
                <a:gd name="T9" fmla="*/ 0 h 12"/>
                <a:gd name="T10" fmla="*/ 71 w 71"/>
                <a:gd name="T11" fmla="*/ 6 h 12"/>
                <a:gd name="T12" fmla="*/ 65 w 7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2">
                  <a:moveTo>
                    <a:pt x="6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71" y="3"/>
                    <a:pt x="71" y="6"/>
                  </a:cubicBezTo>
                  <a:cubicBezTo>
                    <a:pt x="71" y="9"/>
                    <a:pt x="69" y="12"/>
                    <a:pt x="6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Freeform 62"/>
          <p:cNvSpPr>
            <a:spLocks noEditPoints="1"/>
          </p:cNvSpPr>
          <p:nvPr/>
        </p:nvSpPr>
        <p:spPr bwMode="auto">
          <a:xfrm>
            <a:off x="13017643" y="4765297"/>
            <a:ext cx="1493231" cy="1613516"/>
          </a:xfrm>
          <a:custGeom>
            <a:avLst/>
            <a:gdLst>
              <a:gd name="T0" fmla="*/ 26 w 458"/>
              <a:gd name="T1" fmla="*/ 460 h 495"/>
              <a:gd name="T2" fmla="*/ 70 w 458"/>
              <a:gd name="T3" fmla="*/ 440 h 495"/>
              <a:gd name="T4" fmla="*/ 0 w 458"/>
              <a:gd name="T5" fmla="*/ 282 h 495"/>
              <a:gd name="T6" fmla="*/ 132 w 458"/>
              <a:gd name="T7" fmla="*/ 0 h 495"/>
              <a:gd name="T8" fmla="*/ 147 w 458"/>
              <a:gd name="T9" fmla="*/ 297 h 495"/>
              <a:gd name="T10" fmla="*/ 96 w 458"/>
              <a:gd name="T11" fmla="*/ 448 h 495"/>
              <a:gd name="T12" fmla="*/ 309 w 458"/>
              <a:gd name="T13" fmla="*/ 440 h 495"/>
              <a:gd name="T14" fmla="*/ 219 w 458"/>
              <a:gd name="T15" fmla="*/ 354 h 495"/>
              <a:gd name="T16" fmla="*/ 202 w 458"/>
              <a:gd name="T17" fmla="*/ 326 h 495"/>
              <a:gd name="T18" fmla="*/ 172 w 458"/>
              <a:gd name="T19" fmla="*/ 136 h 495"/>
              <a:gd name="T20" fmla="*/ 427 w 458"/>
              <a:gd name="T21" fmla="*/ 106 h 495"/>
              <a:gd name="T22" fmla="*/ 449 w 458"/>
              <a:gd name="T23" fmla="*/ 317 h 495"/>
              <a:gd name="T24" fmla="*/ 388 w 458"/>
              <a:gd name="T25" fmla="*/ 347 h 495"/>
              <a:gd name="T26" fmla="*/ 404 w 458"/>
              <a:gd name="T27" fmla="*/ 392 h 495"/>
              <a:gd name="T28" fmla="*/ 335 w 458"/>
              <a:gd name="T29" fmla="*/ 448 h 495"/>
              <a:gd name="T30" fmla="*/ 440 w 458"/>
              <a:gd name="T31" fmla="*/ 473 h 495"/>
              <a:gd name="T32" fmla="*/ 315 w 458"/>
              <a:gd name="T33" fmla="*/ 495 h 495"/>
              <a:gd name="T34" fmla="*/ 96 w 458"/>
              <a:gd name="T35" fmla="*/ 487 h 495"/>
              <a:gd name="T36" fmla="*/ 49 w 458"/>
              <a:gd name="T37" fmla="*/ 473 h 495"/>
              <a:gd name="T38" fmla="*/ 300 w 458"/>
              <a:gd name="T39" fmla="*/ 467 h 495"/>
              <a:gd name="T40" fmla="*/ 330 w 458"/>
              <a:gd name="T41" fmla="*/ 467 h 495"/>
              <a:gd name="T42" fmla="*/ 388 w 458"/>
              <a:gd name="T43" fmla="*/ 360 h 495"/>
              <a:gd name="T44" fmla="*/ 232 w 458"/>
              <a:gd name="T45" fmla="*/ 360 h 495"/>
              <a:gd name="T46" fmla="*/ 375 w 458"/>
              <a:gd name="T47" fmla="*/ 326 h 495"/>
              <a:gd name="T48" fmla="*/ 229 w 458"/>
              <a:gd name="T49" fmla="*/ 226 h 495"/>
              <a:gd name="T50" fmla="*/ 219 w 458"/>
              <a:gd name="T51" fmla="*/ 217 h 495"/>
              <a:gd name="T52" fmla="*/ 255 w 458"/>
              <a:gd name="T53" fmla="*/ 157 h 495"/>
              <a:gd name="T54" fmla="*/ 214 w 458"/>
              <a:gd name="T55" fmla="*/ 189 h 495"/>
              <a:gd name="T56" fmla="*/ 197 w 458"/>
              <a:gd name="T57" fmla="*/ 132 h 495"/>
              <a:gd name="T58" fmla="*/ 432 w 458"/>
              <a:gd name="T59" fmla="*/ 132 h 495"/>
              <a:gd name="T60" fmla="*/ 445 w 458"/>
              <a:gd name="T61" fmla="*/ 136 h 495"/>
              <a:gd name="T62" fmla="*/ 190 w 458"/>
              <a:gd name="T63" fmla="*/ 124 h 495"/>
              <a:gd name="T64" fmla="*/ 192 w 458"/>
              <a:gd name="T65" fmla="*/ 254 h 495"/>
              <a:gd name="T66" fmla="*/ 423 w 458"/>
              <a:gd name="T67" fmla="*/ 142 h 495"/>
              <a:gd name="T68" fmla="*/ 205 w 458"/>
              <a:gd name="T69" fmla="*/ 146 h 495"/>
              <a:gd name="T70" fmla="*/ 302 w 458"/>
              <a:gd name="T71" fmla="*/ 278 h 495"/>
              <a:gd name="T72" fmla="*/ 302 w 458"/>
              <a:gd name="T73" fmla="*/ 303 h 495"/>
              <a:gd name="T74" fmla="*/ 333 w 458"/>
              <a:gd name="T75" fmla="*/ 291 h 495"/>
              <a:gd name="T76" fmla="*/ 315 w 458"/>
              <a:gd name="T77" fmla="*/ 286 h 495"/>
              <a:gd name="T78" fmla="*/ 315 w 458"/>
              <a:gd name="T79" fmla="*/ 296 h 495"/>
              <a:gd name="T80" fmla="*/ 318 w 458"/>
              <a:gd name="T81" fmla="*/ 287 h 495"/>
              <a:gd name="T82" fmla="*/ 190 w 458"/>
              <a:gd name="T83" fmla="*/ 308 h 495"/>
              <a:gd name="T84" fmla="*/ 440 w 458"/>
              <a:gd name="T85" fmla="*/ 308 h 495"/>
              <a:gd name="T86" fmla="*/ 140 w 458"/>
              <a:gd name="T87" fmla="*/ 168 h 495"/>
              <a:gd name="T88" fmla="*/ 140 w 458"/>
              <a:gd name="T89" fmla="*/ 181 h 495"/>
              <a:gd name="T90" fmla="*/ 21 w 458"/>
              <a:gd name="T91" fmla="*/ 290 h 495"/>
              <a:gd name="T92" fmla="*/ 140 w 458"/>
              <a:gd name="T93" fmla="*/ 181 h 495"/>
              <a:gd name="T94" fmla="*/ 138 w 458"/>
              <a:gd name="T95" fmla="*/ 16 h 495"/>
              <a:gd name="T96" fmla="*/ 13 w 458"/>
              <a:gd name="T97" fmla="*/ 21 h 495"/>
              <a:gd name="T98" fmla="*/ 13 w 458"/>
              <a:gd name="T99" fmla="*/ 123 h 495"/>
              <a:gd name="T100" fmla="*/ 96 w 458"/>
              <a:gd name="T101" fmla="*/ 200 h 495"/>
              <a:gd name="T102" fmla="*/ 96 w 458"/>
              <a:gd name="T103" fmla="*/ 227 h 495"/>
              <a:gd name="T104" fmla="*/ 123 w 458"/>
              <a:gd name="T105" fmla="*/ 227 h 495"/>
              <a:gd name="T106" fmla="*/ 114 w 458"/>
              <a:gd name="T107" fmla="*/ 209 h 495"/>
              <a:gd name="T108" fmla="*/ 103 w 458"/>
              <a:gd name="T109" fmla="*/ 213 h 495"/>
              <a:gd name="T110" fmla="*/ 114 w 458"/>
              <a:gd name="T111" fmla="*/ 218 h 495"/>
              <a:gd name="T112" fmla="*/ 109 w 458"/>
              <a:gd name="T113" fmla="*/ 237 h 495"/>
              <a:gd name="T114" fmla="*/ 109 w 458"/>
              <a:gd name="T115" fmla="*/ 282 h 495"/>
              <a:gd name="T116" fmla="*/ 109 w 458"/>
              <a:gd name="T117" fmla="*/ 237 h 495"/>
              <a:gd name="T118" fmla="*/ 100 w 458"/>
              <a:gd name="T119" fmla="*/ 260 h 495"/>
              <a:gd name="T120" fmla="*/ 119 w 458"/>
              <a:gd name="T121" fmla="*/ 260 h 495"/>
              <a:gd name="T122" fmla="*/ 66 w 458"/>
              <a:gd name="T123" fmla="*/ 457 h 495"/>
              <a:gd name="T124" fmla="*/ 87 w 458"/>
              <a:gd name="T125" fmla="*/ 478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8" h="495">
                <a:moveTo>
                  <a:pt x="49" y="473"/>
                </a:moveTo>
                <a:cubicBezTo>
                  <a:pt x="26" y="473"/>
                  <a:pt x="26" y="473"/>
                  <a:pt x="26" y="473"/>
                </a:cubicBezTo>
                <a:cubicBezTo>
                  <a:pt x="23" y="473"/>
                  <a:pt x="20" y="470"/>
                  <a:pt x="20" y="466"/>
                </a:cubicBezTo>
                <a:cubicBezTo>
                  <a:pt x="20" y="462"/>
                  <a:pt x="23" y="460"/>
                  <a:pt x="26" y="460"/>
                </a:cubicBezTo>
                <a:cubicBezTo>
                  <a:pt x="50" y="460"/>
                  <a:pt x="50" y="460"/>
                  <a:pt x="50" y="460"/>
                </a:cubicBezTo>
                <a:cubicBezTo>
                  <a:pt x="51" y="455"/>
                  <a:pt x="54" y="451"/>
                  <a:pt x="57" y="448"/>
                </a:cubicBezTo>
                <a:cubicBezTo>
                  <a:pt x="57" y="448"/>
                  <a:pt x="57" y="448"/>
                  <a:pt x="57" y="448"/>
                </a:cubicBezTo>
                <a:cubicBezTo>
                  <a:pt x="61" y="444"/>
                  <a:pt x="65" y="442"/>
                  <a:pt x="70" y="440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21" y="303"/>
                  <a:pt x="21" y="303"/>
                  <a:pt x="21" y="303"/>
                </a:cubicBezTo>
                <a:cubicBezTo>
                  <a:pt x="16" y="303"/>
                  <a:pt x="10" y="301"/>
                  <a:pt x="7" y="297"/>
                </a:cubicBezTo>
                <a:cubicBezTo>
                  <a:pt x="3" y="293"/>
                  <a:pt x="0" y="288"/>
                  <a:pt x="0" y="282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3" y="10"/>
                  <a:pt x="7" y="6"/>
                </a:cubicBezTo>
                <a:cubicBezTo>
                  <a:pt x="10" y="3"/>
                  <a:pt x="16" y="0"/>
                  <a:pt x="21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8" y="0"/>
                  <a:pt x="143" y="3"/>
                  <a:pt x="147" y="6"/>
                </a:cubicBezTo>
                <a:cubicBezTo>
                  <a:pt x="151" y="10"/>
                  <a:pt x="153" y="15"/>
                  <a:pt x="153" y="21"/>
                </a:cubicBezTo>
                <a:cubicBezTo>
                  <a:pt x="153" y="282"/>
                  <a:pt x="153" y="282"/>
                  <a:pt x="153" y="282"/>
                </a:cubicBezTo>
                <a:cubicBezTo>
                  <a:pt x="153" y="288"/>
                  <a:pt x="151" y="293"/>
                  <a:pt x="147" y="297"/>
                </a:cubicBezTo>
                <a:cubicBezTo>
                  <a:pt x="143" y="301"/>
                  <a:pt x="138" y="303"/>
                  <a:pt x="132" y="303"/>
                </a:cubicBezTo>
                <a:cubicBezTo>
                  <a:pt x="83" y="303"/>
                  <a:pt x="83" y="303"/>
                  <a:pt x="83" y="303"/>
                </a:cubicBezTo>
                <a:cubicBezTo>
                  <a:pt x="83" y="440"/>
                  <a:pt x="83" y="440"/>
                  <a:pt x="83" y="440"/>
                </a:cubicBezTo>
                <a:cubicBezTo>
                  <a:pt x="88" y="442"/>
                  <a:pt x="93" y="444"/>
                  <a:pt x="96" y="448"/>
                </a:cubicBezTo>
                <a:cubicBezTo>
                  <a:pt x="100" y="451"/>
                  <a:pt x="102" y="455"/>
                  <a:pt x="103" y="460"/>
                </a:cubicBezTo>
                <a:cubicBezTo>
                  <a:pt x="289" y="460"/>
                  <a:pt x="289" y="460"/>
                  <a:pt x="289" y="460"/>
                </a:cubicBezTo>
                <a:cubicBezTo>
                  <a:pt x="290" y="455"/>
                  <a:pt x="292" y="451"/>
                  <a:pt x="296" y="448"/>
                </a:cubicBezTo>
                <a:cubicBezTo>
                  <a:pt x="299" y="444"/>
                  <a:pt x="304" y="442"/>
                  <a:pt x="309" y="440"/>
                </a:cubicBezTo>
                <a:cubicBezTo>
                  <a:pt x="309" y="392"/>
                  <a:pt x="309" y="392"/>
                  <a:pt x="309" y="392"/>
                </a:cubicBezTo>
                <a:cubicBezTo>
                  <a:pt x="226" y="392"/>
                  <a:pt x="226" y="392"/>
                  <a:pt x="226" y="392"/>
                </a:cubicBezTo>
                <a:cubicBezTo>
                  <a:pt x="222" y="392"/>
                  <a:pt x="219" y="389"/>
                  <a:pt x="219" y="385"/>
                </a:cubicBezTo>
                <a:cubicBezTo>
                  <a:pt x="219" y="354"/>
                  <a:pt x="219" y="354"/>
                  <a:pt x="219" y="354"/>
                </a:cubicBezTo>
                <a:cubicBezTo>
                  <a:pt x="219" y="350"/>
                  <a:pt x="222" y="347"/>
                  <a:pt x="226" y="347"/>
                </a:cubicBezTo>
                <a:cubicBezTo>
                  <a:pt x="242" y="347"/>
                  <a:pt x="242" y="347"/>
                  <a:pt x="242" y="347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02" y="326"/>
                  <a:pt x="202" y="326"/>
                  <a:pt x="202" y="326"/>
                </a:cubicBezTo>
                <a:cubicBezTo>
                  <a:pt x="194" y="326"/>
                  <a:pt x="186" y="323"/>
                  <a:pt x="181" y="317"/>
                </a:cubicBezTo>
                <a:cubicBezTo>
                  <a:pt x="181" y="317"/>
                  <a:pt x="181" y="317"/>
                  <a:pt x="181" y="317"/>
                </a:cubicBezTo>
                <a:cubicBezTo>
                  <a:pt x="175" y="311"/>
                  <a:pt x="172" y="304"/>
                  <a:pt x="172" y="296"/>
                </a:cubicBezTo>
                <a:cubicBezTo>
                  <a:pt x="172" y="136"/>
                  <a:pt x="172" y="136"/>
                  <a:pt x="172" y="136"/>
                </a:cubicBezTo>
                <a:cubicBezTo>
                  <a:pt x="172" y="128"/>
                  <a:pt x="175" y="120"/>
                  <a:pt x="181" y="115"/>
                </a:cubicBezTo>
                <a:cubicBezTo>
                  <a:pt x="181" y="115"/>
                  <a:pt x="181" y="115"/>
                  <a:pt x="181" y="115"/>
                </a:cubicBezTo>
                <a:cubicBezTo>
                  <a:pt x="186" y="109"/>
                  <a:pt x="194" y="106"/>
                  <a:pt x="202" y="106"/>
                </a:cubicBezTo>
                <a:cubicBezTo>
                  <a:pt x="427" y="106"/>
                  <a:pt x="427" y="106"/>
                  <a:pt x="427" y="106"/>
                </a:cubicBezTo>
                <a:cubicBezTo>
                  <a:pt x="436" y="106"/>
                  <a:pt x="443" y="109"/>
                  <a:pt x="449" y="115"/>
                </a:cubicBezTo>
                <a:cubicBezTo>
                  <a:pt x="454" y="120"/>
                  <a:pt x="458" y="128"/>
                  <a:pt x="458" y="136"/>
                </a:cubicBezTo>
                <a:cubicBezTo>
                  <a:pt x="458" y="296"/>
                  <a:pt x="458" y="296"/>
                  <a:pt x="458" y="296"/>
                </a:cubicBezTo>
                <a:cubicBezTo>
                  <a:pt x="458" y="304"/>
                  <a:pt x="454" y="311"/>
                  <a:pt x="449" y="317"/>
                </a:cubicBezTo>
                <a:cubicBezTo>
                  <a:pt x="449" y="317"/>
                  <a:pt x="449" y="317"/>
                  <a:pt x="449" y="317"/>
                </a:cubicBezTo>
                <a:cubicBezTo>
                  <a:pt x="443" y="323"/>
                  <a:pt x="436" y="326"/>
                  <a:pt x="427" y="326"/>
                </a:cubicBezTo>
                <a:cubicBezTo>
                  <a:pt x="388" y="326"/>
                  <a:pt x="388" y="326"/>
                  <a:pt x="388" y="326"/>
                </a:cubicBezTo>
                <a:cubicBezTo>
                  <a:pt x="388" y="347"/>
                  <a:pt x="388" y="347"/>
                  <a:pt x="388" y="347"/>
                </a:cubicBezTo>
                <a:cubicBezTo>
                  <a:pt x="404" y="347"/>
                  <a:pt x="404" y="347"/>
                  <a:pt x="404" y="347"/>
                </a:cubicBezTo>
                <a:cubicBezTo>
                  <a:pt x="408" y="347"/>
                  <a:pt x="411" y="350"/>
                  <a:pt x="411" y="354"/>
                </a:cubicBezTo>
                <a:cubicBezTo>
                  <a:pt x="411" y="385"/>
                  <a:pt x="411" y="385"/>
                  <a:pt x="411" y="385"/>
                </a:cubicBezTo>
                <a:cubicBezTo>
                  <a:pt x="411" y="389"/>
                  <a:pt x="408" y="392"/>
                  <a:pt x="404" y="392"/>
                </a:cubicBezTo>
                <a:cubicBezTo>
                  <a:pt x="322" y="392"/>
                  <a:pt x="322" y="392"/>
                  <a:pt x="322" y="392"/>
                </a:cubicBezTo>
                <a:cubicBezTo>
                  <a:pt x="322" y="440"/>
                  <a:pt x="322" y="440"/>
                  <a:pt x="322" y="440"/>
                </a:cubicBezTo>
                <a:cubicBezTo>
                  <a:pt x="327" y="442"/>
                  <a:pt x="331" y="444"/>
                  <a:pt x="335" y="448"/>
                </a:cubicBezTo>
                <a:cubicBezTo>
                  <a:pt x="335" y="448"/>
                  <a:pt x="335" y="448"/>
                  <a:pt x="335" y="448"/>
                </a:cubicBezTo>
                <a:cubicBezTo>
                  <a:pt x="338" y="451"/>
                  <a:pt x="341" y="455"/>
                  <a:pt x="342" y="460"/>
                </a:cubicBezTo>
                <a:cubicBezTo>
                  <a:pt x="440" y="460"/>
                  <a:pt x="440" y="460"/>
                  <a:pt x="440" y="460"/>
                </a:cubicBezTo>
                <a:cubicBezTo>
                  <a:pt x="444" y="460"/>
                  <a:pt x="447" y="462"/>
                  <a:pt x="447" y="466"/>
                </a:cubicBezTo>
                <a:cubicBezTo>
                  <a:pt x="447" y="470"/>
                  <a:pt x="444" y="473"/>
                  <a:pt x="440" y="473"/>
                </a:cubicBezTo>
                <a:cubicBezTo>
                  <a:pt x="343" y="473"/>
                  <a:pt x="343" y="473"/>
                  <a:pt x="343" y="473"/>
                </a:cubicBezTo>
                <a:cubicBezTo>
                  <a:pt x="341" y="478"/>
                  <a:pt x="339" y="483"/>
                  <a:pt x="335" y="487"/>
                </a:cubicBezTo>
                <a:cubicBezTo>
                  <a:pt x="335" y="487"/>
                  <a:pt x="335" y="487"/>
                  <a:pt x="335" y="487"/>
                </a:cubicBezTo>
                <a:cubicBezTo>
                  <a:pt x="330" y="492"/>
                  <a:pt x="323" y="495"/>
                  <a:pt x="315" y="495"/>
                </a:cubicBezTo>
                <a:cubicBezTo>
                  <a:pt x="308" y="495"/>
                  <a:pt x="301" y="492"/>
                  <a:pt x="296" y="487"/>
                </a:cubicBezTo>
                <a:cubicBezTo>
                  <a:pt x="292" y="483"/>
                  <a:pt x="289" y="478"/>
                  <a:pt x="288" y="473"/>
                </a:cubicBezTo>
                <a:cubicBezTo>
                  <a:pt x="104" y="473"/>
                  <a:pt x="104" y="473"/>
                  <a:pt x="104" y="473"/>
                </a:cubicBezTo>
                <a:cubicBezTo>
                  <a:pt x="103" y="478"/>
                  <a:pt x="100" y="483"/>
                  <a:pt x="96" y="487"/>
                </a:cubicBezTo>
                <a:cubicBezTo>
                  <a:pt x="91" y="492"/>
                  <a:pt x="84" y="495"/>
                  <a:pt x="77" y="495"/>
                </a:cubicBezTo>
                <a:cubicBezTo>
                  <a:pt x="69" y="495"/>
                  <a:pt x="62" y="492"/>
                  <a:pt x="57" y="487"/>
                </a:cubicBezTo>
                <a:cubicBezTo>
                  <a:pt x="57" y="487"/>
                  <a:pt x="57" y="487"/>
                  <a:pt x="57" y="487"/>
                </a:cubicBezTo>
                <a:cubicBezTo>
                  <a:pt x="53" y="483"/>
                  <a:pt x="50" y="478"/>
                  <a:pt x="49" y="473"/>
                </a:cubicBezTo>
                <a:close/>
                <a:moveTo>
                  <a:pt x="326" y="457"/>
                </a:moveTo>
                <a:cubicBezTo>
                  <a:pt x="323" y="454"/>
                  <a:pt x="319" y="453"/>
                  <a:pt x="315" y="453"/>
                </a:cubicBezTo>
                <a:cubicBezTo>
                  <a:pt x="311" y="453"/>
                  <a:pt x="307" y="454"/>
                  <a:pt x="305" y="457"/>
                </a:cubicBezTo>
                <a:cubicBezTo>
                  <a:pt x="302" y="460"/>
                  <a:pt x="300" y="463"/>
                  <a:pt x="300" y="467"/>
                </a:cubicBezTo>
                <a:cubicBezTo>
                  <a:pt x="300" y="471"/>
                  <a:pt x="302" y="475"/>
                  <a:pt x="305" y="478"/>
                </a:cubicBezTo>
                <a:cubicBezTo>
                  <a:pt x="307" y="480"/>
                  <a:pt x="311" y="482"/>
                  <a:pt x="315" y="482"/>
                </a:cubicBezTo>
                <a:cubicBezTo>
                  <a:pt x="319" y="482"/>
                  <a:pt x="323" y="480"/>
                  <a:pt x="326" y="478"/>
                </a:cubicBezTo>
                <a:cubicBezTo>
                  <a:pt x="328" y="475"/>
                  <a:pt x="330" y="471"/>
                  <a:pt x="330" y="467"/>
                </a:cubicBezTo>
                <a:cubicBezTo>
                  <a:pt x="330" y="463"/>
                  <a:pt x="328" y="460"/>
                  <a:pt x="326" y="457"/>
                </a:cubicBezTo>
                <a:close/>
                <a:moveTo>
                  <a:pt x="398" y="379"/>
                </a:moveTo>
                <a:cubicBezTo>
                  <a:pt x="398" y="360"/>
                  <a:pt x="398" y="360"/>
                  <a:pt x="398" y="360"/>
                </a:cubicBezTo>
                <a:cubicBezTo>
                  <a:pt x="388" y="360"/>
                  <a:pt x="388" y="360"/>
                  <a:pt x="388" y="360"/>
                </a:cubicBezTo>
                <a:cubicBezTo>
                  <a:pt x="382" y="360"/>
                  <a:pt x="382" y="360"/>
                  <a:pt x="382" y="360"/>
                </a:cubicBezTo>
                <a:cubicBezTo>
                  <a:pt x="249" y="360"/>
                  <a:pt x="249" y="360"/>
                  <a:pt x="249" y="360"/>
                </a:cubicBezTo>
                <a:cubicBezTo>
                  <a:pt x="242" y="360"/>
                  <a:pt x="242" y="360"/>
                  <a:pt x="242" y="360"/>
                </a:cubicBezTo>
                <a:cubicBezTo>
                  <a:pt x="232" y="360"/>
                  <a:pt x="232" y="360"/>
                  <a:pt x="232" y="360"/>
                </a:cubicBezTo>
                <a:cubicBezTo>
                  <a:pt x="232" y="379"/>
                  <a:pt x="232" y="379"/>
                  <a:pt x="232" y="379"/>
                </a:cubicBezTo>
                <a:cubicBezTo>
                  <a:pt x="398" y="379"/>
                  <a:pt x="398" y="379"/>
                  <a:pt x="398" y="379"/>
                </a:cubicBezTo>
                <a:close/>
                <a:moveTo>
                  <a:pt x="375" y="347"/>
                </a:moveTo>
                <a:cubicBezTo>
                  <a:pt x="375" y="326"/>
                  <a:pt x="375" y="326"/>
                  <a:pt x="375" y="326"/>
                </a:cubicBezTo>
                <a:cubicBezTo>
                  <a:pt x="255" y="326"/>
                  <a:pt x="255" y="326"/>
                  <a:pt x="255" y="326"/>
                </a:cubicBezTo>
                <a:cubicBezTo>
                  <a:pt x="255" y="347"/>
                  <a:pt x="255" y="347"/>
                  <a:pt x="255" y="347"/>
                </a:cubicBezTo>
                <a:cubicBezTo>
                  <a:pt x="375" y="347"/>
                  <a:pt x="375" y="347"/>
                  <a:pt x="375" y="347"/>
                </a:cubicBezTo>
                <a:close/>
                <a:moveTo>
                  <a:pt x="229" y="226"/>
                </a:moveTo>
                <a:cubicBezTo>
                  <a:pt x="287" y="166"/>
                  <a:pt x="287" y="166"/>
                  <a:pt x="287" y="166"/>
                </a:cubicBezTo>
                <a:cubicBezTo>
                  <a:pt x="289" y="163"/>
                  <a:pt x="289" y="159"/>
                  <a:pt x="286" y="157"/>
                </a:cubicBezTo>
                <a:cubicBezTo>
                  <a:pt x="284" y="154"/>
                  <a:pt x="280" y="154"/>
                  <a:pt x="277" y="157"/>
                </a:cubicBezTo>
                <a:cubicBezTo>
                  <a:pt x="219" y="217"/>
                  <a:pt x="219" y="217"/>
                  <a:pt x="219" y="217"/>
                </a:cubicBezTo>
                <a:cubicBezTo>
                  <a:pt x="217" y="220"/>
                  <a:pt x="217" y="224"/>
                  <a:pt x="219" y="226"/>
                </a:cubicBezTo>
                <a:cubicBezTo>
                  <a:pt x="222" y="229"/>
                  <a:pt x="226" y="229"/>
                  <a:pt x="229" y="226"/>
                </a:cubicBezTo>
                <a:close/>
                <a:moveTo>
                  <a:pt x="223" y="189"/>
                </a:moveTo>
                <a:cubicBezTo>
                  <a:pt x="255" y="157"/>
                  <a:pt x="255" y="157"/>
                  <a:pt x="255" y="157"/>
                </a:cubicBezTo>
                <a:cubicBezTo>
                  <a:pt x="258" y="155"/>
                  <a:pt x="258" y="151"/>
                  <a:pt x="255" y="148"/>
                </a:cubicBezTo>
                <a:cubicBezTo>
                  <a:pt x="253" y="145"/>
                  <a:pt x="249" y="145"/>
                  <a:pt x="246" y="148"/>
                </a:cubicBezTo>
                <a:cubicBezTo>
                  <a:pt x="214" y="180"/>
                  <a:pt x="214" y="180"/>
                  <a:pt x="214" y="180"/>
                </a:cubicBezTo>
                <a:cubicBezTo>
                  <a:pt x="212" y="182"/>
                  <a:pt x="212" y="186"/>
                  <a:pt x="214" y="189"/>
                </a:cubicBezTo>
                <a:cubicBezTo>
                  <a:pt x="217" y="191"/>
                  <a:pt x="221" y="191"/>
                  <a:pt x="223" y="189"/>
                </a:cubicBezTo>
                <a:close/>
                <a:moveTo>
                  <a:pt x="192" y="254"/>
                </a:moveTo>
                <a:cubicBezTo>
                  <a:pt x="192" y="146"/>
                  <a:pt x="192" y="146"/>
                  <a:pt x="192" y="146"/>
                </a:cubicBezTo>
                <a:cubicBezTo>
                  <a:pt x="192" y="141"/>
                  <a:pt x="194" y="136"/>
                  <a:pt x="197" y="132"/>
                </a:cubicBezTo>
                <a:cubicBezTo>
                  <a:pt x="201" y="129"/>
                  <a:pt x="206" y="127"/>
                  <a:pt x="211" y="127"/>
                </a:cubicBezTo>
                <a:cubicBezTo>
                  <a:pt x="418" y="127"/>
                  <a:pt x="418" y="127"/>
                  <a:pt x="418" y="127"/>
                </a:cubicBezTo>
                <a:cubicBezTo>
                  <a:pt x="424" y="127"/>
                  <a:pt x="428" y="129"/>
                  <a:pt x="432" y="132"/>
                </a:cubicBezTo>
                <a:cubicBezTo>
                  <a:pt x="432" y="132"/>
                  <a:pt x="432" y="132"/>
                  <a:pt x="432" y="132"/>
                </a:cubicBezTo>
                <a:cubicBezTo>
                  <a:pt x="435" y="136"/>
                  <a:pt x="438" y="141"/>
                  <a:pt x="438" y="146"/>
                </a:cubicBezTo>
                <a:cubicBezTo>
                  <a:pt x="438" y="254"/>
                  <a:pt x="438" y="254"/>
                  <a:pt x="438" y="254"/>
                </a:cubicBezTo>
                <a:cubicBezTo>
                  <a:pt x="445" y="254"/>
                  <a:pt x="445" y="254"/>
                  <a:pt x="445" y="254"/>
                </a:cubicBezTo>
                <a:cubicBezTo>
                  <a:pt x="445" y="136"/>
                  <a:pt x="445" y="136"/>
                  <a:pt x="445" y="136"/>
                </a:cubicBezTo>
                <a:cubicBezTo>
                  <a:pt x="445" y="132"/>
                  <a:pt x="443" y="127"/>
                  <a:pt x="440" y="124"/>
                </a:cubicBezTo>
                <a:cubicBezTo>
                  <a:pt x="437" y="121"/>
                  <a:pt x="432" y="119"/>
                  <a:pt x="427" y="119"/>
                </a:cubicBezTo>
                <a:cubicBezTo>
                  <a:pt x="202" y="119"/>
                  <a:pt x="202" y="119"/>
                  <a:pt x="202" y="119"/>
                </a:cubicBezTo>
                <a:cubicBezTo>
                  <a:pt x="197" y="119"/>
                  <a:pt x="193" y="121"/>
                  <a:pt x="190" y="124"/>
                </a:cubicBezTo>
                <a:cubicBezTo>
                  <a:pt x="190" y="124"/>
                  <a:pt x="190" y="124"/>
                  <a:pt x="190" y="124"/>
                </a:cubicBezTo>
                <a:cubicBezTo>
                  <a:pt x="187" y="127"/>
                  <a:pt x="185" y="132"/>
                  <a:pt x="185" y="136"/>
                </a:cubicBezTo>
                <a:cubicBezTo>
                  <a:pt x="185" y="254"/>
                  <a:pt x="185" y="254"/>
                  <a:pt x="185" y="254"/>
                </a:cubicBezTo>
                <a:cubicBezTo>
                  <a:pt x="192" y="254"/>
                  <a:pt x="192" y="254"/>
                  <a:pt x="192" y="254"/>
                </a:cubicBezTo>
                <a:close/>
                <a:moveTo>
                  <a:pt x="424" y="254"/>
                </a:moveTo>
                <a:cubicBezTo>
                  <a:pt x="424" y="146"/>
                  <a:pt x="424" y="146"/>
                  <a:pt x="424" y="146"/>
                </a:cubicBezTo>
                <a:cubicBezTo>
                  <a:pt x="424" y="144"/>
                  <a:pt x="424" y="143"/>
                  <a:pt x="423" y="142"/>
                </a:cubicBezTo>
                <a:cubicBezTo>
                  <a:pt x="423" y="142"/>
                  <a:pt x="423" y="142"/>
                  <a:pt x="423" y="142"/>
                </a:cubicBezTo>
                <a:cubicBezTo>
                  <a:pt x="422" y="140"/>
                  <a:pt x="420" y="140"/>
                  <a:pt x="418" y="140"/>
                </a:cubicBezTo>
                <a:cubicBezTo>
                  <a:pt x="211" y="140"/>
                  <a:pt x="211" y="140"/>
                  <a:pt x="211" y="140"/>
                </a:cubicBezTo>
                <a:cubicBezTo>
                  <a:pt x="209" y="140"/>
                  <a:pt x="208" y="140"/>
                  <a:pt x="207" y="142"/>
                </a:cubicBezTo>
                <a:cubicBezTo>
                  <a:pt x="206" y="143"/>
                  <a:pt x="205" y="144"/>
                  <a:pt x="205" y="146"/>
                </a:cubicBezTo>
                <a:cubicBezTo>
                  <a:pt x="205" y="254"/>
                  <a:pt x="205" y="254"/>
                  <a:pt x="205" y="254"/>
                </a:cubicBezTo>
                <a:cubicBezTo>
                  <a:pt x="424" y="254"/>
                  <a:pt x="424" y="254"/>
                  <a:pt x="424" y="254"/>
                </a:cubicBezTo>
                <a:close/>
                <a:moveTo>
                  <a:pt x="315" y="273"/>
                </a:moveTo>
                <a:cubicBezTo>
                  <a:pt x="310" y="273"/>
                  <a:pt x="305" y="275"/>
                  <a:pt x="302" y="278"/>
                </a:cubicBezTo>
                <a:cubicBezTo>
                  <a:pt x="302" y="278"/>
                  <a:pt x="302" y="278"/>
                  <a:pt x="302" y="278"/>
                </a:cubicBezTo>
                <a:cubicBezTo>
                  <a:pt x="299" y="281"/>
                  <a:pt x="297" y="286"/>
                  <a:pt x="297" y="291"/>
                </a:cubicBezTo>
                <a:cubicBezTo>
                  <a:pt x="297" y="296"/>
                  <a:pt x="299" y="300"/>
                  <a:pt x="302" y="303"/>
                </a:cubicBezTo>
                <a:cubicBezTo>
                  <a:pt x="302" y="303"/>
                  <a:pt x="302" y="303"/>
                  <a:pt x="302" y="303"/>
                </a:cubicBezTo>
                <a:cubicBezTo>
                  <a:pt x="305" y="307"/>
                  <a:pt x="310" y="309"/>
                  <a:pt x="315" y="309"/>
                </a:cubicBezTo>
                <a:cubicBezTo>
                  <a:pt x="320" y="309"/>
                  <a:pt x="324" y="307"/>
                  <a:pt x="327" y="303"/>
                </a:cubicBezTo>
                <a:cubicBezTo>
                  <a:pt x="327" y="303"/>
                  <a:pt x="327" y="303"/>
                  <a:pt x="327" y="303"/>
                </a:cubicBezTo>
                <a:cubicBezTo>
                  <a:pt x="331" y="300"/>
                  <a:pt x="333" y="296"/>
                  <a:pt x="333" y="291"/>
                </a:cubicBezTo>
                <a:cubicBezTo>
                  <a:pt x="333" y="286"/>
                  <a:pt x="331" y="281"/>
                  <a:pt x="327" y="278"/>
                </a:cubicBezTo>
                <a:cubicBezTo>
                  <a:pt x="324" y="275"/>
                  <a:pt x="320" y="273"/>
                  <a:pt x="315" y="273"/>
                </a:cubicBezTo>
                <a:close/>
                <a:moveTo>
                  <a:pt x="318" y="287"/>
                </a:moveTo>
                <a:cubicBezTo>
                  <a:pt x="317" y="287"/>
                  <a:pt x="316" y="286"/>
                  <a:pt x="315" y="286"/>
                </a:cubicBezTo>
                <a:cubicBezTo>
                  <a:pt x="313" y="286"/>
                  <a:pt x="312" y="287"/>
                  <a:pt x="311" y="287"/>
                </a:cubicBezTo>
                <a:cubicBezTo>
                  <a:pt x="311" y="288"/>
                  <a:pt x="310" y="289"/>
                  <a:pt x="310" y="291"/>
                </a:cubicBezTo>
                <a:cubicBezTo>
                  <a:pt x="310" y="292"/>
                  <a:pt x="311" y="293"/>
                  <a:pt x="311" y="294"/>
                </a:cubicBezTo>
                <a:cubicBezTo>
                  <a:pt x="312" y="295"/>
                  <a:pt x="313" y="296"/>
                  <a:pt x="315" y="296"/>
                </a:cubicBezTo>
                <a:cubicBezTo>
                  <a:pt x="316" y="296"/>
                  <a:pt x="317" y="295"/>
                  <a:pt x="318" y="294"/>
                </a:cubicBezTo>
                <a:cubicBezTo>
                  <a:pt x="318" y="294"/>
                  <a:pt x="318" y="294"/>
                  <a:pt x="318" y="294"/>
                </a:cubicBezTo>
                <a:cubicBezTo>
                  <a:pt x="319" y="293"/>
                  <a:pt x="319" y="292"/>
                  <a:pt x="319" y="291"/>
                </a:cubicBezTo>
                <a:cubicBezTo>
                  <a:pt x="319" y="289"/>
                  <a:pt x="319" y="288"/>
                  <a:pt x="318" y="287"/>
                </a:cubicBezTo>
                <a:close/>
                <a:moveTo>
                  <a:pt x="445" y="267"/>
                </a:moveTo>
                <a:cubicBezTo>
                  <a:pt x="185" y="267"/>
                  <a:pt x="185" y="267"/>
                  <a:pt x="185" y="267"/>
                </a:cubicBezTo>
                <a:cubicBezTo>
                  <a:pt x="185" y="296"/>
                  <a:pt x="185" y="296"/>
                  <a:pt x="185" y="296"/>
                </a:cubicBezTo>
                <a:cubicBezTo>
                  <a:pt x="185" y="300"/>
                  <a:pt x="187" y="305"/>
                  <a:pt x="190" y="308"/>
                </a:cubicBezTo>
                <a:cubicBezTo>
                  <a:pt x="193" y="311"/>
                  <a:pt x="197" y="313"/>
                  <a:pt x="202" y="313"/>
                </a:cubicBezTo>
                <a:cubicBezTo>
                  <a:pt x="427" y="313"/>
                  <a:pt x="427" y="313"/>
                  <a:pt x="427" y="313"/>
                </a:cubicBezTo>
                <a:cubicBezTo>
                  <a:pt x="432" y="313"/>
                  <a:pt x="437" y="311"/>
                  <a:pt x="440" y="308"/>
                </a:cubicBezTo>
                <a:cubicBezTo>
                  <a:pt x="440" y="308"/>
                  <a:pt x="440" y="308"/>
                  <a:pt x="440" y="308"/>
                </a:cubicBezTo>
                <a:cubicBezTo>
                  <a:pt x="443" y="305"/>
                  <a:pt x="445" y="300"/>
                  <a:pt x="445" y="296"/>
                </a:cubicBezTo>
                <a:cubicBezTo>
                  <a:pt x="445" y="267"/>
                  <a:pt x="445" y="267"/>
                  <a:pt x="445" y="267"/>
                </a:cubicBezTo>
                <a:close/>
                <a:moveTo>
                  <a:pt x="13" y="168"/>
                </a:moveTo>
                <a:cubicBezTo>
                  <a:pt x="140" y="168"/>
                  <a:pt x="140" y="168"/>
                  <a:pt x="140" y="168"/>
                </a:cubicBezTo>
                <a:cubicBezTo>
                  <a:pt x="140" y="136"/>
                  <a:pt x="140" y="136"/>
                  <a:pt x="140" y="136"/>
                </a:cubicBezTo>
                <a:cubicBezTo>
                  <a:pt x="13" y="136"/>
                  <a:pt x="13" y="136"/>
                  <a:pt x="13" y="136"/>
                </a:cubicBezTo>
                <a:cubicBezTo>
                  <a:pt x="13" y="168"/>
                  <a:pt x="13" y="168"/>
                  <a:pt x="13" y="168"/>
                </a:cubicBezTo>
                <a:close/>
                <a:moveTo>
                  <a:pt x="140" y="181"/>
                </a:moveTo>
                <a:cubicBezTo>
                  <a:pt x="13" y="181"/>
                  <a:pt x="13" y="181"/>
                  <a:pt x="13" y="181"/>
                </a:cubicBezTo>
                <a:cubicBezTo>
                  <a:pt x="13" y="282"/>
                  <a:pt x="13" y="282"/>
                  <a:pt x="13" y="282"/>
                </a:cubicBezTo>
                <a:cubicBezTo>
                  <a:pt x="13" y="284"/>
                  <a:pt x="14" y="286"/>
                  <a:pt x="16" y="288"/>
                </a:cubicBezTo>
                <a:cubicBezTo>
                  <a:pt x="17" y="289"/>
                  <a:pt x="19" y="290"/>
                  <a:pt x="21" y="290"/>
                </a:cubicBezTo>
                <a:cubicBezTo>
                  <a:pt x="132" y="290"/>
                  <a:pt x="132" y="290"/>
                  <a:pt x="132" y="290"/>
                </a:cubicBezTo>
                <a:cubicBezTo>
                  <a:pt x="134" y="290"/>
                  <a:pt x="136" y="289"/>
                  <a:pt x="138" y="288"/>
                </a:cubicBezTo>
                <a:cubicBezTo>
                  <a:pt x="139" y="286"/>
                  <a:pt x="140" y="284"/>
                  <a:pt x="140" y="282"/>
                </a:cubicBezTo>
                <a:cubicBezTo>
                  <a:pt x="140" y="181"/>
                  <a:pt x="140" y="181"/>
                  <a:pt x="140" y="181"/>
                </a:cubicBezTo>
                <a:close/>
                <a:moveTo>
                  <a:pt x="13" y="78"/>
                </a:moveTo>
                <a:cubicBezTo>
                  <a:pt x="140" y="78"/>
                  <a:pt x="140" y="78"/>
                  <a:pt x="140" y="78"/>
                </a:cubicBezTo>
                <a:cubicBezTo>
                  <a:pt x="140" y="21"/>
                  <a:pt x="140" y="21"/>
                  <a:pt x="140" y="21"/>
                </a:cubicBezTo>
                <a:cubicBezTo>
                  <a:pt x="140" y="19"/>
                  <a:pt x="139" y="17"/>
                  <a:pt x="138" y="16"/>
                </a:cubicBezTo>
                <a:cubicBezTo>
                  <a:pt x="136" y="14"/>
                  <a:pt x="134" y="13"/>
                  <a:pt x="132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19" y="13"/>
                  <a:pt x="17" y="14"/>
                  <a:pt x="16" y="16"/>
                </a:cubicBezTo>
                <a:cubicBezTo>
                  <a:pt x="14" y="17"/>
                  <a:pt x="13" y="19"/>
                  <a:pt x="13" y="21"/>
                </a:cubicBezTo>
                <a:cubicBezTo>
                  <a:pt x="13" y="78"/>
                  <a:pt x="13" y="78"/>
                  <a:pt x="13" y="78"/>
                </a:cubicBezTo>
                <a:close/>
                <a:moveTo>
                  <a:pt x="140" y="91"/>
                </a:moveTo>
                <a:cubicBezTo>
                  <a:pt x="13" y="91"/>
                  <a:pt x="13" y="91"/>
                  <a:pt x="13" y="91"/>
                </a:cubicBezTo>
                <a:cubicBezTo>
                  <a:pt x="13" y="123"/>
                  <a:pt x="13" y="123"/>
                  <a:pt x="13" y="123"/>
                </a:cubicBezTo>
                <a:cubicBezTo>
                  <a:pt x="140" y="123"/>
                  <a:pt x="140" y="123"/>
                  <a:pt x="140" y="123"/>
                </a:cubicBezTo>
                <a:cubicBezTo>
                  <a:pt x="140" y="91"/>
                  <a:pt x="140" y="91"/>
                  <a:pt x="140" y="91"/>
                </a:cubicBezTo>
                <a:close/>
                <a:moveTo>
                  <a:pt x="109" y="194"/>
                </a:moveTo>
                <a:cubicBezTo>
                  <a:pt x="104" y="194"/>
                  <a:pt x="99" y="196"/>
                  <a:pt x="96" y="200"/>
                </a:cubicBezTo>
                <a:cubicBezTo>
                  <a:pt x="96" y="200"/>
                  <a:pt x="96" y="200"/>
                  <a:pt x="96" y="200"/>
                </a:cubicBezTo>
                <a:cubicBezTo>
                  <a:pt x="92" y="203"/>
                  <a:pt x="90" y="208"/>
                  <a:pt x="90" y="213"/>
                </a:cubicBezTo>
                <a:cubicBezTo>
                  <a:pt x="90" y="219"/>
                  <a:pt x="92" y="223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6" y="227"/>
                  <a:pt x="96" y="227"/>
                  <a:pt x="96" y="227"/>
                </a:cubicBezTo>
                <a:cubicBezTo>
                  <a:pt x="99" y="231"/>
                  <a:pt x="104" y="233"/>
                  <a:pt x="109" y="233"/>
                </a:cubicBezTo>
                <a:cubicBezTo>
                  <a:pt x="115" y="233"/>
                  <a:pt x="120" y="231"/>
                  <a:pt x="123" y="227"/>
                </a:cubicBezTo>
                <a:cubicBezTo>
                  <a:pt x="123" y="227"/>
                  <a:pt x="123" y="227"/>
                  <a:pt x="123" y="227"/>
                </a:cubicBezTo>
                <a:cubicBezTo>
                  <a:pt x="127" y="224"/>
                  <a:pt x="129" y="219"/>
                  <a:pt x="129" y="213"/>
                </a:cubicBezTo>
                <a:cubicBezTo>
                  <a:pt x="129" y="208"/>
                  <a:pt x="127" y="203"/>
                  <a:pt x="123" y="200"/>
                </a:cubicBezTo>
                <a:cubicBezTo>
                  <a:pt x="120" y="196"/>
                  <a:pt x="115" y="194"/>
                  <a:pt x="109" y="194"/>
                </a:cubicBezTo>
                <a:close/>
                <a:moveTo>
                  <a:pt x="114" y="209"/>
                </a:moveTo>
                <a:cubicBezTo>
                  <a:pt x="113" y="208"/>
                  <a:pt x="111" y="207"/>
                  <a:pt x="109" y="207"/>
                </a:cubicBezTo>
                <a:cubicBezTo>
                  <a:pt x="108" y="207"/>
                  <a:pt x="106" y="208"/>
                  <a:pt x="105" y="209"/>
                </a:cubicBezTo>
                <a:cubicBezTo>
                  <a:pt x="105" y="209"/>
                  <a:pt x="105" y="209"/>
                  <a:pt x="105" y="209"/>
                </a:cubicBezTo>
                <a:cubicBezTo>
                  <a:pt x="104" y="210"/>
                  <a:pt x="103" y="212"/>
                  <a:pt x="103" y="213"/>
                </a:cubicBezTo>
                <a:cubicBezTo>
                  <a:pt x="103" y="215"/>
                  <a:pt x="104" y="217"/>
                  <a:pt x="105" y="218"/>
                </a:cubicBezTo>
                <a:cubicBezTo>
                  <a:pt x="105" y="218"/>
                  <a:pt x="105" y="218"/>
                  <a:pt x="105" y="218"/>
                </a:cubicBezTo>
                <a:cubicBezTo>
                  <a:pt x="106" y="219"/>
                  <a:pt x="108" y="220"/>
                  <a:pt x="109" y="220"/>
                </a:cubicBezTo>
                <a:cubicBezTo>
                  <a:pt x="111" y="220"/>
                  <a:pt x="113" y="219"/>
                  <a:pt x="114" y="218"/>
                </a:cubicBezTo>
                <a:cubicBezTo>
                  <a:pt x="114" y="218"/>
                  <a:pt x="114" y="218"/>
                  <a:pt x="114" y="218"/>
                </a:cubicBezTo>
                <a:cubicBezTo>
                  <a:pt x="115" y="217"/>
                  <a:pt x="116" y="215"/>
                  <a:pt x="116" y="213"/>
                </a:cubicBezTo>
                <a:cubicBezTo>
                  <a:pt x="116" y="212"/>
                  <a:pt x="115" y="210"/>
                  <a:pt x="114" y="209"/>
                </a:cubicBezTo>
                <a:close/>
                <a:moveTo>
                  <a:pt x="109" y="237"/>
                </a:moveTo>
                <a:cubicBezTo>
                  <a:pt x="103" y="237"/>
                  <a:pt x="98" y="240"/>
                  <a:pt x="94" y="244"/>
                </a:cubicBezTo>
                <a:cubicBezTo>
                  <a:pt x="90" y="248"/>
                  <a:pt x="87" y="254"/>
                  <a:pt x="87" y="260"/>
                </a:cubicBezTo>
                <a:cubicBezTo>
                  <a:pt x="87" y="266"/>
                  <a:pt x="90" y="272"/>
                  <a:pt x="94" y="276"/>
                </a:cubicBezTo>
                <a:cubicBezTo>
                  <a:pt x="98" y="280"/>
                  <a:pt x="103" y="282"/>
                  <a:pt x="109" y="282"/>
                </a:cubicBezTo>
                <a:cubicBezTo>
                  <a:pt x="116" y="282"/>
                  <a:pt x="121" y="280"/>
                  <a:pt x="125" y="276"/>
                </a:cubicBezTo>
                <a:cubicBezTo>
                  <a:pt x="129" y="272"/>
                  <a:pt x="132" y="266"/>
                  <a:pt x="132" y="260"/>
                </a:cubicBezTo>
                <a:cubicBezTo>
                  <a:pt x="132" y="254"/>
                  <a:pt x="129" y="248"/>
                  <a:pt x="125" y="244"/>
                </a:cubicBezTo>
                <a:cubicBezTo>
                  <a:pt x="121" y="240"/>
                  <a:pt x="116" y="237"/>
                  <a:pt x="109" y="237"/>
                </a:cubicBezTo>
                <a:close/>
                <a:moveTo>
                  <a:pt x="116" y="253"/>
                </a:moveTo>
                <a:cubicBezTo>
                  <a:pt x="114" y="252"/>
                  <a:pt x="112" y="251"/>
                  <a:pt x="109" y="251"/>
                </a:cubicBezTo>
                <a:cubicBezTo>
                  <a:pt x="107" y="251"/>
                  <a:pt x="105" y="252"/>
                  <a:pt x="103" y="253"/>
                </a:cubicBezTo>
                <a:cubicBezTo>
                  <a:pt x="101" y="255"/>
                  <a:pt x="100" y="257"/>
                  <a:pt x="100" y="260"/>
                </a:cubicBezTo>
                <a:cubicBezTo>
                  <a:pt x="100" y="262"/>
                  <a:pt x="101" y="265"/>
                  <a:pt x="103" y="267"/>
                </a:cubicBezTo>
                <a:cubicBezTo>
                  <a:pt x="105" y="268"/>
                  <a:pt x="107" y="269"/>
                  <a:pt x="109" y="269"/>
                </a:cubicBezTo>
                <a:cubicBezTo>
                  <a:pt x="112" y="269"/>
                  <a:pt x="114" y="268"/>
                  <a:pt x="116" y="267"/>
                </a:cubicBezTo>
                <a:cubicBezTo>
                  <a:pt x="118" y="265"/>
                  <a:pt x="119" y="262"/>
                  <a:pt x="119" y="260"/>
                </a:cubicBezTo>
                <a:cubicBezTo>
                  <a:pt x="119" y="257"/>
                  <a:pt x="118" y="255"/>
                  <a:pt x="116" y="253"/>
                </a:cubicBezTo>
                <a:close/>
                <a:moveTo>
                  <a:pt x="87" y="457"/>
                </a:moveTo>
                <a:cubicBezTo>
                  <a:pt x="84" y="454"/>
                  <a:pt x="81" y="453"/>
                  <a:pt x="77" y="453"/>
                </a:cubicBezTo>
                <a:cubicBezTo>
                  <a:pt x="73" y="453"/>
                  <a:pt x="69" y="454"/>
                  <a:pt x="66" y="457"/>
                </a:cubicBezTo>
                <a:cubicBezTo>
                  <a:pt x="64" y="460"/>
                  <a:pt x="62" y="463"/>
                  <a:pt x="62" y="467"/>
                </a:cubicBezTo>
                <a:cubicBezTo>
                  <a:pt x="62" y="471"/>
                  <a:pt x="64" y="475"/>
                  <a:pt x="66" y="478"/>
                </a:cubicBezTo>
                <a:cubicBezTo>
                  <a:pt x="69" y="480"/>
                  <a:pt x="73" y="482"/>
                  <a:pt x="77" y="482"/>
                </a:cubicBezTo>
                <a:cubicBezTo>
                  <a:pt x="81" y="482"/>
                  <a:pt x="84" y="480"/>
                  <a:pt x="87" y="478"/>
                </a:cubicBezTo>
                <a:cubicBezTo>
                  <a:pt x="90" y="475"/>
                  <a:pt x="91" y="471"/>
                  <a:pt x="91" y="467"/>
                </a:cubicBezTo>
                <a:cubicBezTo>
                  <a:pt x="91" y="463"/>
                  <a:pt x="90" y="460"/>
                  <a:pt x="87" y="457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Freeform 66"/>
          <p:cNvSpPr>
            <a:spLocks noEditPoints="1"/>
          </p:cNvSpPr>
          <p:nvPr/>
        </p:nvSpPr>
        <p:spPr bwMode="auto">
          <a:xfrm>
            <a:off x="3801033" y="12058134"/>
            <a:ext cx="1836460" cy="1965618"/>
          </a:xfrm>
          <a:custGeom>
            <a:avLst/>
            <a:gdLst>
              <a:gd name="T0" fmla="*/ 63 w 338"/>
              <a:gd name="T1" fmla="*/ 30 h 362"/>
              <a:gd name="T2" fmla="*/ 63 w 338"/>
              <a:gd name="T3" fmla="*/ 5 h 362"/>
              <a:gd name="T4" fmla="*/ 164 w 338"/>
              <a:gd name="T5" fmla="*/ 34 h 362"/>
              <a:gd name="T6" fmla="*/ 181 w 338"/>
              <a:gd name="T7" fmla="*/ 30 h 362"/>
              <a:gd name="T8" fmla="*/ 244 w 338"/>
              <a:gd name="T9" fmla="*/ 11 h 362"/>
              <a:gd name="T10" fmla="*/ 301 w 338"/>
              <a:gd name="T11" fmla="*/ 30 h 362"/>
              <a:gd name="T12" fmla="*/ 233 w 338"/>
              <a:gd name="T13" fmla="*/ 86 h 362"/>
              <a:gd name="T14" fmla="*/ 333 w 338"/>
              <a:gd name="T15" fmla="*/ 136 h 362"/>
              <a:gd name="T16" fmla="*/ 303 w 338"/>
              <a:gd name="T17" fmla="*/ 179 h 362"/>
              <a:gd name="T18" fmla="*/ 303 w 338"/>
              <a:gd name="T19" fmla="*/ 188 h 362"/>
              <a:gd name="T20" fmla="*/ 333 w 338"/>
              <a:gd name="T21" fmla="*/ 231 h 362"/>
              <a:gd name="T22" fmla="*/ 256 w 338"/>
              <a:gd name="T23" fmla="*/ 270 h 362"/>
              <a:gd name="T24" fmla="*/ 229 w 338"/>
              <a:gd name="T25" fmla="*/ 362 h 362"/>
              <a:gd name="T26" fmla="*/ 174 w 338"/>
              <a:gd name="T27" fmla="*/ 328 h 362"/>
              <a:gd name="T28" fmla="*/ 156 w 338"/>
              <a:gd name="T29" fmla="*/ 333 h 362"/>
              <a:gd name="T30" fmla="*/ 127 w 338"/>
              <a:gd name="T31" fmla="*/ 345 h 362"/>
              <a:gd name="T32" fmla="*/ 104 w 338"/>
              <a:gd name="T33" fmla="*/ 328 h 362"/>
              <a:gd name="T34" fmla="*/ 17 w 338"/>
              <a:gd name="T35" fmla="*/ 261 h 362"/>
              <a:gd name="T36" fmla="*/ 34 w 338"/>
              <a:gd name="T37" fmla="*/ 238 h 362"/>
              <a:gd name="T38" fmla="*/ 0 w 338"/>
              <a:gd name="T39" fmla="*/ 183 h 362"/>
              <a:gd name="T40" fmla="*/ 34 w 338"/>
              <a:gd name="T41" fmla="*/ 129 h 362"/>
              <a:gd name="T42" fmla="*/ 30 w 338"/>
              <a:gd name="T43" fmla="*/ 111 h 362"/>
              <a:gd name="T44" fmla="*/ 12 w 338"/>
              <a:gd name="T45" fmla="*/ 129 h 362"/>
              <a:gd name="T46" fmla="*/ 12 w 338"/>
              <a:gd name="T47" fmla="*/ 118 h 362"/>
              <a:gd name="T48" fmla="*/ 23 w 338"/>
              <a:gd name="T49" fmla="*/ 238 h 362"/>
              <a:gd name="T50" fmla="*/ 17 w 338"/>
              <a:gd name="T51" fmla="*/ 191 h 362"/>
              <a:gd name="T52" fmla="*/ 229 w 338"/>
              <a:gd name="T53" fmla="*/ 352 h 362"/>
              <a:gd name="T54" fmla="*/ 223 w 338"/>
              <a:gd name="T55" fmla="*/ 340 h 362"/>
              <a:gd name="T56" fmla="*/ 114 w 338"/>
              <a:gd name="T57" fmla="*/ 340 h 362"/>
              <a:gd name="T58" fmla="*/ 169 w 338"/>
              <a:gd name="T59" fmla="*/ 352 h 362"/>
              <a:gd name="T60" fmla="*/ 161 w 338"/>
              <a:gd name="T61" fmla="*/ 345 h 362"/>
              <a:gd name="T62" fmla="*/ 315 w 338"/>
              <a:gd name="T63" fmla="*/ 129 h 362"/>
              <a:gd name="T64" fmla="*/ 326 w 338"/>
              <a:gd name="T65" fmla="*/ 238 h 362"/>
              <a:gd name="T66" fmla="*/ 328 w 338"/>
              <a:gd name="T67" fmla="*/ 243 h 362"/>
              <a:gd name="T68" fmla="*/ 326 w 338"/>
              <a:gd name="T69" fmla="*/ 189 h 362"/>
              <a:gd name="T70" fmla="*/ 169 w 338"/>
              <a:gd name="T71" fmla="*/ 25 h 362"/>
              <a:gd name="T72" fmla="*/ 281 w 338"/>
              <a:gd name="T73" fmla="*/ 17 h 362"/>
              <a:gd name="T74" fmla="*/ 226 w 338"/>
              <a:gd name="T75" fmla="*/ 197 h 362"/>
              <a:gd name="T76" fmla="*/ 217 w 338"/>
              <a:gd name="T77" fmla="*/ 126 h 362"/>
              <a:gd name="T78" fmla="*/ 217 w 338"/>
              <a:gd name="T79" fmla="*/ 240 h 362"/>
              <a:gd name="T80" fmla="*/ 254 w 338"/>
              <a:gd name="T81" fmla="*/ 175 h 362"/>
              <a:gd name="T82" fmla="*/ 217 w 338"/>
              <a:gd name="T83" fmla="*/ 250 h 362"/>
              <a:gd name="T84" fmla="*/ 82 w 338"/>
              <a:gd name="T85" fmla="*/ 246 h 362"/>
              <a:gd name="T86" fmla="*/ 256 w 338"/>
              <a:gd name="T87" fmla="*/ 200 h 362"/>
              <a:gd name="T88" fmla="*/ 89 w 338"/>
              <a:gd name="T89" fmla="*/ 103 h 362"/>
              <a:gd name="T90" fmla="*/ 230 w 338"/>
              <a:gd name="T91" fmla="*/ 121 h 362"/>
              <a:gd name="T92" fmla="*/ 82 w 338"/>
              <a:gd name="T93" fmla="*/ 191 h 362"/>
              <a:gd name="T94" fmla="*/ 181 w 338"/>
              <a:gd name="T95" fmla="*/ 231 h 362"/>
              <a:gd name="T96" fmla="*/ 129 w 338"/>
              <a:gd name="T97" fmla="*/ 211 h 362"/>
              <a:gd name="T98" fmla="*/ 217 w 338"/>
              <a:gd name="T99" fmla="*/ 196 h 362"/>
              <a:gd name="T100" fmla="*/ 145 w 338"/>
              <a:gd name="T101" fmla="*/ 196 h 362"/>
              <a:gd name="T102" fmla="*/ 129 w 338"/>
              <a:gd name="T103" fmla="*/ 186 h 362"/>
              <a:gd name="T104" fmla="*/ 181 w 338"/>
              <a:gd name="T105" fmla="*/ 181 h 362"/>
              <a:gd name="T106" fmla="*/ 129 w 338"/>
              <a:gd name="T107" fmla="*/ 160 h 362"/>
              <a:gd name="T108" fmla="*/ 217 w 338"/>
              <a:gd name="T109" fmla="*/ 145 h 362"/>
              <a:gd name="T110" fmla="*/ 145 w 338"/>
              <a:gd name="T111" fmla="*/ 145 h 362"/>
              <a:gd name="T112" fmla="*/ 129 w 338"/>
              <a:gd name="T113" fmla="*/ 135 h 362"/>
              <a:gd name="T114" fmla="*/ 50 w 338"/>
              <a:gd name="T115" fmla="*/ 25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8" h="362">
                <a:moveTo>
                  <a:pt x="105" y="86"/>
                </a:moveTo>
                <a:cubicBezTo>
                  <a:pt x="109" y="86"/>
                  <a:pt x="109" y="86"/>
                  <a:pt x="109" y="8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09" y="31"/>
                  <a:pt x="107" y="28"/>
                  <a:pt x="105" y="25"/>
                </a:cubicBezTo>
                <a:cubicBezTo>
                  <a:pt x="103" y="23"/>
                  <a:pt x="99" y="21"/>
                  <a:pt x="95" y="21"/>
                </a:cubicBezTo>
                <a:cubicBezTo>
                  <a:pt x="67" y="21"/>
                  <a:pt x="67" y="21"/>
                  <a:pt x="67" y="21"/>
                </a:cubicBezTo>
                <a:cubicBezTo>
                  <a:pt x="67" y="25"/>
                  <a:pt x="65" y="27"/>
                  <a:pt x="63" y="30"/>
                </a:cubicBezTo>
                <a:cubicBezTo>
                  <a:pt x="63" y="30"/>
                  <a:pt x="63" y="30"/>
                  <a:pt x="63" y="30"/>
                </a:cubicBezTo>
                <a:cubicBezTo>
                  <a:pt x="59" y="33"/>
                  <a:pt x="55" y="35"/>
                  <a:pt x="50" y="35"/>
                </a:cubicBezTo>
                <a:cubicBezTo>
                  <a:pt x="45" y="35"/>
                  <a:pt x="41" y="33"/>
                  <a:pt x="38" y="30"/>
                </a:cubicBezTo>
                <a:cubicBezTo>
                  <a:pt x="38" y="30"/>
                  <a:pt x="38" y="30"/>
                  <a:pt x="38" y="30"/>
                </a:cubicBezTo>
                <a:cubicBezTo>
                  <a:pt x="35" y="27"/>
                  <a:pt x="33" y="22"/>
                  <a:pt x="33" y="17"/>
                </a:cubicBezTo>
                <a:cubicBezTo>
                  <a:pt x="33" y="13"/>
                  <a:pt x="35" y="8"/>
                  <a:pt x="38" y="5"/>
                </a:cubicBezTo>
                <a:cubicBezTo>
                  <a:pt x="38" y="5"/>
                  <a:pt x="38" y="5"/>
                  <a:pt x="38" y="5"/>
                </a:cubicBezTo>
                <a:cubicBezTo>
                  <a:pt x="41" y="2"/>
                  <a:pt x="45" y="0"/>
                  <a:pt x="50" y="0"/>
                </a:cubicBezTo>
                <a:cubicBezTo>
                  <a:pt x="55" y="0"/>
                  <a:pt x="59" y="2"/>
                  <a:pt x="63" y="5"/>
                </a:cubicBezTo>
                <a:cubicBezTo>
                  <a:pt x="64" y="7"/>
                  <a:pt x="66" y="9"/>
                  <a:pt x="67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102" y="11"/>
                  <a:pt x="108" y="14"/>
                  <a:pt x="112" y="18"/>
                </a:cubicBezTo>
                <a:cubicBezTo>
                  <a:pt x="112" y="18"/>
                  <a:pt x="112" y="18"/>
                  <a:pt x="112" y="18"/>
                </a:cubicBezTo>
                <a:cubicBezTo>
                  <a:pt x="116" y="23"/>
                  <a:pt x="119" y="28"/>
                  <a:pt x="119" y="35"/>
                </a:cubicBezTo>
                <a:cubicBezTo>
                  <a:pt x="119" y="86"/>
                  <a:pt x="119" y="86"/>
                  <a:pt x="119" y="86"/>
                </a:cubicBezTo>
                <a:cubicBezTo>
                  <a:pt x="164" y="86"/>
                  <a:pt x="164" y="86"/>
                  <a:pt x="164" y="86"/>
                </a:cubicBezTo>
                <a:cubicBezTo>
                  <a:pt x="164" y="34"/>
                  <a:pt x="164" y="34"/>
                  <a:pt x="164" y="34"/>
                </a:cubicBezTo>
                <a:cubicBezTo>
                  <a:pt x="161" y="33"/>
                  <a:pt x="158" y="32"/>
                  <a:pt x="156" y="30"/>
                </a:cubicBezTo>
                <a:cubicBezTo>
                  <a:pt x="156" y="30"/>
                  <a:pt x="156" y="30"/>
                  <a:pt x="156" y="30"/>
                </a:cubicBezTo>
                <a:cubicBezTo>
                  <a:pt x="153" y="27"/>
                  <a:pt x="151" y="22"/>
                  <a:pt x="151" y="17"/>
                </a:cubicBezTo>
                <a:cubicBezTo>
                  <a:pt x="151" y="13"/>
                  <a:pt x="153" y="8"/>
                  <a:pt x="156" y="5"/>
                </a:cubicBezTo>
                <a:cubicBezTo>
                  <a:pt x="160" y="2"/>
                  <a:pt x="164" y="0"/>
                  <a:pt x="169" y="0"/>
                </a:cubicBezTo>
                <a:cubicBezTo>
                  <a:pt x="174" y="0"/>
                  <a:pt x="178" y="2"/>
                  <a:pt x="181" y="5"/>
                </a:cubicBezTo>
                <a:cubicBezTo>
                  <a:pt x="184" y="8"/>
                  <a:pt x="186" y="13"/>
                  <a:pt x="186" y="17"/>
                </a:cubicBezTo>
                <a:cubicBezTo>
                  <a:pt x="186" y="22"/>
                  <a:pt x="184" y="27"/>
                  <a:pt x="181" y="30"/>
                </a:cubicBezTo>
                <a:cubicBezTo>
                  <a:pt x="181" y="30"/>
                  <a:pt x="181" y="30"/>
                  <a:pt x="181" y="30"/>
                </a:cubicBezTo>
                <a:cubicBezTo>
                  <a:pt x="179" y="32"/>
                  <a:pt x="177" y="33"/>
                  <a:pt x="174" y="34"/>
                </a:cubicBezTo>
                <a:cubicBezTo>
                  <a:pt x="174" y="86"/>
                  <a:pt x="174" y="86"/>
                  <a:pt x="174" y="86"/>
                </a:cubicBezTo>
                <a:cubicBezTo>
                  <a:pt x="220" y="86"/>
                  <a:pt x="220" y="86"/>
                  <a:pt x="220" y="86"/>
                </a:cubicBezTo>
                <a:cubicBezTo>
                  <a:pt x="220" y="35"/>
                  <a:pt x="220" y="35"/>
                  <a:pt x="220" y="35"/>
                </a:cubicBezTo>
                <a:cubicBezTo>
                  <a:pt x="220" y="28"/>
                  <a:pt x="223" y="23"/>
                  <a:pt x="227" y="18"/>
                </a:cubicBezTo>
                <a:cubicBezTo>
                  <a:pt x="227" y="18"/>
                  <a:pt x="227" y="18"/>
                  <a:pt x="227" y="18"/>
                </a:cubicBezTo>
                <a:cubicBezTo>
                  <a:pt x="231" y="14"/>
                  <a:pt x="237" y="11"/>
                  <a:pt x="244" y="11"/>
                </a:cubicBezTo>
                <a:cubicBezTo>
                  <a:pt x="272" y="11"/>
                  <a:pt x="272" y="11"/>
                  <a:pt x="272" y="11"/>
                </a:cubicBezTo>
                <a:cubicBezTo>
                  <a:pt x="273" y="9"/>
                  <a:pt x="275" y="7"/>
                  <a:pt x="276" y="5"/>
                </a:cubicBezTo>
                <a:cubicBezTo>
                  <a:pt x="277" y="5"/>
                  <a:pt x="277" y="5"/>
                  <a:pt x="277" y="5"/>
                </a:cubicBezTo>
                <a:cubicBezTo>
                  <a:pt x="280" y="2"/>
                  <a:pt x="284" y="0"/>
                  <a:pt x="289" y="0"/>
                </a:cubicBezTo>
                <a:cubicBezTo>
                  <a:pt x="294" y="0"/>
                  <a:pt x="298" y="2"/>
                  <a:pt x="301" y="5"/>
                </a:cubicBezTo>
                <a:cubicBezTo>
                  <a:pt x="304" y="8"/>
                  <a:pt x="306" y="13"/>
                  <a:pt x="306" y="17"/>
                </a:cubicBezTo>
                <a:cubicBezTo>
                  <a:pt x="306" y="22"/>
                  <a:pt x="304" y="27"/>
                  <a:pt x="301" y="30"/>
                </a:cubicBezTo>
                <a:cubicBezTo>
                  <a:pt x="301" y="30"/>
                  <a:pt x="301" y="30"/>
                  <a:pt x="301" y="30"/>
                </a:cubicBezTo>
                <a:cubicBezTo>
                  <a:pt x="298" y="33"/>
                  <a:pt x="294" y="35"/>
                  <a:pt x="289" y="35"/>
                </a:cubicBezTo>
                <a:cubicBezTo>
                  <a:pt x="284" y="35"/>
                  <a:pt x="280" y="33"/>
                  <a:pt x="276" y="30"/>
                </a:cubicBezTo>
                <a:cubicBezTo>
                  <a:pt x="274" y="27"/>
                  <a:pt x="273" y="25"/>
                  <a:pt x="272" y="21"/>
                </a:cubicBezTo>
                <a:cubicBezTo>
                  <a:pt x="244" y="21"/>
                  <a:pt x="244" y="21"/>
                  <a:pt x="244" y="21"/>
                </a:cubicBezTo>
                <a:cubicBezTo>
                  <a:pt x="240" y="21"/>
                  <a:pt x="237" y="23"/>
                  <a:pt x="234" y="25"/>
                </a:cubicBezTo>
                <a:cubicBezTo>
                  <a:pt x="232" y="28"/>
                  <a:pt x="230" y="31"/>
                  <a:pt x="230" y="35"/>
                </a:cubicBezTo>
                <a:cubicBezTo>
                  <a:pt x="230" y="86"/>
                  <a:pt x="230" y="86"/>
                  <a:pt x="230" y="86"/>
                </a:cubicBezTo>
                <a:cubicBezTo>
                  <a:pt x="233" y="86"/>
                  <a:pt x="233" y="86"/>
                  <a:pt x="233" y="86"/>
                </a:cubicBezTo>
                <a:cubicBezTo>
                  <a:pt x="242" y="86"/>
                  <a:pt x="250" y="90"/>
                  <a:pt x="256" y="96"/>
                </a:cubicBezTo>
                <a:cubicBezTo>
                  <a:pt x="262" y="101"/>
                  <a:pt x="266" y="110"/>
                  <a:pt x="266" y="119"/>
                </a:cubicBezTo>
                <a:cubicBezTo>
                  <a:pt x="303" y="119"/>
                  <a:pt x="303" y="119"/>
                  <a:pt x="303" y="119"/>
                </a:cubicBezTo>
                <a:cubicBezTo>
                  <a:pt x="304" y="116"/>
                  <a:pt x="306" y="113"/>
                  <a:pt x="308" y="111"/>
                </a:cubicBezTo>
                <a:cubicBezTo>
                  <a:pt x="311" y="108"/>
                  <a:pt x="315" y="106"/>
                  <a:pt x="320" y="106"/>
                </a:cubicBezTo>
                <a:cubicBezTo>
                  <a:pt x="325" y="106"/>
                  <a:pt x="330" y="108"/>
                  <a:pt x="333" y="111"/>
                </a:cubicBezTo>
                <a:cubicBezTo>
                  <a:pt x="336" y="114"/>
                  <a:pt x="338" y="119"/>
                  <a:pt x="338" y="124"/>
                </a:cubicBezTo>
                <a:cubicBezTo>
                  <a:pt x="338" y="128"/>
                  <a:pt x="336" y="133"/>
                  <a:pt x="333" y="136"/>
                </a:cubicBezTo>
                <a:cubicBezTo>
                  <a:pt x="333" y="136"/>
                  <a:pt x="333" y="136"/>
                  <a:pt x="333" y="136"/>
                </a:cubicBezTo>
                <a:cubicBezTo>
                  <a:pt x="330" y="139"/>
                  <a:pt x="325" y="141"/>
                  <a:pt x="320" y="141"/>
                </a:cubicBezTo>
                <a:cubicBezTo>
                  <a:pt x="315" y="141"/>
                  <a:pt x="311" y="139"/>
                  <a:pt x="308" y="136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6" y="134"/>
                  <a:pt x="304" y="131"/>
                  <a:pt x="304" y="129"/>
                </a:cubicBezTo>
                <a:cubicBezTo>
                  <a:pt x="266" y="129"/>
                  <a:pt x="266" y="129"/>
                  <a:pt x="266" y="129"/>
                </a:cubicBezTo>
                <a:cubicBezTo>
                  <a:pt x="266" y="179"/>
                  <a:pt x="266" y="179"/>
                  <a:pt x="266" y="179"/>
                </a:cubicBezTo>
                <a:cubicBezTo>
                  <a:pt x="303" y="179"/>
                  <a:pt x="303" y="179"/>
                  <a:pt x="303" y="179"/>
                </a:cubicBezTo>
                <a:cubicBezTo>
                  <a:pt x="304" y="176"/>
                  <a:pt x="306" y="173"/>
                  <a:pt x="308" y="171"/>
                </a:cubicBezTo>
                <a:cubicBezTo>
                  <a:pt x="311" y="168"/>
                  <a:pt x="315" y="166"/>
                  <a:pt x="320" y="166"/>
                </a:cubicBezTo>
                <a:cubicBezTo>
                  <a:pt x="325" y="166"/>
                  <a:pt x="330" y="168"/>
                  <a:pt x="333" y="171"/>
                </a:cubicBezTo>
                <a:cubicBezTo>
                  <a:pt x="336" y="174"/>
                  <a:pt x="338" y="179"/>
                  <a:pt x="338" y="183"/>
                </a:cubicBezTo>
                <a:cubicBezTo>
                  <a:pt x="338" y="188"/>
                  <a:pt x="336" y="193"/>
                  <a:pt x="333" y="196"/>
                </a:cubicBezTo>
                <a:cubicBezTo>
                  <a:pt x="330" y="199"/>
                  <a:pt x="325" y="201"/>
                  <a:pt x="320" y="201"/>
                </a:cubicBezTo>
                <a:cubicBezTo>
                  <a:pt x="315" y="201"/>
                  <a:pt x="311" y="199"/>
                  <a:pt x="308" y="196"/>
                </a:cubicBezTo>
                <a:cubicBezTo>
                  <a:pt x="306" y="194"/>
                  <a:pt x="304" y="191"/>
                  <a:pt x="303" y="188"/>
                </a:cubicBezTo>
                <a:cubicBezTo>
                  <a:pt x="266" y="188"/>
                  <a:pt x="266" y="188"/>
                  <a:pt x="266" y="188"/>
                </a:cubicBezTo>
                <a:cubicBezTo>
                  <a:pt x="266" y="238"/>
                  <a:pt x="266" y="238"/>
                  <a:pt x="266" y="238"/>
                </a:cubicBezTo>
                <a:cubicBezTo>
                  <a:pt x="304" y="238"/>
                  <a:pt x="304" y="238"/>
                  <a:pt x="304" y="238"/>
                </a:cubicBezTo>
                <a:cubicBezTo>
                  <a:pt x="304" y="235"/>
                  <a:pt x="306" y="233"/>
                  <a:pt x="308" y="231"/>
                </a:cubicBezTo>
                <a:cubicBezTo>
                  <a:pt x="308" y="231"/>
                  <a:pt x="308" y="231"/>
                  <a:pt x="308" y="231"/>
                </a:cubicBezTo>
                <a:cubicBezTo>
                  <a:pt x="311" y="228"/>
                  <a:pt x="315" y="226"/>
                  <a:pt x="320" y="226"/>
                </a:cubicBezTo>
                <a:cubicBezTo>
                  <a:pt x="325" y="226"/>
                  <a:pt x="330" y="228"/>
                  <a:pt x="333" y="231"/>
                </a:cubicBezTo>
                <a:cubicBezTo>
                  <a:pt x="333" y="231"/>
                  <a:pt x="333" y="231"/>
                  <a:pt x="333" y="231"/>
                </a:cubicBezTo>
                <a:cubicBezTo>
                  <a:pt x="336" y="234"/>
                  <a:pt x="338" y="238"/>
                  <a:pt x="338" y="243"/>
                </a:cubicBezTo>
                <a:cubicBezTo>
                  <a:pt x="338" y="248"/>
                  <a:pt x="336" y="253"/>
                  <a:pt x="333" y="256"/>
                </a:cubicBezTo>
                <a:cubicBezTo>
                  <a:pt x="330" y="259"/>
                  <a:pt x="325" y="261"/>
                  <a:pt x="320" y="261"/>
                </a:cubicBezTo>
                <a:cubicBezTo>
                  <a:pt x="315" y="261"/>
                  <a:pt x="311" y="259"/>
                  <a:pt x="308" y="256"/>
                </a:cubicBezTo>
                <a:cubicBezTo>
                  <a:pt x="306" y="254"/>
                  <a:pt x="304" y="251"/>
                  <a:pt x="303" y="248"/>
                </a:cubicBezTo>
                <a:cubicBezTo>
                  <a:pt x="266" y="248"/>
                  <a:pt x="266" y="248"/>
                  <a:pt x="266" y="248"/>
                </a:cubicBezTo>
                <a:cubicBezTo>
                  <a:pt x="265" y="257"/>
                  <a:pt x="262" y="264"/>
                  <a:pt x="256" y="270"/>
                </a:cubicBezTo>
                <a:cubicBezTo>
                  <a:pt x="256" y="270"/>
                  <a:pt x="256" y="270"/>
                  <a:pt x="256" y="270"/>
                </a:cubicBezTo>
                <a:cubicBezTo>
                  <a:pt x="250" y="276"/>
                  <a:pt x="242" y="279"/>
                  <a:pt x="234" y="280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236" y="329"/>
                  <a:pt x="239" y="330"/>
                  <a:pt x="241" y="333"/>
                </a:cubicBezTo>
                <a:cubicBezTo>
                  <a:pt x="241" y="333"/>
                  <a:pt x="241" y="333"/>
                  <a:pt x="241" y="333"/>
                </a:cubicBezTo>
                <a:cubicBezTo>
                  <a:pt x="244" y="336"/>
                  <a:pt x="246" y="340"/>
                  <a:pt x="246" y="345"/>
                </a:cubicBezTo>
                <a:cubicBezTo>
                  <a:pt x="246" y="350"/>
                  <a:pt x="244" y="354"/>
                  <a:pt x="241" y="357"/>
                </a:cubicBezTo>
                <a:cubicBezTo>
                  <a:pt x="241" y="357"/>
                  <a:pt x="241" y="357"/>
                  <a:pt x="241" y="357"/>
                </a:cubicBezTo>
                <a:cubicBezTo>
                  <a:pt x="238" y="360"/>
                  <a:pt x="233" y="362"/>
                  <a:pt x="229" y="362"/>
                </a:cubicBezTo>
                <a:cubicBezTo>
                  <a:pt x="224" y="362"/>
                  <a:pt x="219" y="360"/>
                  <a:pt x="216" y="357"/>
                </a:cubicBezTo>
                <a:cubicBezTo>
                  <a:pt x="213" y="354"/>
                  <a:pt x="211" y="350"/>
                  <a:pt x="211" y="345"/>
                </a:cubicBezTo>
                <a:cubicBezTo>
                  <a:pt x="211" y="340"/>
                  <a:pt x="213" y="336"/>
                  <a:pt x="216" y="333"/>
                </a:cubicBezTo>
                <a:cubicBezTo>
                  <a:pt x="216" y="333"/>
                  <a:pt x="216" y="333"/>
                  <a:pt x="216" y="333"/>
                </a:cubicBezTo>
                <a:cubicBezTo>
                  <a:pt x="218" y="330"/>
                  <a:pt x="221" y="329"/>
                  <a:pt x="224" y="328"/>
                </a:cubicBezTo>
                <a:cubicBezTo>
                  <a:pt x="224" y="280"/>
                  <a:pt x="224" y="280"/>
                  <a:pt x="224" y="280"/>
                </a:cubicBezTo>
                <a:cubicBezTo>
                  <a:pt x="174" y="280"/>
                  <a:pt x="174" y="280"/>
                  <a:pt x="174" y="280"/>
                </a:cubicBezTo>
                <a:cubicBezTo>
                  <a:pt x="174" y="328"/>
                  <a:pt x="174" y="328"/>
                  <a:pt x="174" y="328"/>
                </a:cubicBezTo>
                <a:cubicBezTo>
                  <a:pt x="177" y="329"/>
                  <a:pt x="179" y="330"/>
                  <a:pt x="181" y="333"/>
                </a:cubicBezTo>
                <a:cubicBezTo>
                  <a:pt x="181" y="333"/>
                  <a:pt x="181" y="333"/>
                  <a:pt x="181" y="333"/>
                </a:cubicBezTo>
                <a:cubicBezTo>
                  <a:pt x="184" y="336"/>
                  <a:pt x="186" y="340"/>
                  <a:pt x="186" y="345"/>
                </a:cubicBezTo>
                <a:cubicBezTo>
                  <a:pt x="186" y="350"/>
                  <a:pt x="184" y="354"/>
                  <a:pt x="181" y="357"/>
                </a:cubicBezTo>
                <a:cubicBezTo>
                  <a:pt x="178" y="360"/>
                  <a:pt x="174" y="362"/>
                  <a:pt x="169" y="362"/>
                </a:cubicBezTo>
                <a:cubicBezTo>
                  <a:pt x="164" y="362"/>
                  <a:pt x="160" y="360"/>
                  <a:pt x="156" y="357"/>
                </a:cubicBezTo>
                <a:cubicBezTo>
                  <a:pt x="153" y="354"/>
                  <a:pt x="151" y="350"/>
                  <a:pt x="151" y="345"/>
                </a:cubicBezTo>
                <a:cubicBezTo>
                  <a:pt x="151" y="340"/>
                  <a:pt x="153" y="336"/>
                  <a:pt x="156" y="333"/>
                </a:cubicBezTo>
                <a:cubicBezTo>
                  <a:pt x="156" y="333"/>
                  <a:pt x="156" y="333"/>
                  <a:pt x="156" y="333"/>
                </a:cubicBezTo>
                <a:cubicBezTo>
                  <a:pt x="158" y="330"/>
                  <a:pt x="161" y="329"/>
                  <a:pt x="164" y="328"/>
                </a:cubicBezTo>
                <a:cubicBezTo>
                  <a:pt x="164" y="280"/>
                  <a:pt x="164" y="280"/>
                  <a:pt x="164" y="280"/>
                </a:cubicBezTo>
                <a:cubicBezTo>
                  <a:pt x="114" y="280"/>
                  <a:pt x="114" y="280"/>
                  <a:pt x="114" y="280"/>
                </a:cubicBezTo>
                <a:cubicBezTo>
                  <a:pt x="114" y="328"/>
                  <a:pt x="114" y="328"/>
                  <a:pt x="114" y="328"/>
                </a:cubicBezTo>
                <a:cubicBezTo>
                  <a:pt x="117" y="329"/>
                  <a:pt x="119" y="330"/>
                  <a:pt x="121" y="333"/>
                </a:cubicBezTo>
                <a:cubicBezTo>
                  <a:pt x="121" y="333"/>
                  <a:pt x="121" y="333"/>
                  <a:pt x="121" y="333"/>
                </a:cubicBezTo>
                <a:cubicBezTo>
                  <a:pt x="125" y="336"/>
                  <a:pt x="127" y="340"/>
                  <a:pt x="127" y="345"/>
                </a:cubicBezTo>
                <a:cubicBezTo>
                  <a:pt x="127" y="350"/>
                  <a:pt x="125" y="354"/>
                  <a:pt x="121" y="357"/>
                </a:cubicBezTo>
                <a:cubicBezTo>
                  <a:pt x="118" y="360"/>
                  <a:pt x="114" y="362"/>
                  <a:pt x="109" y="362"/>
                </a:cubicBezTo>
                <a:cubicBezTo>
                  <a:pt x="104" y="362"/>
                  <a:pt x="100" y="360"/>
                  <a:pt x="97" y="357"/>
                </a:cubicBezTo>
                <a:cubicBezTo>
                  <a:pt x="97" y="357"/>
                  <a:pt x="97" y="357"/>
                  <a:pt x="97" y="357"/>
                </a:cubicBezTo>
                <a:cubicBezTo>
                  <a:pt x="93" y="354"/>
                  <a:pt x="91" y="350"/>
                  <a:pt x="91" y="345"/>
                </a:cubicBezTo>
                <a:cubicBezTo>
                  <a:pt x="91" y="340"/>
                  <a:pt x="93" y="336"/>
                  <a:pt x="97" y="333"/>
                </a:cubicBezTo>
                <a:cubicBezTo>
                  <a:pt x="97" y="333"/>
                  <a:pt x="97" y="333"/>
                  <a:pt x="97" y="333"/>
                </a:cubicBezTo>
                <a:cubicBezTo>
                  <a:pt x="99" y="330"/>
                  <a:pt x="101" y="329"/>
                  <a:pt x="104" y="328"/>
                </a:cubicBezTo>
                <a:cubicBezTo>
                  <a:pt x="104" y="280"/>
                  <a:pt x="104" y="280"/>
                  <a:pt x="104" y="280"/>
                </a:cubicBezTo>
                <a:cubicBezTo>
                  <a:pt x="95" y="279"/>
                  <a:pt x="87" y="276"/>
                  <a:pt x="82" y="27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76" y="264"/>
                  <a:pt x="72" y="257"/>
                  <a:pt x="72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33" y="251"/>
                  <a:pt x="32" y="254"/>
                  <a:pt x="30" y="256"/>
                </a:cubicBezTo>
                <a:cubicBezTo>
                  <a:pt x="30" y="256"/>
                  <a:pt x="30" y="256"/>
                  <a:pt x="30" y="256"/>
                </a:cubicBezTo>
                <a:cubicBezTo>
                  <a:pt x="27" y="259"/>
                  <a:pt x="22" y="261"/>
                  <a:pt x="17" y="261"/>
                </a:cubicBezTo>
                <a:cubicBezTo>
                  <a:pt x="13" y="261"/>
                  <a:pt x="8" y="259"/>
                  <a:pt x="5" y="256"/>
                </a:cubicBezTo>
                <a:cubicBezTo>
                  <a:pt x="2" y="253"/>
                  <a:pt x="0" y="248"/>
                  <a:pt x="0" y="243"/>
                </a:cubicBezTo>
                <a:cubicBezTo>
                  <a:pt x="0" y="238"/>
                  <a:pt x="2" y="234"/>
                  <a:pt x="5" y="231"/>
                </a:cubicBezTo>
                <a:cubicBezTo>
                  <a:pt x="5" y="231"/>
                  <a:pt x="5" y="231"/>
                  <a:pt x="5" y="231"/>
                </a:cubicBezTo>
                <a:cubicBezTo>
                  <a:pt x="8" y="228"/>
                  <a:pt x="13" y="226"/>
                  <a:pt x="17" y="226"/>
                </a:cubicBezTo>
                <a:cubicBezTo>
                  <a:pt x="22" y="226"/>
                  <a:pt x="27" y="228"/>
                  <a:pt x="30" y="231"/>
                </a:cubicBezTo>
                <a:cubicBezTo>
                  <a:pt x="30" y="231"/>
                  <a:pt x="30" y="231"/>
                  <a:pt x="30" y="231"/>
                </a:cubicBezTo>
                <a:cubicBezTo>
                  <a:pt x="32" y="233"/>
                  <a:pt x="33" y="235"/>
                  <a:pt x="34" y="238"/>
                </a:cubicBezTo>
                <a:cubicBezTo>
                  <a:pt x="72" y="238"/>
                  <a:pt x="72" y="238"/>
                  <a:pt x="72" y="238"/>
                </a:cubicBezTo>
                <a:cubicBezTo>
                  <a:pt x="72" y="188"/>
                  <a:pt x="72" y="188"/>
                  <a:pt x="72" y="188"/>
                </a:cubicBezTo>
                <a:cubicBezTo>
                  <a:pt x="34" y="188"/>
                  <a:pt x="34" y="188"/>
                  <a:pt x="34" y="188"/>
                </a:cubicBezTo>
                <a:cubicBezTo>
                  <a:pt x="33" y="191"/>
                  <a:pt x="32" y="194"/>
                  <a:pt x="30" y="196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27" y="199"/>
                  <a:pt x="22" y="201"/>
                  <a:pt x="17" y="201"/>
                </a:cubicBezTo>
                <a:cubicBezTo>
                  <a:pt x="13" y="201"/>
                  <a:pt x="8" y="199"/>
                  <a:pt x="5" y="196"/>
                </a:cubicBezTo>
                <a:cubicBezTo>
                  <a:pt x="2" y="193"/>
                  <a:pt x="0" y="188"/>
                  <a:pt x="0" y="183"/>
                </a:cubicBezTo>
                <a:cubicBezTo>
                  <a:pt x="0" y="179"/>
                  <a:pt x="2" y="174"/>
                  <a:pt x="5" y="171"/>
                </a:cubicBezTo>
                <a:cubicBezTo>
                  <a:pt x="8" y="168"/>
                  <a:pt x="13" y="166"/>
                  <a:pt x="17" y="166"/>
                </a:cubicBezTo>
                <a:cubicBezTo>
                  <a:pt x="22" y="166"/>
                  <a:pt x="27" y="168"/>
                  <a:pt x="30" y="171"/>
                </a:cubicBezTo>
                <a:cubicBezTo>
                  <a:pt x="30" y="171"/>
                  <a:pt x="30" y="171"/>
                  <a:pt x="30" y="171"/>
                </a:cubicBezTo>
                <a:cubicBezTo>
                  <a:pt x="32" y="173"/>
                  <a:pt x="33" y="176"/>
                  <a:pt x="34" y="179"/>
                </a:cubicBezTo>
                <a:cubicBezTo>
                  <a:pt x="72" y="179"/>
                  <a:pt x="72" y="179"/>
                  <a:pt x="72" y="179"/>
                </a:cubicBezTo>
                <a:cubicBezTo>
                  <a:pt x="72" y="129"/>
                  <a:pt x="72" y="129"/>
                  <a:pt x="72" y="129"/>
                </a:cubicBezTo>
                <a:cubicBezTo>
                  <a:pt x="34" y="129"/>
                  <a:pt x="34" y="129"/>
                  <a:pt x="34" y="129"/>
                </a:cubicBezTo>
                <a:cubicBezTo>
                  <a:pt x="33" y="131"/>
                  <a:pt x="32" y="134"/>
                  <a:pt x="30" y="136"/>
                </a:cubicBezTo>
                <a:cubicBezTo>
                  <a:pt x="27" y="139"/>
                  <a:pt x="22" y="141"/>
                  <a:pt x="17" y="141"/>
                </a:cubicBezTo>
                <a:cubicBezTo>
                  <a:pt x="13" y="141"/>
                  <a:pt x="8" y="139"/>
                  <a:pt x="5" y="136"/>
                </a:cubicBezTo>
                <a:cubicBezTo>
                  <a:pt x="5" y="136"/>
                  <a:pt x="5" y="136"/>
                  <a:pt x="5" y="136"/>
                </a:cubicBezTo>
                <a:cubicBezTo>
                  <a:pt x="2" y="133"/>
                  <a:pt x="0" y="128"/>
                  <a:pt x="0" y="124"/>
                </a:cubicBezTo>
                <a:cubicBezTo>
                  <a:pt x="0" y="119"/>
                  <a:pt x="2" y="114"/>
                  <a:pt x="5" y="111"/>
                </a:cubicBezTo>
                <a:cubicBezTo>
                  <a:pt x="8" y="108"/>
                  <a:pt x="13" y="106"/>
                  <a:pt x="17" y="106"/>
                </a:cubicBezTo>
                <a:cubicBezTo>
                  <a:pt x="22" y="106"/>
                  <a:pt x="27" y="108"/>
                  <a:pt x="30" y="111"/>
                </a:cubicBezTo>
                <a:cubicBezTo>
                  <a:pt x="30" y="111"/>
                  <a:pt x="30" y="111"/>
                  <a:pt x="30" y="111"/>
                </a:cubicBezTo>
                <a:cubicBezTo>
                  <a:pt x="32" y="113"/>
                  <a:pt x="33" y="116"/>
                  <a:pt x="34" y="119"/>
                </a:cubicBezTo>
                <a:cubicBezTo>
                  <a:pt x="72" y="119"/>
                  <a:pt x="72" y="119"/>
                  <a:pt x="72" y="119"/>
                </a:cubicBezTo>
                <a:cubicBezTo>
                  <a:pt x="72" y="110"/>
                  <a:pt x="76" y="101"/>
                  <a:pt x="82" y="96"/>
                </a:cubicBezTo>
                <a:cubicBezTo>
                  <a:pt x="88" y="90"/>
                  <a:pt x="96" y="86"/>
                  <a:pt x="105" y="86"/>
                </a:cubicBezTo>
                <a:close/>
                <a:moveTo>
                  <a:pt x="12" y="118"/>
                </a:moveTo>
                <a:cubicBezTo>
                  <a:pt x="11" y="120"/>
                  <a:pt x="10" y="122"/>
                  <a:pt x="10" y="124"/>
                </a:cubicBezTo>
                <a:cubicBezTo>
                  <a:pt x="10" y="126"/>
                  <a:pt x="11" y="128"/>
                  <a:pt x="12" y="129"/>
                </a:cubicBezTo>
                <a:cubicBezTo>
                  <a:pt x="12" y="129"/>
                  <a:pt x="12" y="129"/>
                  <a:pt x="12" y="129"/>
                </a:cubicBezTo>
                <a:cubicBezTo>
                  <a:pt x="13" y="130"/>
                  <a:pt x="15" y="131"/>
                  <a:pt x="17" y="131"/>
                </a:cubicBezTo>
                <a:cubicBezTo>
                  <a:pt x="19" y="131"/>
                  <a:pt x="21" y="130"/>
                  <a:pt x="23" y="129"/>
                </a:cubicBezTo>
                <a:cubicBezTo>
                  <a:pt x="24" y="128"/>
                  <a:pt x="25" y="126"/>
                  <a:pt x="25" y="124"/>
                </a:cubicBezTo>
                <a:cubicBezTo>
                  <a:pt x="25" y="122"/>
                  <a:pt x="24" y="120"/>
                  <a:pt x="23" y="118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21" y="117"/>
                  <a:pt x="19" y="116"/>
                  <a:pt x="17" y="116"/>
                </a:cubicBezTo>
                <a:cubicBezTo>
                  <a:pt x="15" y="116"/>
                  <a:pt x="13" y="117"/>
                  <a:pt x="12" y="118"/>
                </a:cubicBezTo>
                <a:close/>
                <a:moveTo>
                  <a:pt x="12" y="238"/>
                </a:moveTo>
                <a:cubicBezTo>
                  <a:pt x="11" y="239"/>
                  <a:pt x="10" y="241"/>
                  <a:pt x="10" y="243"/>
                </a:cubicBezTo>
                <a:cubicBezTo>
                  <a:pt x="10" y="245"/>
                  <a:pt x="11" y="247"/>
                  <a:pt x="12" y="249"/>
                </a:cubicBezTo>
                <a:cubicBezTo>
                  <a:pt x="13" y="250"/>
                  <a:pt x="15" y="251"/>
                  <a:pt x="17" y="251"/>
                </a:cubicBezTo>
                <a:cubicBezTo>
                  <a:pt x="19" y="251"/>
                  <a:pt x="21" y="250"/>
                  <a:pt x="23" y="249"/>
                </a:cubicBezTo>
                <a:cubicBezTo>
                  <a:pt x="23" y="249"/>
                  <a:pt x="23" y="249"/>
                  <a:pt x="23" y="249"/>
                </a:cubicBezTo>
                <a:cubicBezTo>
                  <a:pt x="24" y="247"/>
                  <a:pt x="25" y="245"/>
                  <a:pt x="25" y="243"/>
                </a:cubicBezTo>
                <a:cubicBezTo>
                  <a:pt x="25" y="241"/>
                  <a:pt x="24" y="239"/>
                  <a:pt x="23" y="238"/>
                </a:cubicBezTo>
                <a:cubicBezTo>
                  <a:pt x="23" y="238"/>
                  <a:pt x="23" y="238"/>
                  <a:pt x="23" y="238"/>
                </a:cubicBezTo>
                <a:cubicBezTo>
                  <a:pt x="21" y="237"/>
                  <a:pt x="19" y="236"/>
                  <a:pt x="17" y="236"/>
                </a:cubicBezTo>
                <a:cubicBezTo>
                  <a:pt x="15" y="236"/>
                  <a:pt x="13" y="237"/>
                  <a:pt x="12" y="238"/>
                </a:cubicBezTo>
                <a:cubicBezTo>
                  <a:pt x="12" y="238"/>
                  <a:pt x="12" y="238"/>
                  <a:pt x="12" y="238"/>
                </a:cubicBezTo>
                <a:close/>
                <a:moveTo>
                  <a:pt x="12" y="178"/>
                </a:moveTo>
                <a:cubicBezTo>
                  <a:pt x="11" y="179"/>
                  <a:pt x="10" y="181"/>
                  <a:pt x="10" y="183"/>
                </a:cubicBezTo>
                <a:cubicBezTo>
                  <a:pt x="10" y="186"/>
                  <a:pt x="11" y="187"/>
                  <a:pt x="12" y="189"/>
                </a:cubicBezTo>
                <a:cubicBezTo>
                  <a:pt x="13" y="190"/>
                  <a:pt x="15" y="191"/>
                  <a:pt x="17" y="191"/>
                </a:cubicBezTo>
                <a:cubicBezTo>
                  <a:pt x="19" y="191"/>
                  <a:pt x="21" y="190"/>
                  <a:pt x="23" y="189"/>
                </a:cubicBezTo>
                <a:cubicBezTo>
                  <a:pt x="23" y="189"/>
                  <a:pt x="23" y="189"/>
                  <a:pt x="23" y="189"/>
                </a:cubicBezTo>
                <a:cubicBezTo>
                  <a:pt x="24" y="187"/>
                  <a:pt x="25" y="186"/>
                  <a:pt x="25" y="183"/>
                </a:cubicBezTo>
                <a:cubicBezTo>
                  <a:pt x="25" y="181"/>
                  <a:pt x="24" y="179"/>
                  <a:pt x="23" y="178"/>
                </a:cubicBezTo>
                <a:cubicBezTo>
                  <a:pt x="23" y="178"/>
                  <a:pt x="23" y="178"/>
                  <a:pt x="23" y="178"/>
                </a:cubicBezTo>
                <a:cubicBezTo>
                  <a:pt x="21" y="177"/>
                  <a:pt x="19" y="176"/>
                  <a:pt x="17" y="176"/>
                </a:cubicBezTo>
                <a:cubicBezTo>
                  <a:pt x="15" y="176"/>
                  <a:pt x="13" y="177"/>
                  <a:pt x="12" y="178"/>
                </a:cubicBezTo>
                <a:close/>
                <a:moveTo>
                  <a:pt x="229" y="352"/>
                </a:moveTo>
                <a:cubicBezTo>
                  <a:pt x="231" y="352"/>
                  <a:pt x="233" y="352"/>
                  <a:pt x="234" y="350"/>
                </a:cubicBezTo>
                <a:cubicBezTo>
                  <a:pt x="234" y="350"/>
                  <a:pt x="234" y="350"/>
                  <a:pt x="234" y="350"/>
                </a:cubicBezTo>
                <a:cubicBezTo>
                  <a:pt x="235" y="349"/>
                  <a:pt x="236" y="347"/>
                  <a:pt x="236" y="345"/>
                </a:cubicBezTo>
                <a:cubicBezTo>
                  <a:pt x="236" y="343"/>
                  <a:pt x="235" y="341"/>
                  <a:pt x="234" y="340"/>
                </a:cubicBezTo>
                <a:cubicBezTo>
                  <a:pt x="234" y="340"/>
                  <a:pt x="234" y="340"/>
                  <a:pt x="234" y="340"/>
                </a:cubicBezTo>
                <a:cubicBezTo>
                  <a:pt x="233" y="338"/>
                  <a:pt x="231" y="337"/>
                  <a:pt x="229" y="337"/>
                </a:cubicBezTo>
                <a:cubicBezTo>
                  <a:pt x="227" y="337"/>
                  <a:pt x="225" y="338"/>
                  <a:pt x="223" y="340"/>
                </a:cubicBezTo>
                <a:cubicBezTo>
                  <a:pt x="223" y="340"/>
                  <a:pt x="223" y="340"/>
                  <a:pt x="223" y="340"/>
                </a:cubicBezTo>
                <a:cubicBezTo>
                  <a:pt x="222" y="341"/>
                  <a:pt x="221" y="343"/>
                  <a:pt x="221" y="345"/>
                </a:cubicBezTo>
                <a:cubicBezTo>
                  <a:pt x="221" y="347"/>
                  <a:pt x="222" y="349"/>
                  <a:pt x="223" y="350"/>
                </a:cubicBezTo>
                <a:cubicBezTo>
                  <a:pt x="225" y="352"/>
                  <a:pt x="227" y="352"/>
                  <a:pt x="229" y="352"/>
                </a:cubicBezTo>
                <a:close/>
                <a:moveTo>
                  <a:pt x="109" y="352"/>
                </a:moveTo>
                <a:cubicBezTo>
                  <a:pt x="111" y="352"/>
                  <a:pt x="113" y="352"/>
                  <a:pt x="114" y="350"/>
                </a:cubicBezTo>
                <a:cubicBezTo>
                  <a:pt x="116" y="349"/>
                  <a:pt x="117" y="347"/>
                  <a:pt x="117" y="345"/>
                </a:cubicBezTo>
                <a:cubicBezTo>
                  <a:pt x="117" y="343"/>
                  <a:pt x="116" y="341"/>
                  <a:pt x="114" y="340"/>
                </a:cubicBezTo>
                <a:cubicBezTo>
                  <a:pt x="114" y="340"/>
                  <a:pt x="114" y="340"/>
                  <a:pt x="114" y="340"/>
                </a:cubicBezTo>
                <a:cubicBezTo>
                  <a:pt x="113" y="338"/>
                  <a:pt x="111" y="337"/>
                  <a:pt x="109" y="337"/>
                </a:cubicBezTo>
                <a:cubicBezTo>
                  <a:pt x="107" y="337"/>
                  <a:pt x="105" y="338"/>
                  <a:pt x="104" y="340"/>
                </a:cubicBezTo>
                <a:cubicBezTo>
                  <a:pt x="104" y="340"/>
                  <a:pt x="104" y="340"/>
                  <a:pt x="104" y="340"/>
                </a:cubicBezTo>
                <a:cubicBezTo>
                  <a:pt x="102" y="341"/>
                  <a:pt x="101" y="343"/>
                  <a:pt x="101" y="345"/>
                </a:cubicBezTo>
                <a:cubicBezTo>
                  <a:pt x="101" y="347"/>
                  <a:pt x="102" y="349"/>
                  <a:pt x="104" y="350"/>
                </a:cubicBezTo>
                <a:cubicBezTo>
                  <a:pt x="104" y="350"/>
                  <a:pt x="104" y="350"/>
                  <a:pt x="104" y="350"/>
                </a:cubicBezTo>
                <a:cubicBezTo>
                  <a:pt x="105" y="352"/>
                  <a:pt x="107" y="352"/>
                  <a:pt x="109" y="352"/>
                </a:cubicBezTo>
                <a:close/>
                <a:moveTo>
                  <a:pt x="169" y="352"/>
                </a:moveTo>
                <a:cubicBezTo>
                  <a:pt x="171" y="352"/>
                  <a:pt x="173" y="352"/>
                  <a:pt x="174" y="350"/>
                </a:cubicBezTo>
                <a:cubicBezTo>
                  <a:pt x="176" y="349"/>
                  <a:pt x="176" y="347"/>
                  <a:pt x="176" y="345"/>
                </a:cubicBezTo>
                <a:cubicBezTo>
                  <a:pt x="176" y="343"/>
                  <a:pt x="176" y="341"/>
                  <a:pt x="174" y="340"/>
                </a:cubicBezTo>
                <a:cubicBezTo>
                  <a:pt x="174" y="340"/>
                  <a:pt x="174" y="340"/>
                  <a:pt x="174" y="340"/>
                </a:cubicBezTo>
                <a:cubicBezTo>
                  <a:pt x="173" y="338"/>
                  <a:pt x="171" y="337"/>
                  <a:pt x="169" y="337"/>
                </a:cubicBezTo>
                <a:cubicBezTo>
                  <a:pt x="167" y="337"/>
                  <a:pt x="165" y="338"/>
                  <a:pt x="163" y="340"/>
                </a:cubicBezTo>
                <a:cubicBezTo>
                  <a:pt x="163" y="340"/>
                  <a:pt x="163" y="340"/>
                  <a:pt x="163" y="340"/>
                </a:cubicBezTo>
                <a:cubicBezTo>
                  <a:pt x="162" y="341"/>
                  <a:pt x="161" y="343"/>
                  <a:pt x="161" y="345"/>
                </a:cubicBezTo>
                <a:cubicBezTo>
                  <a:pt x="161" y="347"/>
                  <a:pt x="162" y="349"/>
                  <a:pt x="163" y="350"/>
                </a:cubicBezTo>
                <a:cubicBezTo>
                  <a:pt x="165" y="352"/>
                  <a:pt x="167" y="352"/>
                  <a:pt x="169" y="352"/>
                </a:cubicBezTo>
                <a:close/>
                <a:moveTo>
                  <a:pt x="328" y="124"/>
                </a:moveTo>
                <a:cubicBezTo>
                  <a:pt x="328" y="122"/>
                  <a:pt x="327" y="120"/>
                  <a:pt x="326" y="118"/>
                </a:cubicBezTo>
                <a:cubicBezTo>
                  <a:pt x="324" y="117"/>
                  <a:pt x="322" y="116"/>
                  <a:pt x="320" y="116"/>
                </a:cubicBezTo>
                <a:cubicBezTo>
                  <a:pt x="318" y="116"/>
                  <a:pt x="316" y="117"/>
                  <a:pt x="315" y="118"/>
                </a:cubicBezTo>
                <a:cubicBezTo>
                  <a:pt x="314" y="120"/>
                  <a:pt x="313" y="122"/>
                  <a:pt x="313" y="124"/>
                </a:cubicBezTo>
                <a:cubicBezTo>
                  <a:pt x="313" y="126"/>
                  <a:pt x="314" y="128"/>
                  <a:pt x="315" y="129"/>
                </a:cubicBezTo>
                <a:cubicBezTo>
                  <a:pt x="315" y="129"/>
                  <a:pt x="315" y="129"/>
                  <a:pt x="315" y="129"/>
                </a:cubicBezTo>
                <a:cubicBezTo>
                  <a:pt x="316" y="130"/>
                  <a:pt x="318" y="131"/>
                  <a:pt x="320" y="131"/>
                </a:cubicBezTo>
                <a:cubicBezTo>
                  <a:pt x="322" y="131"/>
                  <a:pt x="324" y="130"/>
                  <a:pt x="326" y="129"/>
                </a:cubicBezTo>
                <a:cubicBezTo>
                  <a:pt x="326" y="129"/>
                  <a:pt x="326" y="129"/>
                  <a:pt x="326" y="129"/>
                </a:cubicBezTo>
                <a:cubicBezTo>
                  <a:pt x="327" y="128"/>
                  <a:pt x="328" y="126"/>
                  <a:pt x="328" y="124"/>
                </a:cubicBezTo>
                <a:close/>
                <a:moveTo>
                  <a:pt x="328" y="243"/>
                </a:moveTo>
                <a:cubicBezTo>
                  <a:pt x="328" y="241"/>
                  <a:pt x="327" y="239"/>
                  <a:pt x="326" y="238"/>
                </a:cubicBezTo>
                <a:cubicBezTo>
                  <a:pt x="326" y="238"/>
                  <a:pt x="326" y="238"/>
                  <a:pt x="326" y="238"/>
                </a:cubicBezTo>
                <a:cubicBezTo>
                  <a:pt x="324" y="237"/>
                  <a:pt x="322" y="236"/>
                  <a:pt x="320" y="236"/>
                </a:cubicBezTo>
                <a:cubicBezTo>
                  <a:pt x="318" y="236"/>
                  <a:pt x="316" y="237"/>
                  <a:pt x="315" y="238"/>
                </a:cubicBezTo>
                <a:cubicBezTo>
                  <a:pt x="315" y="238"/>
                  <a:pt x="315" y="238"/>
                  <a:pt x="315" y="238"/>
                </a:cubicBezTo>
                <a:cubicBezTo>
                  <a:pt x="314" y="239"/>
                  <a:pt x="313" y="241"/>
                  <a:pt x="313" y="243"/>
                </a:cubicBezTo>
                <a:cubicBezTo>
                  <a:pt x="313" y="245"/>
                  <a:pt x="314" y="247"/>
                  <a:pt x="315" y="249"/>
                </a:cubicBezTo>
                <a:cubicBezTo>
                  <a:pt x="316" y="250"/>
                  <a:pt x="318" y="251"/>
                  <a:pt x="320" y="251"/>
                </a:cubicBezTo>
                <a:cubicBezTo>
                  <a:pt x="322" y="251"/>
                  <a:pt x="324" y="250"/>
                  <a:pt x="326" y="249"/>
                </a:cubicBezTo>
                <a:cubicBezTo>
                  <a:pt x="327" y="247"/>
                  <a:pt x="328" y="245"/>
                  <a:pt x="328" y="243"/>
                </a:cubicBezTo>
                <a:close/>
                <a:moveTo>
                  <a:pt x="328" y="183"/>
                </a:moveTo>
                <a:cubicBezTo>
                  <a:pt x="328" y="181"/>
                  <a:pt x="327" y="179"/>
                  <a:pt x="326" y="178"/>
                </a:cubicBezTo>
                <a:cubicBezTo>
                  <a:pt x="324" y="177"/>
                  <a:pt x="322" y="176"/>
                  <a:pt x="320" y="176"/>
                </a:cubicBezTo>
                <a:cubicBezTo>
                  <a:pt x="318" y="176"/>
                  <a:pt x="316" y="177"/>
                  <a:pt x="315" y="178"/>
                </a:cubicBezTo>
                <a:cubicBezTo>
                  <a:pt x="314" y="179"/>
                  <a:pt x="313" y="181"/>
                  <a:pt x="313" y="183"/>
                </a:cubicBezTo>
                <a:cubicBezTo>
                  <a:pt x="313" y="186"/>
                  <a:pt x="314" y="187"/>
                  <a:pt x="315" y="189"/>
                </a:cubicBezTo>
                <a:cubicBezTo>
                  <a:pt x="316" y="190"/>
                  <a:pt x="318" y="191"/>
                  <a:pt x="320" y="191"/>
                </a:cubicBezTo>
                <a:cubicBezTo>
                  <a:pt x="322" y="191"/>
                  <a:pt x="324" y="190"/>
                  <a:pt x="326" y="189"/>
                </a:cubicBezTo>
                <a:cubicBezTo>
                  <a:pt x="327" y="187"/>
                  <a:pt x="328" y="186"/>
                  <a:pt x="328" y="183"/>
                </a:cubicBezTo>
                <a:close/>
                <a:moveTo>
                  <a:pt x="174" y="12"/>
                </a:moveTo>
                <a:cubicBezTo>
                  <a:pt x="173" y="11"/>
                  <a:pt x="171" y="10"/>
                  <a:pt x="169" y="10"/>
                </a:cubicBezTo>
                <a:cubicBezTo>
                  <a:pt x="167" y="10"/>
                  <a:pt x="165" y="11"/>
                  <a:pt x="163" y="12"/>
                </a:cubicBezTo>
                <a:cubicBezTo>
                  <a:pt x="162" y="13"/>
                  <a:pt x="161" y="15"/>
                  <a:pt x="161" y="17"/>
                </a:cubicBezTo>
                <a:cubicBezTo>
                  <a:pt x="161" y="20"/>
                  <a:pt x="162" y="21"/>
                  <a:pt x="163" y="23"/>
                </a:cubicBezTo>
                <a:cubicBezTo>
                  <a:pt x="163" y="23"/>
                  <a:pt x="163" y="23"/>
                  <a:pt x="163" y="23"/>
                </a:cubicBezTo>
                <a:cubicBezTo>
                  <a:pt x="165" y="24"/>
                  <a:pt x="167" y="25"/>
                  <a:pt x="169" y="25"/>
                </a:cubicBezTo>
                <a:cubicBezTo>
                  <a:pt x="171" y="25"/>
                  <a:pt x="173" y="24"/>
                  <a:pt x="174" y="23"/>
                </a:cubicBezTo>
                <a:cubicBezTo>
                  <a:pt x="174" y="23"/>
                  <a:pt x="174" y="23"/>
                  <a:pt x="174" y="23"/>
                </a:cubicBezTo>
                <a:cubicBezTo>
                  <a:pt x="176" y="21"/>
                  <a:pt x="176" y="20"/>
                  <a:pt x="176" y="17"/>
                </a:cubicBezTo>
                <a:cubicBezTo>
                  <a:pt x="176" y="15"/>
                  <a:pt x="176" y="13"/>
                  <a:pt x="174" y="12"/>
                </a:cubicBezTo>
                <a:close/>
                <a:moveTo>
                  <a:pt x="289" y="10"/>
                </a:moveTo>
                <a:cubicBezTo>
                  <a:pt x="287" y="10"/>
                  <a:pt x="285" y="11"/>
                  <a:pt x="284" y="12"/>
                </a:cubicBezTo>
                <a:cubicBezTo>
                  <a:pt x="284" y="12"/>
                  <a:pt x="284" y="12"/>
                  <a:pt x="284" y="12"/>
                </a:cubicBezTo>
                <a:cubicBezTo>
                  <a:pt x="282" y="13"/>
                  <a:pt x="281" y="15"/>
                  <a:pt x="281" y="17"/>
                </a:cubicBezTo>
                <a:cubicBezTo>
                  <a:pt x="281" y="19"/>
                  <a:pt x="282" y="21"/>
                  <a:pt x="284" y="23"/>
                </a:cubicBezTo>
                <a:cubicBezTo>
                  <a:pt x="285" y="24"/>
                  <a:pt x="287" y="25"/>
                  <a:pt x="289" y="25"/>
                </a:cubicBezTo>
                <a:cubicBezTo>
                  <a:pt x="291" y="25"/>
                  <a:pt x="293" y="24"/>
                  <a:pt x="294" y="23"/>
                </a:cubicBezTo>
                <a:cubicBezTo>
                  <a:pt x="294" y="23"/>
                  <a:pt x="294" y="23"/>
                  <a:pt x="294" y="23"/>
                </a:cubicBezTo>
                <a:cubicBezTo>
                  <a:pt x="296" y="21"/>
                  <a:pt x="296" y="20"/>
                  <a:pt x="296" y="17"/>
                </a:cubicBezTo>
                <a:cubicBezTo>
                  <a:pt x="296" y="15"/>
                  <a:pt x="296" y="13"/>
                  <a:pt x="294" y="12"/>
                </a:cubicBezTo>
                <a:cubicBezTo>
                  <a:pt x="293" y="11"/>
                  <a:pt x="291" y="10"/>
                  <a:pt x="289" y="10"/>
                </a:cubicBezTo>
                <a:close/>
                <a:moveTo>
                  <a:pt x="226" y="197"/>
                </a:moveTo>
                <a:cubicBezTo>
                  <a:pt x="226" y="196"/>
                  <a:pt x="226" y="196"/>
                  <a:pt x="226" y="196"/>
                </a:cubicBezTo>
                <a:cubicBezTo>
                  <a:pt x="226" y="195"/>
                  <a:pt x="226" y="195"/>
                  <a:pt x="226" y="194"/>
                </a:cubicBezTo>
                <a:cubicBezTo>
                  <a:pt x="226" y="171"/>
                  <a:pt x="226" y="171"/>
                  <a:pt x="226" y="171"/>
                </a:cubicBezTo>
                <a:cubicBezTo>
                  <a:pt x="226" y="171"/>
                  <a:pt x="226" y="170"/>
                  <a:pt x="226" y="170"/>
                </a:cubicBezTo>
                <a:cubicBezTo>
                  <a:pt x="226" y="170"/>
                  <a:pt x="226" y="169"/>
                  <a:pt x="226" y="169"/>
                </a:cubicBezTo>
                <a:cubicBezTo>
                  <a:pt x="226" y="134"/>
                  <a:pt x="226" y="134"/>
                  <a:pt x="226" y="134"/>
                </a:cubicBezTo>
                <a:cubicBezTo>
                  <a:pt x="226" y="132"/>
                  <a:pt x="225" y="130"/>
                  <a:pt x="223" y="128"/>
                </a:cubicBezTo>
                <a:cubicBezTo>
                  <a:pt x="222" y="127"/>
                  <a:pt x="220" y="126"/>
                  <a:pt x="217" y="126"/>
                </a:cubicBezTo>
                <a:cubicBezTo>
                  <a:pt x="120" y="126"/>
                  <a:pt x="120" y="126"/>
                  <a:pt x="120" y="126"/>
                </a:cubicBezTo>
                <a:cubicBezTo>
                  <a:pt x="118" y="126"/>
                  <a:pt x="116" y="127"/>
                  <a:pt x="114" y="128"/>
                </a:cubicBezTo>
                <a:cubicBezTo>
                  <a:pt x="113" y="130"/>
                  <a:pt x="112" y="132"/>
                  <a:pt x="112" y="134"/>
                </a:cubicBezTo>
                <a:cubicBezTo>
                  <a:pt x="112" y="231"/>
                  <a:pt x="112" y="231"/>
                  <a:pt x="112" y="231"/>
                </a:cubicBezTo>
                <a:cubicBezTo>
                  <a:pt x="112" y="234"/>
                  <a:pt x="113" y="236"/>
                  <a:pt x="114" y="237"/>
                </a:cubicBezTo>
                <a:cubicBezTo>
                  <a:pt x="114" y="237"/>
                  <a:pt x="114" y="237"/>
                  <a:pt x="114" y="237"/>
                </a:cubicBezTo>
                <a:cubicBezTo>
                  <a:pt x="116" y="239"/>
                  <a:pt x="118" y="240"/>
                  <a:pt x="120" y="240"/>
                </a:cubicBezTo>
                <a:cubicBezTo>
                  <a:pt x="217" y="240"/>
                  <a:pt x="217" y="240"/>
                  <a:pt x="217" y="240"/>
                </a:cubicBezTo>
                <a:cubicBezTo>
                  <a:pt x="220" y="240"/>
                  <a:pt x="222" y="239"/>
                  <a:pt x="223" y="237"/>
                </a:cubicBezTo>
                <a:cubicBezTo>
                  <a:pt x="225" y="236"/>
                  <a:pt x="226" y="234"/>
                  <a:pt x="226" y="231"/>
                </a:cubicBezTo>
                <a:cubicBezTo>
                  <a:pt x="226" y="197"/>
                  <a:pt x="226" y="197"/>
                  <a:pt x="226" y="197"/>
                </a:cubicBezTo>
                <a:close/>
                <a:moveTo>
                  <a:pt x="236" y="191"/>
                </a:moveTo>
                <a:cubicBezTo>
                  <a:pt x="254" y="191"/>
                  <a:pt x="254" y="191"/>
                  <a:pt x="254" y="191"/>
                </a:cubicBezTo>
                <a:cubicBezTo>
                  <a:pt x="255" y="191"/>
                  <a:pt x="255" y="191"/>
                  <a:pt x="256" y="191"/>
                </a:cubicBezTo>
                <a:cubicBezTo>
                  <a:pt x="256" y="175"/>
                  <a:pt x="256" y="175"/>
                  <a:pt x="256" y="175"/>
                </a:cubicBezTo>
                <a:cubicBezTo>
                  <a:pt x="255" y="175"/>
                  <a:pt x="255" y="175"/>
                  <a:pt x="254" y="175"/>
                </a:cubicBezTo>
                <a:cubicBezTo>
                  <a:pt x="236" y="175"/>
                  <a:pt x="236" y="175"/>
                  <a:pt x="236" y="175"/>
                </a:cubicBezTo>
                <a:cubicBezTo>
                  <a:pt x="236" y="191"/>
                  <a:pt x="236" y="191"/>
                  <a:pt x="236" y="191"/>
                </a:cubicBezTo>
                <a:close/>
                <a:moveTo>
                  <a:pt x="256" y="200"/>
                </a:moveTo>
                <a:cubicBezTo>
                  <a:pt x="255" y="200"/>
                  <a:pt x="255" y="200"/>
                  <a:pt x="254" y="200"/>
                </a:cubicBezTo>
                <a:cubicBezTo>
                  <a:pt x="236" y="200"/>
                  <a:pt x="236" y="200"/>
                  <a:pt x="236" y="200"/>
                </a:cubicBezTo>
                <a:cubicBezTo>
                  <a:pt x="236" y="231"/>
                  <a:pt x="236" y="231"/>
                  <a:pt x="236" y="231"/>
                </a:cubicBezTo>
                <a:cubicBezTo>
                  <a:pt x="236" y="236"/>
                  <a:pt x="234" y="241"/>
                  <a:pt x="230" y="244"/>
                </a:cubicBezTo>
                <a:cubicBezTo>
                  <a:pt x="227" y="248"/>
                  <a:pt x="222" y="250"/>
                  <a:pt x="217" y="250"/>
                </a:cubicBezTo>
                <a:cubicBezTo>
                  <a:pt x="120" y="250"/>
                  <a:pt x="120" y="250"/>
                  <a:pt x="120" y="250"/>
                </a:cubicBezTo>
                <a:cubicBezTo>
                  <a:pt x="115" y="250"/>
                  <a:pt x="111" y="248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7" y="244"/>
                  <a:pt x="107" y="244"/>
                  <a:pt x="107" y="244"/>
                </a:cubicBezTo>
                <a:cubicBezTo>
                  <a:pt x="104" y="241"/>
                  <a:pt x="102" y="236"/>
                  <a:pt x="102" y="231"/>
                </a:cubicBezTo>
                <a:cubicBezTo>
                  <a:pt x="102" y="200"/>
                  <a:pt x="102" y="200"/>
                  <a:pt x="102" y="200"/>
                </a:cubicBezTo>
                <a:cubicBezTo>
                  <a:pt x="82" y="200"/>
                  <a:pt x="82" y="200"/>
                  <a:pt x="82" y="200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82" y="253"/>
                  <a:pt x="84" y="259"/>
                  <a:pt x="89" y="263"/>
                </a:cubicBezTo>
                <a:cubicBezTo>
                  <a:pt x="89" y="263"/>
                  <a:pt x="89" y="263"/>
                  <a:pt x="89" y="263"/>
                </a:cubicBezTo>
                <a:cubicBezTo>
                  <a:pt x="93" y="267"/>
                  <a:pt x="99" y="270"/>
                  <a:pt x="105" y="270"/>
                </a:cubicBezTo>
                <a:cubicBezTo>
                  <a:pt x="233" y="270"/>
                  <a:pt x="233" y="270"/>
                  <a:pt x="233" y="270"/>
                </a:cubicBezTo>
                <a:cubicBezTo>
                  <a:pt x="239" y="270"/>
                  <a:pt x="245" y="267"/>
                  <a:pt x="249" y="263"/>
                </a:cubicBezTo>
                <a:cubicBezTo>
                  <a:pt x="249" y="263"/>
                  <a:pt x="249" y="263"/>
                  <a:pt x="249" y="263"/>
                </a:cubicBezTo>
                <a:cubicBezTo>
                  <a:pt x="253" y="259"/>
                  <a:pt x="256" y="253"/>
                  <a:pt x="256" y="246"/>
                </a:cubicBezTo>
                <a:cubicBezTo>
                  <a:pt x="256" y="200"/>
                  <a:pt x="256" y="200"/>
                  <a:pt x="256" y="200"/>
                </a:cubicBezTo>
                <a:close/>
                <a:moveTo>
                  <a:pt x="236" y="165"/>
                </a:moveTo>
                <a:cubicBezTo>
                  <a:pt x="254" y="165"/>
                  <a:pt x="254" y="165"/>
                  <a:pt x="254" y="165"/>
                </a:cubicBezTo>
                <a:cubicBezTo>
                  <a:pt x="255" y="165"/>
                  <a:pt x="255" y="165"/>
                  <a:pt x="256" y="165"/>
                </a:cubicBezTo>
                <a:cubicBezTo>
                  <a:pt x="256" y="119"/>
                  <a:pt x="256" y="119"/>
                  <a:pt x="256" y="119"/>
                </a:cubicBezTo>
                <a:cubicBezTo>
                  <a:pt x="256" y="113"/>
                  <a:pt x="253" y="107"/>
                  <a:pt x="249" y="103"/>
                </a:cubicBezTo>
                <a:cubicBezTo>
                  <a:pt x="245" y="98"/>
                  <a:pt x="239" y="96"/>
                  <a:pt x="233" y="96"/>
                </a:cubicBezTo>
                <a:cubicBezTo>
                  <a:pt x="105" y="96"/>
                  <a:pt x="105" y="96"/>
                  <a:pt x="105" y="96"/>
                </a:cubicBezTo>
                <a:cubicBezTo>
                  <a:pt x="99" y="96"/>
                  <a:pt x="93" y="98"/>
                  <a:pt x="89" y="103"/>
                </a:cubicBezTo>
                <a:cubicBezTo>
                  <a:pt x="84" y="107"/>
                  <a:pt x="82" y="113"/>
                  <a:pt x="82" y="119"/>
                </a:cubicBezTo>
                <a:cubicBezTo>
                  <a:pt x="82" y="165"/>
                  <a:pt x="82" y="165"/>
                  <a:pt x="8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29"/>
                  <a:pt x="104" y="124"/>
                  <a:pt x="107" y="121"/>
                </a:cubicBezTo>
                <a:cubicBezTo>
                  <a:pt x="111" y="118"/>
                  <a:pt x="115" y="116"/>
                  <a:pt x="120" y="116"/>
                </a:cubicBezTo>
                <a:cubicBezTo>
                  <a:pt x="217" y="116"/>
                  <a:pt x="217" y="116"/>
                  <a:pt x="217" y="116"/>
                </a:cubicBezTo>
                <a:cubicBezTo>
                  <a:pt x="222" y="116"/>
                  <a:pt x="227" y="118"/>
                  <a:pt x="230" y="121"/>
                </a:cubicBezTo>
                <a:cubicBezTo>
                  <a:pt x="230" y="121"/>
                  <a:pt x="230" y="121"/>
                  <a:pt x="230" y="121"/>
                </a:cubicBezTo>
                <a:cubicBezTo>
                  <a:pt x="234" y="124"/>
                  <a:pt x="236" y="129"/>
                  <a:pt x="236" y="134"/>
                </a:cubicBezTo>
                <a:cubicBezTo>
                  <a:pt x="236" y="165"/>
                  <a:pt x="236" y="165"/>
                  <a:pt x="236" y="165"/>
                </a:cubicBezTo>
                <a:close/>
                <a:moveTo>
                  <a:pt x="82" y="191"/>
                </a:moveTo>
                <a:cubicBezTo>
                  <a:pt x="102" y="191"/>
                  <a:pt x="102" y="191"/>
                  <a:pt x="102" y="191"/>
                </a:cubicBezTo>
                <a:cubicBezTo>
                  <a:pt x="102" y="175"/>
                  <a:pt x="102" y="175"/>
                  <a:pt x="102" y="175"/>
                </a:cubicBezTo>
                <a:cubicBezTo>
                  <a:pt x="82" y="175"/>
                  <a:pt x="82" y="175"/>
                  <a:pt x="82" y="175"/>
                </a:cubicBezTo>
                <a:cubicBezTo>
                  <a:pt x="82" y="191"/>
                  <a:pt x="82" y="191"/>
                  <a:pt x="82" y="191"/>
                </a:cubicBezTo>
                <a:close/>
                <a:moveTo>
                  <a:pt x="207" y="211"/>
                </a:moveTo>
                <a:cubicBezTo>
                  <a:pt x="201" y="211"/>
                  <a:pt x="197" y="216"/>
                  <a:pt x="197" y="221"/>
                </a:cubicBezTo>
                <a:cubicBezTo>
                  <a:pt x="197" y="227"/>
                  <a:pt x="201" y="231"/>
                  <a:pt x="207" y="231"/>
                </a:cubicBezTo>
                <a:cubicBezTo>
                  <a:pt x="213" y="231"/>
                  <a:pt x="217" y="227"/>
                  <a:pt x="217" y="221"/>
                </a:cubicBezTo>
                <a:cubicBezTo>
                  <a:pt x="217" y="216"/>
                  <a:pt x="213" y="211"/>
                  <a:pt x="207" y="211"/>
                </a:cubicBezTo>
                <a:close/>
                <a:moveTo>
                  <a:pt x="181" y="211"/>
                </a:moveTo>
                <a:cubicBezTo>
                  <a:pt x="175" y="211"/>
                  <a:pt x="171" y="216"/>
                  <a:pt x="171" y="221"/>
                </a:cubicBezTo>
                <a:cubicBezTo>
                  <a:pt x="171" y="227"/>
                  <a:pt x="175" y="231"/>
                  <a:pt x="181" y="231"/>
                </a:cubicBezTo>
                <a:cubicBezTo>
                  <a:pt x="187" y="231"/>
                  <a:pt x="191" y="227"/>
                  <a:pt x="191" y="221"/>
                </a:cubicBezTo>
                <a:cubicBezTo>
                  <a:pt x="191" y="216"/>
                  <a:pt x="187" y="211"/>
                  <a:pt x="181" y="211"/>
                </a:cubicBezTo>
                <a:close/>
                <a:moveTo>
                  <a:pt x="155" y="211"/>
                </a:moveTo>
                <a:cubicBezTo>
                  <a:pt x="149" y="211"/>
                  <a:pt x="145" y="216"/>
                  <a:pt x="145" y="221"/>
                </a:cubicBezTo>
                <a:cubicBezTo>
                  <a:pt x="145" y="227"/>
                  <a:pt x="149" y="231"/>
                  <a:pt x="155" y="231"/>
                </a:cubicBezTo>
                <a:cubicBezTo>
                  <a:pt x="161" y="231"/>
                  <a:pt x="165" y="227"/>
                  <a:pt x="165" y="221"/>
                </a:cubicBezTo>
                <a:cubicBezTo>
                  <a:pt x="165" y="216"/>
                  <a:pt x="161" y="211"/>
                  <a:pt x="155" y="211"/>
                </a:cubicBezTo>
                <a:close/>
                <a:moveTo>
                  <a:pt x="129" y="211"/>
                </a:moveTo>
                <a:cubicBezTo>
                  <a:pt x="124" y="211"/>
                  <a:pt x="119" y="216"/>
                  <a:pt x="119" y="221"/>
                </a:cubicBezTo>
                <a:cubicBezTo>
                  <a:pt x="119" y="227"/>
                  <a:pt x="124" y="231"/>
                  <a:pt x="129" y="231"/>
                </a:cubicBezTo>
                <a:cubicBezTo>
                  <a:pt x="135" y="231"/>
                  <a:pt x="139" y="227"/>
                  <a:pt x="139" y="221"/>
                </a:cubicBezTo>
                <a:cubicBezTo>
                  <a:pt x="139" y="216"/>
                  <a:pt x="135" y="211"/>
                  <a:pt x="129" y="211"/>
                </a:cubicBezTo>
                <a:close/>
                <a:moveTo>
                  <a:pt x="207" y="186"/>
                </a:moveTo>
                <a:cubicBezTo>
                  <a:pt x="201" y="186"/>
                  <a:pt x="197" y="190"/>
                  <a:pt x="197" y="196"/>
                </a:cubicBezTo>
                <a:cubicBezTo>
                  <a:pt x="197" y="202"/>
                  <a:pt x="201" y="206"/>
                  <a:pt x="207" y="206"/>
                </a:cubicBezTo>
                <a:cubicBezTo>
                  <a:pt x="213" y="206"/>
                  <a:pt x="217" y="202"/>
                  <a:pt x="217" y="196"/>
                </a:cubicBezTo>
                <a:cubicBezTo>
                  <a:pt x="217" y="190"/>
                  <a:pt x="213" y="186"/>
                  <a:pt x="207" y="186"/>
                </a:cubicBezTo>
                <a:close/>
                <a:moveTo>
                  <a:pt x="181" y="186"/>
                </a:moveTo>
                <a:cubicBezTo>
                  <a:pt x="175" y="186"/>
                  <a:pt x="171" y="190"/>
                  <a:pt x="171" y="196"/>
                </a:cubicBezTo>
                <a:cubicBezTo>
                  <a:pt x="171" y="202"/>
                  <a:pt x="175" y="206"/>
                  <a:pt x="181" y="206"/>
                </a:cubicBezTo>
                <a:cubicBezTo>
                  <a:pt x="187" y="206"/>
                  <a:pt x="191" y="202"/>
                  <a:pt x="191" y="196"/>
                </a:cubicBezTo>
                <a:cubicBezTo>
                  <a:pt x="191" y="190"/>
                  <a:pt x="187" y="186"/>
                  <a:pt x="181" y="186"/>
                </a:cubicBezTo>
                <a:close/>
                <a:moveTo>
                  <a:pt x="155" y="186"/>
                </a:moveTo>
                <a:cubicBezTo>
                  <a:pt x="149" y="186"/>
                  <a:pt x="145" y="190"/>
                  <a:pt x="145" y="196"/>
                </a:cubicBezTo>
                <a:cubicBezTo>
                  <a:pt x="145" y="202"/>
                  <a:pt x="149" y="206"/>
                  <a:pt x="155" y="206"/>
                </a:cubicBezTo>
                <a:cubicBezTo>
                  <a:pt x="161" y="206"/>
                  <a:pt x="165" y="202"/>
                  <a:pt x="165" y="196"/>
                </a:cubicBezTo>
                <a:cubicBezTo>
                  <a:pt x="165" y="190"/>
                  <a:pt x="161" y="186"/>
                  <a:pt x="155" y="186"/>
                </a:cubicBezTo>
                <a:close/>
                <a:moveTo>
                  <a:pt x="129" y="186"/>
                </a:moveTo>
                <a:cubicBezTo>
                  <a:pt x="124" y="186"/>
                  <a:pt x="119" y="190"/>
                  <a:pt x="119" y="196"/>
                </a:cubicBezTo>
                <a:cubicBezTo>
                  <a:pt x="119" y="202"/>
                  <a:pt x="124" y="206"/>
                  <a:pt x="129" y="206"/>
                </a:cubicBezTo>
                <a:cubicBezTo>
                  <a:pt x="135" y="206"/>
                  <a:pt x="139" y="202"/>
                  <a:pt x="139" y="196"/>
                </a:cubicBezTo>
                <a:cubicBezTo>
                  <a:pt x="139" y="190"/>
                  <a:pt x="135" y="186"/>
                  <a:pt x="129" y="186"/>
                </a:cubicBezTo>
                <a:close/>
                <a:moveTo>
                  <a:pt x="207" y="160"/>
                </a:moveTo>
                <a:cubicBezTo>
                  <a:pt x="201" y="160"/>
                  <a:pt x="197" y="165"/>
                  <a:pt x="197" y="170"/>
                </a:cubicBezTo>
                <a:cubicBezTo>
                  <a:pt x="197" y="176"/>
                  <a:pt x="201" y="181"/>
                  <a:pt x="207" y="181"/>
                </a:cubicBezTo>
                <a:cubicBezTo>
                  <a:pt x="213" y="181"/>
                  <a:pt x="217" y="176"/>
                  <a:pt x="217" y="170"/>
                </a:cubicBezTo>
                <a:cubicBezTo>
                  <a:pt x="217" y="165"/>
                  <a:pt x="213" y="160"/>
                  <a:pt x="207" y="160"/>
                </a:cubicBezTo>
                <a:close/>
                <a:moveTo>
                  <a:pt x="181" y="160"/>
                </a:moveTo>
                <a:cubicBezTo>
                  <a:pt x="175" y="160"/>
                  <a:pt x="171" y="165"/>
                  <a:pt x="171" y="170"/>
                </a:cubicBezTo>
                <a:cubicBezTo>
                  <a:pt x="171" y="176"/>
                  <a:pt x="175" y="181"/>
                  <a:pt x="181" y="181"/>
                </a:cubicBezTo>
                <a:cubicBezTo>
                  <a:pt x="187" y="181"/>
                  <a:pt x="191" y="176"/>
                  <a:pt x="191" y="170"/>
                </a:cubicBezTo>
                <a:cubicBezTo>
                  <a:pt x="191" y="165"/>
                  <a:pt x="187" y="160"/>
                  <a:pt x="181" y="160"/>
                </a:cubicBezTo>
                <a:close/>
                <a:moveTo>
                  <a:pt x="155" y="160"/>
                </a:moveTo>
                <a:cubicBezTo>
                  <a:pt x="149" y="160"/>
                  <a:pt x="145" y="165"/>
                  <a:pt x="145" y="170"/>
                </a:cubicBezTo>
                <a:cubicBezTo>
                  <a:pt x="145" y="176"/>
                  <a:pt x="149" y="181"/>
                  <a:pt x="155" y="181"/>
                </a:cubicBezTo>
                <a:cubicBezTo>
                  <a:pt x="161" y="181"/>
                  <a:pt x="165" y="176"/>
                  <a:pt x="165" y="170"/>
                </a:cubicBezTo>
                <a:cubicBezTo>
                  <a:pt x="165" y="165"/>
                  <a:pt x="161" y="160"/>
                  <a:pt x="155" y="160"/>
                </a:cubicBezTo>
                <a:close/>
                <a:moveTo>
                  <a:pt x="129" y="160"/>
                </a:moveTo>
                <a:cubicBezTo>
                  <a:pt x="124" y="160"/>
                  <a:pt x="119" y="165"/>
                  <a:pt x="119" y="170"/>
                </a:cubicBezTo>
                <a:cubicBezTo>
                  <a:pt x="119" y="176"/>
                  <a:pt x="124" y="181"/>
                  <a:pt x="129" y="181"/>
                </a:cubicBezTo>
                <a:cubicBezTo>
                  <a:pt x="135" y="181"/>
                  <a:pt x="139" y="176"/>
                  <a:pt x="139" y="170"/>
                </a:cubicBezTo>
                <a:cubicBezTo>
                  <a:pt x="139" y="165"/>
                  <a:pt x="135" y="160"/>
                  <a:pt x="129" y="160"/>
                </a:cubicBezTo>
                <a:close/>
                <a:moveTo>
                  <a:pt x="207" y="135"/>
                </a:moveTo>
                <a:cubicBezTo>
                  <a:pt x="201" y="135"/>
                  <a:pt x="197" y="139"/>
                  <a:pt x="197" y="145"/>
                </a:cubicBezTo>
                <a:cubicBezTo>
                  <a:pt x="197" y="151"/>
                  <a:pt x="201" y="155"/>
                  <a:pt x="207" y="155"/>
                </a:cubicBezTo>
                <a:cubicBezTo>
                  <a:pt x="213" y="155"/>
                  <a:pt x="217" y="151"/>
                  <a:pt x="217" y="145"/>
                </a:cubicBezTo>
                <a:cubicBezTo>
                  <a:pt x="217" y="139"/>
                  <a:pt x="213" y="135"/>
                  <a:pt x="207" y="135"/>
                </a:cubicBezTo>
                <a:close/>
                <a:moveTo>
                  <a:pt x="181" y="135"/>
                </a:moveTo>
                <a:cubicBezTo>
                  <a:pt x="175" y="135"/>
                  <a:pt x="171" y="139"/>
                  <a:pt x="171" y="145"/>
                </a:cubicBezTo>
                <a:cubicBezTo>
                  <a:pt x="171" y="151"/>
                  <a:pt x="175" y="155"/>
                  <a:pt x="181" y="155"/>
                </a:cubicBezTo>
                <a:cubicBezTo>
                  <a:pt x="187" y="155"/>
                  <a:pt x="191" y="151"/>
                  <a:pt x="191" y="145"/>
                </a:cubicBezTo>
                <a:cubicBezTo>
                  <a:pt x="191" y="139"/>
                  <a:pt x="187" y="135"/>
                  <a:pt x="181" y="135"/>
                </a:cubicBezTo>
                <a:close/>
                <a:moveTo>
                  <a:pt x="155" y="135"/>
                </a:moveTo>
                <a:cubicBezTo>
                  <a:pt x="149" y="135"/>
                  <a:pt x="145" y="139"/>
                  <a:pt x="145" y="145"/>
                </a:cubicBezTo>
                <a:cubicBezTo>
                  <a:pt x="145" y="151"/>
                  <a:pt x="149" y="155"/>
                  <a:pt x="155" y="155"/>
                </a:cubicBezTo>
                <a:cubicBezTo>
                  <a:pt x="161" y="155"/>
                  <a:pt x="165" y="151"/>
                  <a:pt x="165" y="145"/>
                </a:cubicBezTo>
                <a:cubicBezTo>
                  <a:pt x="165" y="139"/>
                  <a:pt x="161" y="135"/>
                  <a:pt x="155" y="135"/>
                </a:cubicBezTo>
                <a:close/>
                <a:moveTo>
                  <a:pt x="129" y="135"/>
                </a:moveTo>
                <a:cubicBezTo>
                  <a:pt x="124" y="135"/>
                  <a:pt x="119" y="139"/>
                  <a:pt x="119" y="145"/>
                </a:cubicBezTo>
                <a:cubicBezTo>
                  <a:pt x="119" y="151"/>
                  <a:pt x="124" y="155"/>
                  <a:pt x="129" y="155"/>
                </a:cubicBezTo>
                <a:cubicBezTo>
                  <a:pt x="135" y="155"/>
                  <a:pt x="139" y="151"/>
                  <a:pt x="139" y="145"/>
                </a:cubicBezTo>
                <a:cubicBezTo>
                  <a:pt x="139" y="139"/>
                  <a:pt x="135" y="135"/>
                  <a:pt x="129" y="135"/>
                </a:cubicBezTo>
                <a:close/>
                <a:moveTo>
                  <a:pt x="56" y="12"/>
                </a:moveTo>
                <a:cubicBezTo>
                  <a:pt x="54" y="11"/>
                  <a:pt x="52" y="10"/>
                  <a:pt x="50" y="10"/>
                </a:cubicBezTo>
                <a:cubicBezTo>
                  <a:pt x="48" y="10"/>
                  <a:pt x="46" y="11"/>
                  <a:pt x="45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3" y="13"/>
                  <a:pt x="43" y="15"/>
                  <a:pt x="43" y="17"/>
                </a:cubicBezTo>
                <a:cubicBezTo>
                  <a:pt x="43" y="20"/>
                  <a:pt x="43" y="21"/>
                  <a:pt x="45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6" y="24"/>
                  <a:pt x="48" y="25"/>
                  <a:pt x="50" y="25"/>
                </a:cubicBezTo>
                <a:cubicBezTo>
                  <a:pt x="52" y="25"/>
                  <a:pt x="54" y="24"/>
                  <a:pt x="56" y="23"/>
                </a:cubicBezTo>
                <a:cubicBezTo>
                  <a:pt x="56" y="23"/>
                  <a:pt x="56" y="23"/>
                  <a:pt x="56" y="23"/>
                </a:cubicBezTo>
                <a:cubicBezTo>
                  <a:pt x="57" y="21"/>
                  <a:pt x="58" y="20"/>
                  <a:pt x="58" y="17"/>
                </a:cubicBezTo>
                <a:cubicBezTo>
                  <a:pt x="58" y="15"/>
                  <a:pt x="57" y="13"/>
                  <a:pt x="5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9" name="Conector reto 148"/>
          <p:cNvCxnSpPr/>
          <p:nvPr/>
        </p:nvCxnSpPr>
        <p:spPr>
          <a:xfrm>
            <a:off x="17958203" y="8139128"/>
            <a:ext cx="2992666" cy="0"/>
          </a:xfrm>
          <a:prstGeom prst="line">
            <a:avLst/>
          </a:prstGeom>
          <a:ln w="101600">
            <a:solidFill>
              <a:srgbClr val="ECC5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" name="Agrupar 206"/>
          <p:cNvGrpSpPr/>
          <p:nvPr/>
        </p:nvGrpSpPr>
        <p:grpSpPr>
          <a:xfrm>
            <a:off x="17959065" y="8695929"/>
            <a:ext cx="2939368" cy="2943633"/>
            <a:chOff x="1588" y="0"/>
            <a:chExt cx="1095374" cy="1096963"/>
          </a:xfrm>
          <a:solidFill>
            <a:schemeClr val="bg1">
              <a:alpha val="30000"/>
            </a:schemeClr>
          </a:solidFill>
        </p:grpSpPr>
        <p:sp>
          <p:nvSpPr>
            <p:cNvPr id="153" name="Freeform 70"/>
            <p:cNvSpPr>
              <a:spLocks noEditPoints="1"/>
            </p:cNvSpPr>
            <p:nvPr/>
          </p:nvSpPr>
          <p:spPr bwMode="auto">
            <a:xfrm>
              <a:off x="1588" y="0"/>
              <a:ext cx="1095374" cy="1096963"/>
            </a:xfrm>
            <a:custGeom>
              <a:avLst/>
              <a:gdLst>
                <a:gd name="T0" fmla="*/ 690 w 690"/>
                <a:gd name="T1" fmla="*/ 691 h 691"/>
                <a:gd name="T2" fmla="*/ 0 w 690"/>
                <a:gd name="T3" fmla="*/ 691 h 691"/>
                <a:gd name="T4" fmla="*/ 0 w 690"/>
                <a:gd name="T5" fmla="*/ 0 h 691"/>
                <a:gd name="T6" fmla="*/ 690 w 690"/>
                <a:gd name="T7" fmla="*/ 0 h 691"/>
                <a:gd name="T8" fmla="*/ 690 w 690"/>
                <a:gd name="T9" fmla="*/ 691 h 691"/>
                <a:gd name="T10" fmla="*/ 22 w 690"/>
                <a:gd name="T11" fmla="*/ 669 h 691"/>
                <a:gd name="T12" fmla="*/ 668 w 690"/>
                <a:gd name="T13" fmla="*/ 669 h 691"/>
                <a:gd name="T14" fmla="*/ 668 w 690"/>
                <a:gd name="T15" fmla="*/ 22 h 691"/>
                <a:gd name="T16" fmla="*/ 22 w 690"/>
                <a:gd name="T17" fmla="*/ 22 h 691"/>
                <a:gd name="T18" fmla="*/ 22 w 690"/>
                <a:gd name="T19" fmla="*/ 669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0" h="691">
                  <a:moveTo>
                    <a:pt x="690" y="691"/>
                  </a:moveTo>
                  <a:lnTo>
                    <a:pt x="0" y="691"/>
                  </a:lnTo>
                  <a:lnTo>
                    <a:pt x="0" y="0"/>
                  </a:lnTo>
                  <a:lnTo>
                    <a:pt x="690" y="0"/>
                  </a:lnTo>
                  <a:lnTo>
                    <a:pt x="690" y="691"/>
                  </a:lnTo>
                  <a:close/>
                  <a:moveTo>
                    <a:pt x="22" y="669"/>
                  </a:moveTo>
                  <a:lnTo>
                    <a:pt x="668" y="669"/>
                  </a:lnTo>
                  <a:lnTo>
                    <a:pt x="668" y="22"/>
                  </a:lnTo>
                  <a:lnTo>
                    <a:pt x="22" y="22"/>
                  </a:lnTo>
                  <a:lnTo>
                    <a:pt x="22" y="6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Rectangle 71"/>
            <p:cNvSpPr>
              <a:spLocks noChangeArrowheads="1"/>
            </p:cNvSpPr>
            <p:nvPr/>
          </p:nvSpPr>
          <p:spPr bwMode="auto">
            <a:xfrm>
              <a:off x="55679" y="136525"/>
              <a:ext cx="996454" cy="4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Rectangle 72"/>
            <p:cNvSpPr>
              <a:spLocks noChangeArrowheads="1"/>
            </p:cNvSpPr>
            <p:nvPr/>
          </p:nvSpPr>
          <p:spPr bwMode="auto">
            <a:xfrm>
              <a:off x="69850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Rectangle 73"/>
            <p:cNvSpPr>
              <a:spLocks noChangeArrowheads="1"/>
            </p:cNvSpPr>
            <p:nvPr/>
          </p:nvSpPr>
          <p:spPr bwMode="auto">
            <a:xfrm>
              <a:off x="138113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Rectangle 74"/>
            <p:cNvSpPr>
              <a:spLocks noChangeArrowheads="1"/>
            </p:cNvSpPr>
            <p:nvPr/>
          </p:nvSpPr>
          <p:spPr bwMode="auto">
            <a:xfrm>
              <a:off x="206375" y="682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Rectangle 76"/>
            <p:cNvSpPr>
              <a:spLocks noChangeArrowheads="1"/>
            </p:cNvSpPr>
            <p:nvPr/>
          </p:nvSpPr>
          <p:spPr bwMode="auto">
            <a:xfrm>
              <a:off x="344488" y="68263"/>
              <a:ext cx="684212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77"/>
            <p:cNvSpPr>
              <a:spLocks noEditPoints="1"/>
            </p:cNvSpPr>
            <p:nvPr/>
          </p:nvSpPr>
          <p:spPr bwMode="auto">
            <a:xfrm>
              <a:off x="258763" y="393700"/>
              <a:ext cx="581025" cy="446088"/>
            </a:xfrm>
            <a:custGeom>
              <a:avLst/>
              <a:gdLst>
                <a:gd name="T0" fmla="*/ 132 w 136"/>
                <a:gd name="T1" fmla="*/ 104 h 104"/>
                <a:gd name="T2" fmla="*/ 4 w 136"/>
                <a:gd name="T3" fmla="*/ 104 h 104"/>
                <a:gd name="T4" fmla="*/ 0 w 136"/>
                <a:gd name="T5" fmla="*/ 102 h 104"/>
                <a:gd name="T6" fmla="*/ 1 w 136"/>
                <a:gd name="T7" fmla="*/ 98 h 104"/>
                <a:gd name="T8" fmla="*/ 65 w 136"/>
                <a:gd name="T9" fmla="*/ 2 h 104"/>
                <a:gd name="T10" fmla="*/ 71 w 136"/>
                <a:gd name="T11" fmla="*/ 2 h 104"/>
                <a:gd name="T12" fmla="*/ 135 w 136"/>
                <a:gd name="T13" fmla="*/ 98 h 104"/>
                <a:gd name="T14" fmla="*/ 136 w 136"/>
                <a:gd name="T15" fmla="*/ 102 h 104"/>
                <a:gd name="T16" fmla="*/ 132 w 136"/>
                <a:gd name="T17" fmla="*/ 104 h 104"/>
                <a:gd name="T18" fmla="*/ 11 w 136"/>
                <a:gd name="T19" fmla="*/ 96 h 104"/>
                <a:gd name="T20" fmla="*/ 125 w 136"/>
                <a:gd name="T21" fmla="*/ 96 h 104"/>
                <a:gd name="T22" fmla="*/ 68 w 136"/>
                <a:gd name="T23" fmla="*/ 11 h 104"/>
                <a:gd name="T24" fmla="*/ 11 w 136"/>
                <a:gd name="T25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104">
                  <a:moveTo>
                    <a:pt x="132" y="104"/>
                  </a:moveTo>
                  <a:cubicBezTo>
                    <a:pt x="4" y="104"/>
                    <a:pt x="4" y="104"/>
                    <a:pt x="4" y="104"/>
                  </a:cubicBezTo>
                  <a:cubicBezTo>
                    <a:pt x="3" y="104"/>
                    <a:pt x="1" y="103"/>
                    <a:pt x="0" y="102"/>
                  </a:cubicBezTo>
                  <a:cubicBezTo>
                    <a:pt x="0" y="101"/>
                    <a:pt x="0" y="99"/>
                    <a:pt x="1" y="98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0"/>
                    <a:pt x="70" y="0"/>
                    <a:pt x="71" y="2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36" y="99"/>
                    <a:pt x="136" y="101"/>
                    <a:pt x="136" y="102"/>
                  </a:cubicBezTo>
                  <a:cubicBezTo>
                    <a:pt x="135" y="103"/>
                    <a:pt x="133" y="104"/>
                    <a:pt x="132" y="104"/>
                  </a:cubicBezTo>
                  <a:close/>
                  <a:moveTo>
                    <a:pt x="11" y="96"/>
                  </a:moveTo>
                  <a:cubicBezTo>
                    <a:pt x="125" y="96"/>
                    <a:pt x="125" y="96"/>
                    <a:pt x="125" y="96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11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Rectangle 78"/>
            <p:cNvSpPr>
              <a:spLocks noChangeArrowheads="1"/>
            </p:cNvSpPr>
            <p:nvPr/>
          </p:nvSpPr>
          <p:spPr bwMode="auto">
            <a:xfrm>
              <a:off x="531813" y="547688"/>
              <a:ext cx="3492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Rectangle 79"/>
            <p:cNvSpPr>
              <a:spLocks noChangeArrowheads="1"/>
            </p:cNvSpPr>
            <p:nvPr/>
          </p:nvSpPr>
          <p:spPr bwMode="auto">
            <a:xfrm>
              <a:off x="531813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Rectangle 80"/>
            <p:cNvSpPr>
              <a:spLocks noChangeArrowheads="1"/>
            </p:cNvSpPr>
            <p:nvPr/>
          </p:nvSpPr>
          <p:spPr bwMode="auto">
            <a:xfrm>
              <a:off x="1206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Rectangle 81"/>
            <p:cNvSpPr>
              <a:spLocks noChangeArrowheads="1"/>
            </p:cNvSpPr>
            <p:nvPr/>
          </p:nvSpPr>
          <p:spPr bwMode="auto">
            <a:xfrm>
              <a:off x="25876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Rectangle 82"/>
            <p:cNvSpPr>
              <a:spLocks noChangeArrowheads="1"/>
            </p:cNvSpPr>
            <p:nvPr/>
          </p:nvSpPr>
          <p:spPr bwMode="auto">
            <a:xfrm>
              <a:off x="32702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Rectangle 83"/>
            <p:cNvSpPr>
              <a:spLocks noChangeArrowheads="1"/>
            </p:cNvSpPr>
            <p:nvPr/>
          </p:nvSpPr>
          <p:spPr bwMode="auto">
            <a:xfrm>
              <a:off x="395288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Rectangle 84"/>
            <p:cNvSpPr>
              <a:spLocks noChangeArrowheads="1"/>
            </p:cNvSpPr>
            <p:nvPr/>
          </p:nvSpPr>
          <p:spPr bwMode="auto">
            <a:xfrm>
              <a:off x="46355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85"/>
            <p:cNvSpPr>
              <a:spLocks noChangeArrowheads="1"/>
            </p:cNvSpPr>
            <p:nvPr/>
          </p:nvSpPr>
          <p:spPr bwMode="auto">
            <a:xfrm>
              <a:off x="531813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86"/>
            <p:cNvSpPr>
              <a:spLocks noChangeArrowheads="1"/>
            </p:cNvSpPr>
            <p:nvPr/>
          </p:nvSpPr>
          <p:spPr bwMode="auto">
            <a:xfrm>
              <a:off x="600075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87"/>
            <p:cNvSpPr>
              <a:spLocks noChangeArrowheads="1"/>
            </p:cNvSpPr>
            <p:nvPr/>
          </p:nvSpPr>
          <p:spPr bwMode="auto">
            <a:xfrm>
              <a:off x="668338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Rectangle 88"/>
            <p:cNvSpPr>
              <a:spLocks noChangeArrowheads="1"/>
            </p:cNvSpPr>
            <p:nvPr/>
          </p:nvSpPr>
          <p:spPr bwMode="auto">
            <a:xfrm>
              <a:off x="736600" y="2571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89"/>
            <p:cNvSpPr>
              <a:spLocks noChangeArrowheads="1"/>
            </p:cNvSpPr>
            <p:nvPr/>
          </p:nvSpPr>
          <p:spPr bwMode="auto">
            <a:xfrm>
              <a:off x="80645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ectangle 90"/>
            <p:cNvSpPr>
              <a:spLocks noChangeArrowheads="1"/>
            </p:cNvSpPr>
            <p:nvPr/>
          </p:nvSpPr>
          <p:spPr bwMode="auto">
            <a:xfrm>
              <a:off x="874713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Rectangle 91"/>
            <p:cNvSpPr>
              <a:spLocks noChangeArrowheads="1"/>
            </p:cNvSpPr>
            <p:nvPr/>
          </p:nvSpPr>
          <p:spPr bwMode="auto">
            <a:xfrm>
              <a:off x="190500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Rectangle 92"/>
            <p:cNvSpPr>
              <a:spLocks noChangeArrowheads="1"/>
            </p:cNvSpPr>
            <p:nvPr/>
          </p:nvSpPr>
          <p:spPr bwMode="auto">
            <a:xfrm>
              <a:off x="942975" y="2571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Rectangle 93"/>
            <p:cNvSpPr>
              <a:spLocks noChangeArrowheads="1"/>
            </p:cNvSpPr>
            <p:nvPr/>
          </p:nvSpPr>
          <p:spPr bwMode="auto">
            <a:xfrm>
              <a:off x="1206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Rectangle 94"/>
            <p:cNvSpPr>
              <a:spLocks noChangeArrowheads="1"/>
            </p:cNvSpPr>
            <p:nvPr/>
          </p:nvSpPr>
          <p:spPr bwMode="auto">
            <a:xfrm>
              <a:off x="25876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Rectangle 95"/>
            <p:cNvSpPr>
              <a:spLocks noChangeArrowheads="1"/>
            </p:cNvSpPr>
            <p:nvPr/>
          </p:nvSpPr>
          <p:spPr bwMode="auto">
            <a:xfrm>
              <a:off x="19050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Rectangle 96"/>
            <p:cNvSpPr>
              <a:spLocks noChangeArrowheads="1"/>
            </p:cNvSpPr>
            <p:nvPr/>
          </p:nvSpPr>
          <p:spPr bwMode="auto">
            <a:xfrm>
              <a:off x="874713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Rectangle 97"/>
            <p:cNvSpPr>
              <a:spLocks noChangeArrowheads="1"/>
            </p:cNvSpPr>
            <p:nvPr/>
          </p:nvSpPr>
          <p:spPr bwMode="auto">
            <a:xfrm>
              <a:off x="32702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Rectangle 98"/>
            <p:cNvSpPr>
              <a:spLocks noChangeArrowheads="1"/>
            </p:cNvSpPr>
            <p:nvPr/>
          </p:nvSpPr>
          <p:spPr bwMode="auto">
            <a:xfrm>
              <a:off x="395288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Rectangle 99"/>
            <p:cNvSpPr>
              <a:spLocks noChangeArrowheads="1"/>
            </p:cNvSpPr>
            <p:nvPr/>
          </p:nvSpPr>
          <p:spPr bwMode="auto">
            <a:xfrm>
              <a:off x="46355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Rectangle 100"/>
            <p:cNvSpPr>
              <a:spLocks noChangeArrowheads="1"/>
            </p:cNvSpPr>
            <p:nvPr/>
          </p:nvSpPr>
          <p:spPr bwMode="auto">
            <a:xfrm>
              <a:off x="531813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Rectangle 101"/>
            <p:cNvSpPr>
              <a:spLocks noChangeArrowheads="1"/>
            </p:cNvSpPr>
            <p:nvPr/>
          </p:nvSpPr>
          <p:spPr bwMode="auto">
            <a:xfrm>
              <a:off x="600075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Rectangle 102"/>
            <p:cNvSpPr>
              <a:spLocks noChangeArrowheads="1"/>
            </p:cNvSpPr>
            <p:nvPr/>
          </p:nvSpPr>
          <p:spPr bwMode="auto">
            <a:xfrm>
              <a:off x="668338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Rectangle 103"/>
            <p:cNvSpPr>
              <a:spLocks noChangeArrowheads="1"/>
            </p:cNvSpPr>
            <p:nvPr/>
          </p:nvSpPr>
          <p:spPr bwMode="auto">
            <a:xfrm>
              <a:off x="736600" y="9429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Rectangle 104"/>
            <p:cNvSpPr>
              <a:spLocks noChangeArrowheads="1"/>
            </p:cNvSpPr>
            <p:nvPr/>
          </p:nvSpPr>
          <p:spPr bwMode="auto">
            <a:xfrm>
              <a:off x="806450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Rectangle 105"/>
            <p:cNvSpPr>
              <a:spLocks noChangeArrowheads="1"/>
            </p:cNvSpPr>
            <p:nvPr/>
          </p:nvSpPr>
          <p:spPr bwMode="auto">
            <a:xfrm>
              <a:off x="942975" y="9429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Rectangle 106"/>
            <p:cNvSpPr>
              <a:spLocks noChangeArrowheads="1"/>
            </p:cNvSpPr>
            <p:nvPr/>
          </p:nvSpPr>
          <p:spPr bwMode="auto">
            <a:xfrm>
              <a:off x="942975" y="3937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Rectangle 107"/>
            <p:cNvSpPr>
              <a:spLocks noChangeArrowheads="1"/>
            </p:cNvSpPr>
            <p:nvPr/>
          </p:nvSpPr>
          <p:spPr bwMode="auto">
            <a:xfrm>
              <a:off x="942975" y="4619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Rectangle 108"/>
            <p:cNvSpPr>
              <a:spLocks noChangeArrowheads="1"/>
            </p:cNvSpPr>
            <p:nvPr/>
          </p:nvSpPr>
          <p:spPr bwMode="auto">
            <a:xfrm>
              <a:off x="942975" y="531813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Rectangle 109"/>
            <p:cNvSpPr>
              <a:spLocks noChangeArrowheads="1"/>
            </p:cNvSpPr>
            <p:nvPr/>
          </p:nvSpPr>
          <p:spPr bwMode="auto">
            <a:xfrm>
              <a:off x="942975" y="600075"/>
              <a:ext cx="33337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Rectangle 110"/>
            <p:cNvSpPr>
              <a:spLocks noChangeArrowheads="1"/>
            </p:cNvSpPr>
            <p:nvPr/>
          </p:nvSpPr>
          <p:spPr bwMode="auto">
            <a:xfrm>
              <a:off x="942975" y="6683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Rectangle 111"/>
            <p:cNvSpPr>
              <a:spLocks noChangeArrowheads="1"/>
            </p:cNvSpPr>
            <p:nvPr/>
          </p:nvSpPr>
          <p:spPr bwMode="auto">
            <a:xfrm>
              <a:off x="942975" y="73660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Rectangle 112"/>
            <p:cNvSpPr>
              <a:spLocks noChangeArrowheads="1"/>
            </p:cNvSpPr>
            <p:nvPr/>
          </p:nvSpPr>
          <p:spPr bwMode="auto">
            <a:xfrm>
              <a:off x="942975" y="804863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Rectangle 113"/>
            <p:cNvSpPr>
              <a:spLocks noChangeArrowheads="1"/>
            </p:cNvSpPr>
            <p:nvPr/>
          </p:nvSpPr>
          <p:spPr bwMode="auto">
            <a:xfrm>
              <a:off x="942975" y="8731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Rectangle 114"/>
            <p:cNvSpPr>
              <a:spLocks noChangeArrowheads="1"/>
            </p:cNvSpPr>
            <p:nvPr/>
          </p:nvSpPr>
          <p:spPr bwMode="auto">
            <a:xfrm>
              <a:off x="942975" y="32543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Rectangle 115"/>
            <p:cNvSpPr>
              <a:spLocks noChangeArrowheads="1"/>
            </p:cNvSpPr>
            <p:nvPr/>
          </p:nvSpPr>
          <p:spPr bwMode="auto">
            <a:xfrm>
              <a:off x="120650" y="3937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Rectangle 116"/>
            <p:cNvSpPr>
              <a:spLocks noChangeArrowheads="1"/>
            </p:cNvSpPr>
            <p:nvPr/>
          </p:nvSpPr>
          <p:spPr bwMode="auto">
            <a:xfrm>
              <a:off x="120650" y="3254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Rectangle 117"/>
            <p:cNvSpPr>
              <a:spLocks noChangeArrowheads="1"/>
            </p:cNvSpPr>
            <p:nvPr/>
          </p:nvSpPr>
          <p:spPr bwMode="auto">
            <a:xfrm>
              <a:off x="120650" y="4619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Rectangle 118"/>
            <p:cNvSpPr>
              <a:spLocks noChangeArrowheads="1"/>
            </p:cNvSpPr>
            <p:nvPr/>
          </p:nvSpPr>
          <p:spPr bwMode="auto">
            <a:xfrm>
              <a:off x="120650" y="531813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Rectangle 119"/>
            <p:cNvSpPr>
              <a:spLocks noChangeArrowheads="1"/>
            </p:cNvSpPr>
            <p:nvPr/>
          </p:nvSpPr>
          <p:spPr bwMode="auto">
            <a:xfrm>
              <a:off x="120650" y="600075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120"/>
            <p:cNvSpPr>
              <a:spLocks noChangeArrowheads="1"/>
            </p:cNvSpPr>
            <p:nvPr/>
          </p:nvSpPr>
          <p:spPr bwMode="auto">
            <a:xfrm>
              <a:off x="120650" y="668338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Rectangle 121"/>
            <p:cNvSpPr>
              <a:spLocks noChangeArrowheads="1"/>
            </p:cNvSpPr>
            <p:nvPr/>
          </p:nvSpPr>
          <p:spPr bwMode="auto">
            <a:xfrm>
              <a:off x="120650" y="736600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Rectangle 122"/>
            <p:cNvSpPr>
              <a:spLocks noChangeArrowheads="1"/>
            </p:cNvSpPr>
            <p:nvPr/>
          </p:nvSpPr>
          <p:spPr bwMode="auto">
            <a:xfrm>
              <a:off x="120650" y="804863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Rectangle 123"/>
            <p:cNvSpPr>
              <a:spLocks noChangeArrowheads="1"/>
            </p:cNvSpPr>
            <p:nvPr/>
          </p:nvSpPr>
          <p:spPr bwMode="auto">
            <a:xfrm>
              <a:off x="120650" y="873125"/>
              <a:ext cx="34925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3" name="CaixaDeTexto 212"/>
          <p:cNvSpPr txBox="1"/>
          <p:nvPr/>
        </p:nvSpPr>
        <p:spPr>
          <a:xfrm>
            <a:off x="1597754" y="6720876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4" name="CaixaDeTexto 213"/>
          <p:cNvSpPr txBox="1"/>
          <p:nvPr/>
        </p:nvSpPr>
        <p:spPr>
          <a:xfrm>
            <a:off x="20881329" y="7645063"/>
            <a:ext cx="1170127" cy="707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215" name="CaixaDeTexto 214"/>
          <p:cNvSpPr txBox="1"/>
          <p:nvPr/>
        </p:nvSpPr>
        <p:spPr>
          <a:xfrm>
            <a:off x="20509360" y="5903421"/>
            <a:ext cx="1170127" cy="1076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grpSp>
        <p:nvGrpSpPr>
          <p:cNvPr id="227" name="Agrupar 226"/>
          <p:cNvGrpSpPr/>
          <p:nvPr/>
        </p:nvGrpSpPr>
        <p:grpSpPr>
          <a:xfrm>
            <a:off x="21617468" y="6542980"/>
            <a:ext cx="1559704" cy="1564233"/>
            <a:chOff x="6350" y="0"/>
            <a:chExt cx="1093787" cy="1096963"/>
          </a:xfrm>
          <a:solidFill>
            <a:schemeClr val="bg1">
              <a:alpha val="20000"/>
            </a:schemeClr>
          </a:solidFill>
        </p:grpSpPr>
        <p:sp>
          <p:nvSpPr>
            <p:cNvPr id="219" name="Freeform 127"/>
            <p:cNvSpPr>
              <a:spLocks/>
            </p:cNvSpPr>
            <p:nvPr/>
          </p:nvSpPr>
          <p:spPr bwMode="auto">
            <a:xfrm>
              <a:off x="6350" y="0"/>
              <a:ext cx="1093787" cy="719138"/>
            </a:xfrm>
            <a:custGeom>
              <a:avLst/>
              <a:gdLst>
                <a:gd name="T0" fmla="*/ 204 w 256"/>
                <a:gd name="T1" fmla="*/ 168 h 168"/>
                <a:gd name="T2" fmla="*/ 172 w 256"/>
                <a:gd name="T3" fmla="*/ 168 h 168"/>
                <a:gd name="T4" fmla="*/ 172 w 256"/>
                <a:gd name="T5" fmla="*/ 160 h 168"/>
                <a:gd name="T6" fmla="*/ 204 w 256"/>
                <a:gd name="T7" fmla="*/ 160 h 168"/>
                <a:gd name="T8" fmla="*/ 248 w 256"/>
                <a:gd name="T9" fmla="*/ 116 h 168"/>
                <a:gd name="T10" fmla="*/ 212 w 256"/>
                <a:gd name="T11" fmla="*/ 76 h 168"/>
                <a:gd name="T12" fmla="*/ 208 w 256"/>
                <a:gd name="T13" fmla="*/ 76 h 168"/>
                <a:gd name="T14" fmla="*/ 208 w 256"/>
                <a:gd name="T15" fmla="*/ 72 h 168"/>
                <a:gd name="T16" fmla="*/ 176 w 256"/>
                <a:gd name="T17" fmla="*/ 40 h 168"/>
                <a:gd name="T18" fmla="*/ 170 w 256"/>
                <a:gd name="T19" fmla="*/ 40 h 168"/>
                <a:gd name="T20" fmla="*/ 169 w 256"/>
                <a:gd name="T21" fmla="*/ 38 h 168"/>
                <a:gd name="T22" fmla="*/ 116 w 256"/>
                <a:gd name="T23" fmla="*/ 8 h 168"/>
                <a:gd name="T24" fmla="*/ 56 w 256"/>
                <a:gd name="T25" fmla="*/ 68 h 168"/>
                <a:gd name="T26" fmla="*/ 56 w 256"/>
                <a:gd name="T27" fmla="*/ 72 h 168"/>
                <a:gd name="T28" fmla="*/ 52 w 256"/>
                <a:gd name="T29" fmla="*/ 72 h 168"/>
                <a:gd name="T30" fmla="*/ 8 w 256"/>
                <a:gd name="T31" fmla="*/ 116 h 168"/>
                <a:gd name="T32" fmla="*/ 52 w 256"/>
                <a:gd name="T33" fmla="*/ 160 h 168"/>
                <a:gd name="T34" fmla="*/ 84 w 256"/>
                <a:gd name="T35" fmla="*/ 160 h 168"/>
                <a:gd name="T36" fmla="*/ 84 w 256"/>
                <a:gd name="T37" fmla="*/ 168 h 168"/>
                <a:gd name="T38" fmla="*/ 52 w 256"/>
                <a:gd name="T39" fmla="*/ 168 h 168"/>
                <a:gd name="T40" fmla="*/ 0 w 256"/>
                <a:gd name="T41" fmla="*/ 116 h 168"/>
                <a:gd name="T42" fmla="*/ 48 w 256"/>
                <a:gd name="T43" fmla="*/ 64 h 168"/>
                <a:gd name="T44" fmla="*/ 116 w 256"/>
                <a:gd name="T45" fmla="*/ 0 h 168"/>
                <a:gd name="T46" fmla="*/ 174 w 256"/>
                <a:gd name="T47" fmla="*/ 32 h 168"/>
                <a:gd name="T48" fmla="*/ 176 w 256"/>
                <a:gd name="T49" fmla="*/ 32 h 168"/>
                <a:gd name="T50" fmla="*/ 216 w 256"/>
                <a:gd name="T51" fmla="*/ 68 h 168"/>
                <a:gd name="T52" fmla="*/ 256 w 256"/>
                <a:gd name="T53" fmla="*/ 116 h 168"/>
                <a:gd name="T54" fmla="*/ 204 w 256"/>
                <a:gd name="T5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6" h="168">
                  <a:moveTo>
                    <a:pt x="204" y="168"/>
                  </a:moveTo>
                  <a:cubicBezTo>
                    <a:pt x="172" y="168"/>
                    <a:pt x="172" y="168"/>
                    <a:pt x="172" y="168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28" y="160"/>
                    <a:pt x="248" y="140"/>
                    <a:pt x="248" y="116"/>
                  </a:cubicBezTo>
                  <a:cubicBezTo>
                    <a:pt x="248" y="93"/>
                    <a:pt x="233" y="76"/>
                    <a:pt x="212" y="76"/>
                  </a:cubicBezTo>
                  <a:cubicBezTo>
                    <a:pt x="208" y="76"/>
                    <a:pt x="208" y="76"/>
                    <a:pt x="208" y="76"/>
                  </a:cubicBezTo>
                  <a:cubicBezTo>
                    <a:pt x="208" y="72"/>
                    <a:pt x="208" y="72"/>
                    <a:pt x="208" y="72"/>
                  </a:cubicBezTo>
                  <a:cubicBezTo>
                    <a:pt x="208" y="57"/>
                    <a:pt x="200" y="40"/>
                    <a:pt x="176" y="40"/>
                  </a:cubicBezTo>
                  <a:cubicBezTo>
                    <a:pt x="170" y="40"/>
                    <a:pt x="170" y="40"/>
                    <a:pt x="170" y="40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58" y="19"/>
                    <a:pt x="138" y="8"/>
                    <a:pt x="116" y="8"/>
                  </a:cubicBezTo>
                  <a:cubicBezTo>
                    <a:pt x="83" y="8"/>
                    <a:pt x="56" y="35"/>
                    <a:pt x="56" y="6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8" y="72"/>
                    <a:pt x="8" y="92"/>
                    <a:pt x="8" y="116"/>
                  </a:cubicBezTo>
                  <a:cubicBezTo>
                    <a:pt x="8" y="140"/>
                    <a:pt x="28" y="160"/>
                    <a:pt x="5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68"/>
                    <a:pt x="84" y="168"/>
                    <a:pt x="84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23" y="168"/>
                    <a:pt x="0" y="145"/>
                    <a:pt x="0" y="116"/>
                  </a:cubicBezTo>
                  <a:cubicBezTo>
                    <a:pt x="0" y="89"/>
                    <a:pt x="21" y="66"/>
                    <a:pt x="48" y="64"/>
                  </a:cubicBezTo>
                  <a:cubicBezTo>
                    <a:pt x="50" y="28"/>
                    <a:pt x="80" y="0"/>
                    <a:pt x="116" y="0"/>
                  </a:cubicBezTo>
                  <a:cubicBezTo>
                    <a:pt x="141" y="0"/>
                    <a:pt x="162" y="12"/>
                    <a:pt x="174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99" y="32"/>
                    <a:pt x="214" y="46"/>
                    <a:pt x="216" y="68"/>
                  </a:cubicBezTo>
                  <a:cubicBezTo>
                    <a:pt x="239" y="70"/>
                    <a:pt x="256" y="90"/>
                    <a:pt x="256" y="116"/>
                  </a:cubicBezTo>
                  <a:cubicBezTo>
                    <a:pt x="256" y="145"/>
                    <a:pt x="233" y="168"/>
                    <a:pt x="204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128"/>
            <p:cNvSpPr>
              <a:spLocks noEditPoints="1"/>
            </p:cNvSpPr>
            <p:nvPr/>
          </p:nvSpPr>
          <p:spPr bwMode="auto">
            <a:xfrm>
              <a:off x="279400" y="171450"/>
              <a:ext cx="547687" cy="54768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129"/>
            <p:cNvSpPr>
              <a:spLocks noEditPoints="1"/>
            </p:cNvSpPr>
            <p:nvPr/>
          </p:nvSpPr>
          <p:spPr bwMode="auto">
            <a:xfrm>
              <a:off x="365125" y="257175"/>
              <a:ext cx="376237" cy="376238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130"/>
            <p:cNvSpPr>
              <a:spLocks/>
            </p:cNvSpPr>
            <p:nvPr/>
          </p:nvSpPr>
          <p:spPr bwMode="auto">
            <a:xfrm>
              <a:off x="450850" y="342900"/>
              <a:ext cx="103187" cy="103188"/>
            </a:xfrm>
            <a:custGeom>
              <a:avLst/>
              <a:gdLst>
                <a:gd name="T0" fmla="*/ 8 w 24"/>
                <a:gd name="T1" fmla="*/ 24 h 24"/>
                <a:gd name="T2" fmla="*/ 0 w 24"/>
                <a:gd name="T3" fmla="*/ 24 h 24"/>
                <a:gd name="T4" fmla="*/ 24 w 24"/>
                <a:gd name="T5" fmla="*/ 0 h 24"/>
                <a:gd name="T6" fmla="*/ 24 w 24"/>
                <a:gd name="T7" fmla="*/ 8 h 24"/>
                <a:gd name="T8" fmla="*/ 8 w 2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4">
                  <a:moveTo>
                    <a:pt x="8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131"/>
            <p:cNvSpPr>
              <a:spLocks/>
            </p:cNvSpPr>
            <p:nvPr/>
          </p:nvSpPr>
          <p:spPr bwMode="auto">
            <a:xfrm>
              <a:off x="468313" y="685800"/>
              <a:ext cx="169862" cy="411163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76 h 96"/>
                <a:gd name="T4" fmla="*/ 0 w 40"/>
                <a:gd name="T5" fmla="*/ 0 h 96"/>
                <a:gd name="T6" fmla="*/ 8 w 40"/>
                <a:gd name="T7" fmla="*/ 0 h 96"/>
                <a:gd name="T8" fmla="*/ 8 w 40"/>
                <a:gd name="T9" fmla="*/ 76 h 96"/>
                <a:gd name="T10" fmla="*/ 20 w 40"/>
                <a:gd name="T11" fmla="*/ 88 h 96"/>
                <a:gd name="T12" fmla="*/ 32 w 40"/>
                <a:gd name="T13" fmla="*/ 76 h 96"/>
                <a:gd name="T14" fmla="*/ 32 w 40"/>
                <a:gd name="T15" fmla="*/ 0 h 96"/>
                <a:gd name="T16" fmla="*/ 40 w 40"/>
                <a:gd name="T17" fmla="*/ 0 h 96"/>
                <a:gd name="T18" fmla="*/ 40 w 40"/>
                <a:gd name="T19" fmla="*/ 76 h 96"/>
                <a:gd name="T20" fmla="*/ 20 w 40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9" y="96"/>
                    <a:pt x="0" y="87"/>
                    <a:pt x="0" y="7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83"/>
                    <a:pt x="13" y="88"/>
                    <a:pt x="20" y="88"/>
                  </a:cubicBezTo>
                  <a:cubicBezTo>
                    <a:pt x="27" y="88"/>
                    <a:pt x="32" y="83"/>
                    <a:pt x="32" y="7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87"/>
                    <a:pt x="31" y="96"/>
                    <a:pt x="2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Rectangle 132"/>
            <p:cNvSpPr>
              <a:spLocks noChangeArrowheads="1"/>
            </p:cNvSpPr>
            <p:nvPr/>
          </p:nvSpPr>
          <p:spPr bwMode="auto">
            <a:xfrm>
              <a:off x="536575" y="822325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ectangle 133"/>
            <p:cNvSpPr>
              <a:spLocks noChangeArrowheads="1"/>
            </p:cNvSpPr>
            <p:nvPr/>
          </p:nvSpPr>
          <p:spPr bwMode="auto">
            <a:xfrm>
              <a:off x="536575" y="890588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ectangle 134"/>
            <p:cNvSpPr>
              <a:spLocks noChangeArrowheads="1"/>
            </p:cNvSpPr>
            <p:nvPr/>
          </p:nvSpPr>
          <p:spPr bwMode="auto">
            <a:xfrm>
              <a:off x="536575" y="958850"/>
              <a:ext cx="33337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3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5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10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rgbClr val="505FF0">
              <a:alpha val="49804"/>
            </a:srgb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54173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rgbClr val="5178B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6163" y="7892650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18206475" y="8100901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7261556" y="8100901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717937"/>
            <a:ext cx="18249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6145151"/>
            <a:ext cx="4673296" cy="157716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treg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m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tótip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gest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roll-out vi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i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u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ceito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A93E7C-B20B-DB4C-8C74-7F6A9AFA07C0}"/>
              </a:ext>
            </a:extLst>
          </p:cNvPr>
          <p:cNvSpPr txBox="1"/>
          <p:nvPr/>
        </p:nvSpPr>
        <p:spPr>
          <a:xfrm>
            <a:off x="3472232" y="5148828"/>
            <a:ext cx="54213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/>
                </a:solidFill>
                <a:latin typeface="Fira Sans" panose="020B0503050000020004" pitchFamily="34" charset="0"/>
              </a:rPr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D6638B0-9D71-EA4F-961B-22E94769E769}"/>
              </a:ext>
            </a:extLst>
          </p:cNvPr>
          <p:cNvSpPr txBox="1"/>
          <p:nvPr/>
        </p:nvSpPr>
        <p:spPr>
          <a:xfrm>
            <a:off x="8043272" y="8672850"/>
            <a:ext cx="5822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  <a:latin typeface="Fira Sans" panose="020B0503050000020004" pitchFamily="34" charset="0"/>
              </a:rPr>
              <a:t>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FE2B65A-4C3A-F246-AD62-9636254E441A}"/>
                </a:ext>
              </a:extLst>
            </p:cNvPr>
            <p:cNvSpPr txBox="1"/>
            <p:nvPr/>
          </p:nvSpPr>
          <p:spPr>
            <a:xfrm>
              <a:off x="13581225" y="7011622"/>
              <a:ext cx="58541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000" b="1" dirty="0">
                  <a:solidFill>
                    <a:schemeClr val="accent4"/>
                  </a:solidFill>
                  <a:latin typeface="Fira Sans" panose="020B0503050000020004" pitchFamily="34" charset="0"/>
                </a:rPr>
                <a:t>3</a:t>
              </a: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E4565AD6-E2A0-5944-8718-38FA2270A6BC}"/>
              </a:ext>
            </a:extLst>
          </p:cNvPr>
          <p:cNvSpPr txBox="1"/>
          <p:nvPr/>
        </p:nvSpPr>
        <p:spPr>
          <a:xfrm>
            <a:off x="19003422" y="8710617"/>
            <a:ext cx="6190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5"/>
                </a:solidFill>
                <a:latin typeface="Fira Sans" panose="020B0503050000020004" pitchFamily="34" charset="0"/>
              </a:rPr>
              <a:t>4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84315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4771449"/>
            <a:ext cx="4673296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enh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tilizanc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 CANVA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4533473"/>
            <a:ext cx="172893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4908744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cionar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m bas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m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bilidad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poníveis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78901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7" y="3021061"/>
            <a:ext cx="5831593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s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incipai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resentad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time do SINE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11">
            <a:extLst>
              <a:ext uri="{FF2B5EF4-FFF2-40B4-BE49-F238E27FC236}">
                <a16:creationId xmlns:a16="http://schemas.microsoft.com/office/drawing/2014/main" id="{643E29F8-F009-4FBD-A286-E20A3A4099FC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de </a:t>
            </a:r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Desenvolviment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222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36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m 9">
            <a:extLst>
              <a:ext uri="{FF2B5EF4-FFF2-40B4-BE49-F238E27FC236}">
                <a16:creationId xmlns:a16="http://schemas.microsoft.com/office/drawing/2014/main" id="{AA49E304-9568-47DD-AA43-7B91266BB6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837114">
            <a:off x="-1940398" y="5652283"/>
            <a:ext cx="10448294" cy="11206836"/>
          </a:xfrm>
          <a:prstGeom prst="rect">
            <a:avLst/>
          </a:prstGeom>
        </p:spPr>
      </p:pic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FF8903-03E6-4FD4-A7DD-AAFD5DF68ED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8710" y="7559668"/>
            <a:ext cx="8336885" cy="5199407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Imersã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pic>
        <p:nvPicPr>
          <p:cNvPr id="4" name="Espaço Reservado para Imagem 76">
            <a:extLst>
              <a:ext uri="{FF2B5EF4-FFF2-40B4-BE49-F238E27FC236}">
                <a16:creationId xmlns:a16="http://schemas.microsoft.com/office/drawing/2014/main" id="{087B592E-370C-470A-81FC-716B636B688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395595" y="925743"/>
            <a:ext cx="10210801" cy="10533438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Busca inicial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Trabalhadores têm dificuldade em escolher os objetivos profissionais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areament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 cruzamento pela CBO é complexo e, com frequência, pouco asser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s trabalhadores só conseguem visualizar as vagas disponíveis se houver pareamento de </a:t>
            </a:r>
            <a:r>
              <a:rPr lang="pt-BR" sz="3200" dirty="0" err="1">
                <a:solidFill>
                  <a:schemeClr val="bg1"/>
                </a:solidFill>
                <a:latin typeface="Segoe Light"/>
              </a:rPr>
              <a:t>CBOs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, inclusive no caso de vagas que não exigem experiência</a:t>
            </a:r>
          </a:p>
          <a:p>
            <a:r>
              <a:rPr lang="pt-BR" sz="3200" dirty="0">
                <a:solidFill>
                  <a:schemeClr val="bg1"/>
                </a:solidFill>
                <a:latin typeface="Segoe Light"/>
              </a:rPr>
              <a:t>Empresas têm dificuldades para encontrar candidatos com deficiência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rocesso sele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Iniciamos o entendimento do problema discutindo detalhadamente os principais problemas apresentados pelo SINE e, à partir da explicação das bases apresentadas nas primeiras etapas do </a:t>
            </a:r>
            <a:r>
              <a:rPr lang="pt-BR" sz="3200" b="1" dirty="0" err="1">
                <a:solidFill>
                  <a:schemeClr val="tx2"/>
                </a:solidFill>
                <a:latin typeface="Segoe Light"/>
              </a:rPr>
              <a:t>evendo</a:t>
            </a:r>
            <a:r>
              <a:rPr lang="pt-BR" sz="3200" b="1" dirty="0">
                <a:solidFill>
                  <a:schemeClr val="tx2"/>
                </a:solidFill>
                <a:latin typeface="Segoe Light"/>
              </a:rPr>
              <a:t>, escolhemos alguns problemas para resolver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CC391459-770A-44B5-9D02-9C2186AD9053}"/>
              </a:ext>
            </a:extLst>
          </p:cNvPr>
          <p:cNvSpPr/>
          <p:nvPr/>
        </p:nvSpPr>
        <p:spPr>
          <a:xfrm>
            <a:off x="4998417" y="6721254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i="1" dirty="0">
                <a:solidFill>
                  <a:schemeClr val="tx2"/>
                </a:solidFill>
                <a:latin typeface="Segoe Light"/>
              </a:rPr>
              <a:t>Nosso racional</a:t>
            </a:r>
            <a:endParaRPr lang="pt-BR" sz="3200" i="1" dirty="0">
              <a:solidFill>
                <a:schemeClr val="tx2"/>
              </a:solidFill>
              <a:latin typeface="Sego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2183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12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F59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86FF64C-594A-44B4-954C-C1F362CF5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1092" y="9975376"/>
            <a:ext cx="19872793" cy="3740623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A01FCAB-E720-4299-B889-15C9AD61BE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76198" y="7836176"/>
            <a:ext cx="3695700" cy="6858000"/>
          </a:xfrm>
          <a:prstGeom prst="rect">
            <a:avLst/>
          </a:prstGeom>
          <a:effectLst>
            <a:outerShdw blurRad="330200" dist="673100" dir="2700000" sx="104000" sy="104000" algn="tl" rotWithShape="0">
              <a:prstClr val="black">
                <a:alpha val="9000"/>
              </a:prstClr>
            </a:outerShdw>
          </a:effec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4" y="2738367"/>
            <a:ext cx="15227207" cy="85869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dotadas</a:t>
            </a:r>
          </a:p>
          <a:p>
            <a:r>
              <a:rPr lang="pt-BR" sz="2400" dirty="0">
                <a:solidFill>
                  <a:srgbClr val="2889D3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Azure SQL para carga e consolidação dos arquivos do SINE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Empregos, SINE Trabalhador, CAGED e CB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Aplicação de regressão logística por área para a predição da probabilidade de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sucess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 base do CAGED como base de ‘empregados’, utilizando CBO, UF,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deficiência (S/N) e escolaridade para treinar 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varíavel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“admitido/demitido” como variável dependente para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treino d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Azur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Learning para lidar com o volume de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(que excede em muito a capacidade de processamento local das máquinas do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time)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Ideias abandonada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Dados informações de seguro desemprego: entendemos que, por serem dado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agregados, teriam pouco potencial de contribuição para a criação do modelo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preditiv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da RAIS: entendemos que o CAGED de 2019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possui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as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necessárias para a modelagem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CAGED 2020: Poucas informações e dados fortemente impactados pela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Covid-19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s bases do SINE tanto de vagas como de trabalhadores para treinar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um modelo d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learning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, pois, devido à presença de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sensíveis, o volume de dados disponibilizados é insuficiente</a:t>
            </a:r>
          </a:p>
        </p:txBody>
      </p:sp>
    </p:spTree>
    <p:extLst>
      <p:ext uri="{BB962C8B-B14F-4D97-AF65-F5344CB8AC3E}">
        <p14:creationId xmlns:p14="http://schemas.microsoft.com/office/powerpoint/2010/main" val="1980443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1978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6163" y="7892650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18206475" y="8100901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7261556" y="8100901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970856"/>
            <a:ext cx="1512722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  <a:endParaRPr lang="en-US" sz="3200" b="1" dirty="0">
              <a:solidFill>
                <a:schemeClr val="tx2"/>
              </a:solidFill>
              <a:latin typeface="Fira Sans" panose="020B05030500000200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6606431"/>
            <a:ext cx="4673296" cy="111588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A93E7C-B20B-DB4C-8C74-7F6A9AFA07C0}"/>
              </a:ext>
            </a:extLst>
          </p:cNvPr>
          <p:cNvSpPr txBox="1"/>
          <p:nvPr/>
        </p:nvSpPr>
        <p:spPr>
          <a:xfrm>
            <a:off x="3472232" y="5148828"/>
            <a:ext cx="54213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/>
                </a:solidFill>
                <a:latin typeface="Fira Sans" panose="020B0503050000020004" pitchFamily="34" charset="0"/>
              </a:rPr>
              <a:t>1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D6638B0-9D71-EA4F-961B-22E94769E769}"/>
              </a:ext>
            </a:extLst>
          </p:cNvPr>
          <p:cNvSpPr txBox="1"/>
          <p:nvPr/>
        </p:nvSpPr>
        <p:spPr>
          <a:xfrm>
            <a:off x="8043272" y="8672850"/>
            <a:ext cx="5822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  <a:latin typeface="Fira Sans" panose="020B0503050000020004" pitchFamily="34" charset="0"/>
              </a:rPr>
              <a:t>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3FE2B65A-4C3A-F246-AD62-9636254E441A}"/>
                </a:ext>
              </a:extLst>
            </p:cNvPr>
            <p:cNvSpPr txBox="1"/>
            <p:nvPr/>
          </p:nvSpPr>
          <p:spPr>
            <a:xfrm>
              <a:off x="13581225" y="7011622"/>
              <a:ext cx="58541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000" b="1" dirty="0">
                  <a:solidFill>
                    <a:schemeClr val="accent4"/>
                  </a:solidFill>
                  <a:latin typeface="Fira Sans" panose="020B0503050000020004" pitchFamily="34" charset="0"/>
                </a:rPr>
                <a:t>3</a:t>
              </a: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E4565AD6-E2A0-5944-8718-38FA2270A6BC}"/>
              </a:ext>
            </a:extLst>
          </p:cNvPr>
          <p:cNvSpPr txBox="1"/>
          <p:nvPr/>
        </p:nvSpPr>
        <p:spPr>
          <a:xfrm>
            <a:off x="19003422" y="8710617"/>
            <a:ext cx="6190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5"/>
                </a:solidFill>
                <a:latin typeface="Fira Sans" panose="020B0503050000020004" pitchFamily="34" charset="0"/>
              </a:rPr>
              <a:t>4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382127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  <a:endParaRPr lang="en-US" sz="3200" b="1" dirty="0">
              <a:solidFill>
                <a:schemeClr val="tx2"/>
              </a:solidFill>
              <a:latin typeface="Fira Sans" panose="020B05030500000200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5057467"/>
            <a:ext cx="4673296" cy="111588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5895227"/>
            <a:ext cx="151432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  <a:endParaRPr lang="en-US" sz="3200" b="1" dirty="0">
              <a:solidFill>
                <a:schemeClr val="tx2"/>
              </a:solidFill>
              <a:latin typeface="Fira Sans" panose="020B05030500000200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6530802"/>
            <a:ext cx="4673296" cy="111588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56145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  <a:endParaRPr lang="en-US" sz="3200" b="1" dirty="0">
              <a:solidFill>
                <a:schemeClr val="tx2"/>
              </a:solidFill>
              <a:latin typeface="Fira Sans" panose="020B0503050000020004" pitchFamily="34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8" y="3137408"/>
            <a:ext cx="4673296" cy="1115885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B494A44-1C38-F840-A7DD-33C684C64553}"/>
              </a:ext>
            </a:extLst>
          </p:cNvPr>
          <p:cNvSpPr txBox="1"/>
          <p:nvPr/>
        </p:nvSpPr>
        <p:spPr>
          <a:xfrm>
            <a:off x="7921172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/>
          <p:nvPr/>
        </p:nvCxnSpPr>
        <p:spPr>
          <a:xfrm>
            <a:off x="11486859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6257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02A9AC5-DD19-D440-AF72-80B7944D76FE}"/>
              </a:ext>
            </a:extLst>
          </p:cNvPr>
          <p:cNvGrpSpPr/>
          <p:nvPr/>
        </p:nvGrpSpPr>
        <p:grpSpPr>
          <a:xfrm>
            <a:off x="650251" y="4025908"/>
            <a:ext cx="15336041" cy="7629927"/>
            <a:chOff x="5892487" y="2995516"/>
            <a:chExt cx="12175036" cy="6057277"/>
          </a:xfrm>
        </p:grpSpPr>
        <p:sp>
          <p:nvSpPr>
            <p:cNvPr id="3073" name="Freeform 1">
              <a:extLst>
                <a:ext uri="{FF2B5EF4-FFF2-40B4-BE49-F238E27FC236}">
                  <a16:creationId xmlns:a16="http://schemas.microsoft.com/office/drawing/2014/main" id="{778F1DBB-1C10-6341-91F8-189EB01D20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55798" y="7324612"/>
              <a:ext cx="247706" cy="475249"/>
            </a:xfrm>
            <a:custGeom>
              <a:avLst/>
              <a:gdLst>
                <a:gd name="T0" fmla="*/ 37 w 381"/>
                <a:gd name="T1" fmla="*/ 471 h 728"/>
                <a:gd name="T2" fmla="*/ 37 w 381"/>
                <a:gd name="T3" fmla="*/ 471 h 728"/>
                <a:gd name="T4" fmla="*/ 74 w 381"/>
                <a:gd name="T5" fmla="*/ 388 h 728"/>
                <a:gd name="T6" fmla="*/ 74 w 381"/>
                <a:gd name="T7" fmla="*/ 388 h 728"/>
                <a:gd name="T8" fmla="*/ 46 w 381"/>
                <a:gd name="T9" fmla="*/ 293 h 728"/>
                <a:gd name="T10" fmla="*/ 46 w 381"/>
                <a:gd name="T11" fmla="*/ 293 h 728"/>
                <a:gd name="T12" fmla="*/ 165 w 381"/>
                <a:gd name="T13" fmla="*/ 178 h 728"/>
                <a:gd name="T14" fmla="*/ 165 w 381"/>
                <a:gd name="T15" fmla="*/ 178 h 728"/>
                <a:gd name="T16" fmla="*/ 293 w 381"/>
                <a:gd name="T17" fmla="*/ 55 h 728"/>
                <a:gd name="T18" fmla="*/ 293 w 381"/>
                <a:gd name="T19" fmla="*/ 55 h 728"/>
                <a:gd name="T20" fmla="*/ 305 w 381"/>
                <a:gd name="T21" fmla="*/ 0 h 728"/>
                <a:gd name="T22" fmla="*/ 305 w 381"/>
                <a:gd name="T23" fmla="*/ 0 h 728"/>
                <a:gd name="T24" fmla="*/ 380 w 381"/>
                <a:gd name="T25" fmla="*/ 174 h 728"/>
                <a:gd name="T26" fmla="*/ 380 w 381"/>
                <a:gd name="T27" fmla="*/ 202 h 728"/>
                <a:gd name="T28" fmla="*/ 380 w 381"/>
                <a:gd name="T29" fmla="*/ 202 h 728"/>
                <a:gd name="T30" fmla="*/ 349 w 381"/>
                <a:gd name="T31" fmla="*/ 192 h 728"/>
                <a:gd name="T32" fmla="*/ 349 w 381"/>
                <a:gd name="T33" fmla="*/ 192 h 728"/>
                <a:gd name="T34" fmla="*/ 266 w 381"/>
                <a:gd name="T35" fmla="*/ 522 h 728"/>
                <a:gd name="T36" fmla="*/ 266 w 381"/>
                <a:gd name="T37" fmla="*/ 522 h 728"/>
                <a:gd name="T38" fmla="*/ 105 w 381"/>
                <a:gd name="T39" fmla="*/ 727 h 728"/>
                <a:gd name="T40" fmla="*/ 105 w 381"/>
                <a:gd name="T41" fmla="*/ 727 h 728"/>
                <a:gd name="T42" fmla="*/ 18 w 381"/>
                <a:gd name="T43" fmla="*/ 627 h 728"/>
                <a:gd name="T44" fmla="*/ 18 w 381"/>
                <a:gd name="T45" fmla="*/ 627 h 728"/>
                <a:gd name="T46" fmla="*/ 22 w 381"/>
                <a:gd name="T47" fmla="*/ 581 h 728"/>
                <a:gd name="T48" fmla="*/ 22 w 381"/>
                <a:gd name="T49" fmla="*/ 581 h 728"/>
                <a:gd name="T50" fmla="*/ 0 w 381"/>
                <a:gd name="T51" fmla="*/ 508 h 728"/>
                <a:gd name="T52" fmla="*/ 0 w 381"/>
                <a:gd name="T53" fmla="*/ 508 h 728"/>
                <a:gd name="T54" fmla="*/ 37 w 381"/>
                <a:gd name="T55" fmla="*/ 471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81" h="728">
                  <a:moveTo>
                    <a:pt x="37" y="471"/>
                  </a:moveTo>
                  <a:lnTo>
                    <a:pt x="37" y="471"/>
                  </a:lnTo>
                  <a:cubicBezTo>
                    <a:pt x="37" y="471"/>
                    <a:pt x="74" y="392"/>
                    <a:pt x="74" y="388"/>
                  </a:cubicBezTo>
                  <a:lnTo>
                    <a:pt x="74" y="388"/>
                  </a:lnTo>
                  <a:cubicBezTo>
                    <a:pt x="74" y="368"/>
                    <a:pt x="46" y="323"/>
                    <a:pt x="46" y="293"/>
                  </a:cubicBezTo>
                  <a:lnTo>
                    <a:pt x="46" y="293"/>
                  </a:lnTo>
                  <a:cubicBezTo>
                    <a:pt x="46" y="203"/>
                    <a:pt x="112" y="209"/>
                    <a:pt x="165" y="178"/>
                  </a:cubicBezTo>
                  <a:lnTo>
                    <a:pt x="165" y="178"/>
                  </a:lnTo>
                  <a:cubicBezTo>
                    <a:pt x="207" y="154"/>
                    <a:pt x="264" y="84"/>
                    <a:pt x="293" y="55"/>
                  </a:cubicBezTo>
                  <a:lnTo>
                    <a:pt x="293" y="55"/>
                  </a:lnTo>
                  <a:cubicBezTo>
                    <a:pt x="302" y="46"/>
                    <a:pt x="297" y="15"/>
                    <a:pt x="305" y="0"/>
                  </a:cubicBezTo>
                  <a:lnTo>
                    <a:pt x="305" y="0"/>
                  </a:lnTo>
                  <a:cubicBezTo>
                    <a:pt x="367" y="7"/>
                    <a:pt x="361" y="126"/>
                    <a:pt x="380" y="174"/>
                  </a:cubicBezTo>
                  <a:lnTo>
                    <a:pt x="380" y="202"/>
                  </a:lnTo>
                  <a:lnTo>
                    <a:pt x="380" y="202"/>
                  </a:lnTo>
                  <a:cubicBezTo>
                    <a:pt x="370" y="198"/>
                    <a:pt x="352" y="192"/>
                    <a:pt x="349" y="192"/>
                  </a:cubicBezTo>
                  <a:lnTo>
                    <a:pt x="349" y="192"/>
                  </a:lnTo>
                  <a:cubicBezTo>
                    <a:pt x="349" y="326"/>
                    <a:pt x="306" y="418"/>
                    <a:pt x="266" y="522"/>
                  </a:cubicBezTo>
                  <a:lnTo>
                    <a:pt x="266" y="522"/>
                  </a:lnTo>
                  <a:cubicBezTo>
                    <a:pt x="233" y="605"/>
                    <a:pt x="216" y="727"/>
                    <a:pt x="105" y="727"/>
                  </a:cubicBezTo>
                  <a:lnTo>
                    <a:pt x="105" y="727"/>
                  </a:lnTo>
                  <a:cubicBezTo>
                    <a:pt x="59" y="727"/>
                    <a:pt x="18" y="674"/>
                    <a:pt x="18" y="627"/>
                  </a:cubicBezTo>
                  <a:lnTo>
                    <a:pt x="18" y="627"/>
                  </a:lnTo>
                  <a:cubicBezTo>
                    <a:pt x="18" y="603"/>
                    <a:pt x="24" y="594"/>
                    <a:pt x="22" y="581"/>
                  </a:cubicBezTo>
                  <a:lnTo>
                    <a:pt x="22" y="581"/>
                  </a:lnTo>
                  <a:cubicBezTo>
                    <a:pt x="0" y="565"/>
                    <a:pt x="0" y="535"/>
                    <a:pt x="0" y="508"/>
                  </a:cubicBezTo>
                  <a:lnTo>
                    <a:pt x="0" y="508"/>
                  </a:lnTo>
                  <a:cubicBezTo>
                    <a:pt x="0" y="501"/>
                    <a:pt x="33" y="471"/>
                    <a:pt x="37" y="471"/>
                  </a:cubicBezTo>
                </a:path>
              </a:pathLst>
            </a:custGeom>
            <a:solidFill>
              <a:srgbClr val="FF3939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4" name="Freeform 2">
              <a:extLst>
                <a:ext uri="{FF2B5EF4-FFF2-40B4-BE49-F238E27FC236}">
                  <a16:creationId xmlns:a16="http://schemas.microsoft.com/office/drawing/2014/main" id="{4DF4555E-52FD-814E-BEB6-794D52EB8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10783" y="5556106"/>
              <a:ext cx="2324405" cy="2598033"/>
            </a:xfrm>
            <a:custGeom>
              <a:avLst/>
              <a:gdLst>
                <a:gd name="T0" fmla="*/ 2101 w 3558"/>
                <a:gd name="T1" fmla="*/ 317 h 3976"/>
                <a:gd name="T2" fmla="*/ 2393 w 3558"/>
                <a:gd name="T3" fmla="*/ 385 h 3976"/>
                <a:gd name="T4" fmla="*/ 2623 w 3558"/>
                <a:gd name="T5" fmla="*/ 381 h 3976"/>
                <a:gd name="T6" fmla="*/ 2711 w 3558"/>
                <a:gd name="T7" fmla="*/ 458 h 3976"/>
                <a:gd name="T8" fmla="*/ 2573 w 3558"/>
                <a:gd name="T9" fmla="*/ 445 h 3976"/>
                <a:gd name="T10" fmla="*/ 2821 w 3558"/>
                <a:gd name="T11" fmla="*/ 925 h 3976"/>
                <a:gd name="T12" fmla="*/ 2903 w 3558"/>
                <a:gd name="T13" fmla="*/ 1108 h 3976"/>
                <a:gd name="T14" fmla="*/ 3031 w 3558"/>
                <a:gd name="T15" fmla="*/ 1288 h 3976"/>
                <a:gd name="T16" fmla="*/ 3136 w 3558"/>
                <a:gd name="T17" fmla="*/ 1444 h 3976"/>
                <a:gd name="T18" fmla="*/ 3270 w 3558"/>
                <a:gd name="T19" fmla="*/ 1489 h 3976"/>
                <a:gd name="T20" fmla="*/ 3544 w 3558"/>
                <a:gd name="T21" fmla="*/ 1435 h 3976"/>
                <a:gd name="T22" fmla="*/ 3429 w 3558"/>
                <a:gd name="T23" fmla="*/ 1763 h 3976"/>
                <a:gd name="T24" fmla="*/ 2985 w 3558"/>
                <a:gd name="T25" fmla="*/ 2244 h 3976"/>
                <a:gd name="T26" fmla="*/ 2940 w 3558"/>
                <a:gd name="T27" fmla="*/ 2491 h 3976"/>
                <a:gd name="T28" fmla="*/ 2995 w 3558"/>
                <a:gd name="T29" fmla="*/ 2692 h 3976"/>
                <a:gd name="T30" fmla="*/ 3004 w 3558"/>
                <a:gd name="T31" fmla="*/ 2845 h 3976"/>
                <a:gd name="T32" fmla="*/ 2687 w 3558"/>
                <a:gd name="T33" fmla="*/ 3147 h 3976"/>
                <a:gd name="T34" fmla="*/ 2723 w 3558"/>
                <a:gd name="T35" fmla="*/ 3376 h 3976"/>
                <a:gd name="T36" fmla="*/ 2577 w 3558"/>
                <a:gd name="T37" fmla="*/ 3475 h 3976"/>
                <a:gd name="T38" fmla="*/ 2531 w 3558"/>
                <a:gd name="T39" fmla="*/ 3627 h 3976"/>
                <a:gd name="T40" fmla="*/ 2317 w 3558"/>
                <a:gd name="T41" fmla="*/ 3893 h 3976"/>
                <a:gd name="T42" fmla="*/ 2180 w 3558"/>
                <a:gd name="T43" fmla="*/ 3938 h 3976"/>
                <a:gd name="T44" fmla="*/ 1936 w 3558"/>
                <a:gd name="T45" fmla="*/ 3975 h 3976"/>
                <a:gd name="T46" fmla="*/ 1859 w 3558"/>
                <a:gd name="T47" fmla="*/ 3948 h 3976"/>
                <a:gd name="T48" fmla="*/ 1850 w 3558"/>
                <a:gd name="T49" fmla="*/ 3807 h 3976"/>
                <a:gd name="T50" fmla="*/ 1639 w 3558"/>
                <a:gd name="T51" fmla="*/ 3325 h 3976"/>
                <a:gd name="T52" fmla="*/ 1602 w 3558"/>
                <a:gd name="T53" fmla="*/ 3215 h 3976"/>
                <a:gd name="T54" fmla="*/ 1611 w 3558"/>
                <a:gd name="T55" fmla="*/ 2683 h 3976"/>
                <a:gd name="T56" fmla="*/ 1542 w 3558"/>
                <a:gd name="T57" fmla="*/ 2427 h 3976"/>
                <a:gd name="T58" fmla="*/ 1359 w 3558"/>
                <a:gd name="T59" fmla="*/ 2106 h 3976"/>
                <a:gd name="T60" fmla="*/ 1402 w 3558"/>
                <a:gd name="T61" fmla="*/ 2005 h 3976"/>
                <a:gd name="T62" fmla="*/ 1227 w 3558"/>
                <a:gd name="T63" fmla="*/ 1837 h 3976"/>
                <a:gd name="T64" fmla="*/ 856 w 3558"/>
                <a:gd name="T65" fmla="*/ 1795 h 3976"/>
                <a:gd name="T66" fmla="*/ 682 w 3558"/>
                <a:gd name="T67" fmla="*/ 1800 h 3976"/>
                <a:gd name="T68" fmla="*/ 453 w 3558"/>
                <a:gd name="T69" fmla="*/ 1822 h 3976"/>
                <a:gd name="T70" fmla="*/ 165 w 3558"/>
                <a:gd name="T71" fmla="*/ 1529 h 3976"/>
                <a:gd name="T72" fmla="*/ 31 w 3558"/>
                <a:gd name="T73" fmla="*/ 1402 h 3976"/>
                <a:gd name="T74" fmla="*/ 28 w 3558"/>
                <a:gd name="T75" fmla="*/ 1343 h 3976"/>
                <a:gd name="T76" fmla="*/ 77 w 3558"/>
                <a:gd name="T77" fmla="*/ 1118 h 3976"/>
                <a:gd name="T78" fmla="*/ 91 w 3558"/>
                <a:gd name="T79" fmla="*/ 825 h 3976"/>
                <a:gd name="T80" fmla="*/ 321 w 3558"/>
                <a:gd name="T81" fmla="*/ 546 h 3976"/>
                <a:gd name="T82" fmla="*/ 435 w 3558"/>
                <a:gd name="T83" fmla="*/ 321 h 3976"/>
                <a:gd name="T84" fmla="*/ 623 w 3558"/>
                <a:gd name="T85" fmla="*/ 97 h 3976"/>
                <a:gd name="T86" fmla="*/ 846 w 3558"/>
                <a:gd name="T87" fmla="*/ 110 h 3976"/>
                <a:gd name="T88" fmla="*/ 1200 w 3558"/>
                <a:gd name="T89" fmla="*/ 42 h 3976"/>
                <a:gd name="T90" fmla="*/ 1332 w 3558"/>
                <a:gd name="T91" fmla="*/ 28 h 3976"/>
                <a:gd name="T92" fmla="*/ 1459 w 3558"/>
                <a:gd name="T93" fmla="*/ 33 h 3976"/>
                <a:gd name="T94" fmla="*/ 1459 w 3558"/>
                <a:gd name="T95" fmla="*/ 70 h 3976"/>
                <a:gd name="T96" fmla="*/ 1459 w 3558"/>
                <a:gd name="T97" fmla="*/ 180 h 3976"/>
                <a:gd name="T98" fmla="*/ 1593 w 3558"/>
                <a:gd name="T99" fmla="*/ 266 h 3976"/>
                <a:gd name="T100" fmla="*/ 1926 w 3558"/>
                <a:gd name="T101" fmla="*/ 348 h 3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58" h="3976">
                  <a:moveTo>
                    <a:pt x="2033" y="275"/>
                  </a:moveTo>
                  <a:lnTo>
                    <a:pt x="2073" y="275"/>
                  </a:lnTo>
                  <a:lnTo>
                    <a:pt x="2073" y="275"/>
                  </a:lnTo>
                  <a:cubicBezTo>
                    <a:pt x="2073" y="301"/>
                    <a:pt x="2093" y="306"/>
                    <a:pt x="2101" y="317"/>
                  </a:cubicBezTo>
                  <a:lnTo>
                    <a:pt x="2101" y="317"/>
                  </a:lnTo>
                  <a:cubicBezTo>
                    <a:pt x="2117" y="339"/>
                    <a:pt x="2159" y="324"/>
                    <a:pt x="2188" y="335"/>
                  </a:cubicBezTo>
                  <a:lnTo>
                    <a:pt x="2188" y="335"/>
                  </a:lnTo>
                  <a:cubicBezTo>
                    <a:pt x="2247" y="357"/>
                    <a:pt x="2329" y="385"/>
                    <a:pt x="2393" y="385"/>
                  </a:cubicBezTo>
                  <a:lnTo>
                    <a:pt x="2393" y="385"/>
                  </a:lnTo>
                  <a:cubicBezTo>
                    <a:pt x="2452" y="385"/>
                    <a:pt x="2470" y="357"/>
                    <a:pt x="2527" y="357"/>
                  </a:cubicBezTo>
                  <a:lnTo>
                    <a:pt x="2527" y="357"/>
                  </a:lnTo>
                  <a:cubicBezTo>
                    <a:pt x="2562" y="357"/>
                    <a:pt x="2582" y="381"/>
                    <a:pt x="2623" y="381"/>
                  </a:cubicBezTo>
                  <a:lnTo>
                    <a:pt x="2623" y="381"/>
                  </a:lnTo>
                  <a:cubicBezTo>
                    <a:pt x="2650" y="381"/>
                    <a:pt x="2650" y="372"/>
                    <a:pt x="2674" y="367"/>
                  </a:cubicBezTo>
                  <a:lnTo>
                    <a:pt x="2674" y="367"/>
                  </a:lnTo>
                  <a:cubicBezTo>
                    <a:pt x="2687" y="399"/>
                    <a:pt x="2711" y="423"/>
                    <a:pt x="2711" y="458"/>
                  </a:cubicBezTo>
                  <a:lnTo>
                    <a:pt x="2711" y="458"/>
                  </a:lnTo>
                  <a:cubicBezTo>
                    <a:pt x="2711" y="474"/>
                    <a:pt x="2681" y="542"/>
                    <a:pt x="2674" y="564"/>
                  </a:cubicBezTo>
                  <a:lnTo>
                    <a:pt x="2674" y="564"/>
                  </a:lnTo>
                  <a:cubicBezTo>
                    <a:pt x="2635" y="559"/>
                    <a:pt x="2604" y="476"/>
                    <a:pt x="2573" y="445"/>
                  </a:cubicBezTo>
                  <a:lnTo>
                    <a:pt x="2573" y="476"/>
                  </a:lnTo>
                  <a:lnTo>
                    <a:pt x="2748" y="784"/>
                  </a:lnTo>
                  <a:lnTo>
                    <a:pt x="2748" y="784"/>
                  </a:lnTo>
                  <a:cubicBezTo>
                    <a:pt x="2738" y="822"/>
                    <a:pt x="2793" y="903"/>
                    <a:pt x="2821" y="925"/>
                  </a:cubicBezTo>
                  <a:lnTo>
                    <a:pt x="2821" y="1023"/>
                  </a:lnTo>
                  <a:lnTo>
                    <a:pt x="2821" y="1023"/>
                  </a:lnTo>
                  <a:cubicBezTo>
                    <a:pt x="2839" y="1072"/>
                    <a:pt x="2875" y="1072"/>
                    <a:pt x="2903" y="1108"/>
                  </a:cubicBezTo>
                  <a:lnTo>
                    <a:pt x="2903" y="1108"/>
                  </a:lnTo>
                  <a:cubicBezTo>
                    <a:pt x="2936" y="1152"/>
                    <a:pt x="2916" y="1200"/>
                    <a:pt x="2949" y="1233"/>
                  </a:cubicBezTo>
                  <a:lnTo>
                    <a:pt x="2949" y="1233"/>
                  </a:lnTo>
                  <a:cubicBezTo>
                    <a:pt x="2978" y="1262"/>
                    <a:pt x="2998" y="1264"/>
                    <a:pt x="3031" y="1288"/>
                  </a:cubicBezTo>
                  <a:lnTo>
                    <a:pt x="3031" y="1288"/>
                  </a:lnTo>
                  <a:cubicBezTo>
                    <a:pt x="3061" y="1310"/>
                    <a:pt x="3076" y="1386"/>
                    <a:pt x="3137" y="1386"/>
                  </a:cubicBezTo>
                  <a:lnTo>
                    <a:pt x="3137" y="1386"/>
                  </a:lnTo>
                  <a:cubicBezTo>
                    <a:pt x="3137" y="1417"/>
                    <a:pt x="3154" y="1422"/>
                    <a:pt x="3136" y="1444"/>
                  </a:cubicBezTo>
                  <a:lnTo>
                    <a:pt x="3136" y="1444"/>
                  </a:lnTo>
                  <a:cubicBezTo>
                    <a:pt x="3159" y="1461"/>
                    <a:pt x="3183" y="1520"/>
                    <a:pt x="3215" y="1520"/>
                  </a:cubicBezTo>
                  <a:lnTo>
                    <a:pt x="3215" y="1520"/>
                  </a:lnTo>
                  <a:cubicBezTo>
                    <a:pt x="3244" y="1520"/>
                    <a:pt x="3246" y="1496"/>
                    <a:pt x="3270" y="1489"/>
                  </a:cubicBezTo>
                  <a:lnTo>
                    <a:pt x="3270" y="1489"/>
                  </a:lnTo>
                  <a:cubicBezTo>
                    <a:pt x="3297" y="1480"/>
                    <a:pt x="3316" y="1493"/>
                    <a:pt x="3343" y="1489"/>
                  </a:cubicBezTo>
                  <a:lnTo>
                    <a:pt x="3343" y="1489"/>
                  </a:lnTo>
                  <a:cubicBezTo>
                    <a:pt x="3412" y="1478"/>
                    <a:pt x="3478" y="1450"/>
                    <a:pt x="3544" y="1435"/>
                  </a:cubicBezTo>
                  <a:lnTo>
                    <a:pt x="3544" y="1435"/>
                  </a:lnTo>
                  <a:cubicBezTo>
                    <a:pt x="3550" y="1445"/>
                    <a:pt x="3557" y="1450"/>
                    <a:pt x="3557" y="1461"/>
                  </a:cubicBezTo>
                  <a:lnTo>
                    <a:pt x="3557" y="1461"/>
                  </a:lnTo>
                  <a:cubicBezTo>
                    <a:pt x="3557" y="1565"/>
                    <a:pt x="3475" y="1701"/>
                    <a:pt x="3429" y="1763"/>
                  </a:cubicBezTo>
                  <a:lnTo>
                    <a:pt x="3429" y="1763"/>
                  </a:lnTo>
                  <a:cubicBezTo>
                    <a:pt x="3374" y="1837"/>
                    <a:pt x="3350" y="1903"/>
                    <a:pt x="3283" y="1956"/>
                  </a:cubicBezTo>
                  <a:lnTo>
                    <a:pt x="3283" y="1956"/>
                  </a:lnTo>
                  <a:cubicBezTo>
                    <a:pt x="3162" y="2051"/>
                    <a:pt x="3031" y="2081"/>
                    <a:pt x="2985" y="2244"/>
                  </a:cubicBezTo>
                  <a:lnTo>
                    <a:pt x="2985" y="2244"/>
                  </a:lnTo>
                  <a:cubicBezTo>
                    <a:pt x="2973" y="2289"/>
                    <a:pt x="2925" y="2302"/>
                    <a:pt x="2925" y="2354"/>
                  </a:cubicBezTo>
                  <a:lnTo>
                    <a:pt x="2925" y="2354"/>
                  </a:lnTo>
                  <a:cubicBezTo>
                    <a:pt x="2925" y="2410"/>
                    <a:pt x="2940" y="2436"/>
                    <a:pt x="2940" y="2491"/>
                  </a:cubicBezTo>
                  <a:lnTo>
                    <a:pt x="2940" y="2491"/>
                  </a:lnTo>
                  <a:cubicBezTo>
                    <a:pt x="2940" y="2553"/>
                    <a:pt x="3008" y="2585"/>
                    <a:pt x="3008" y="2619"/>
                  </a:cubicBezTo>
                  <a:lnTo>
                    <a:pt x="3008" y="2619"/>
                  </a:lnTo>
                  <a:cubicBezTo>
                    <a:pt x="3008" y="2630"/>
                    <a:pt x="2996" y="2643"/>
                    <a:pt x="2995" y="2647"/>
                  </a:cubicBezTo>
                  <a:lnTo>
                    <a:pt x="2995" y="2692"/>
                  </a:lnTo>
                  <a:lnTo>
                    <a:pt x="2995" y="2692"/>
                  </a:lnTo>
                  <a:cubicBezTo>
                    <a:pt x="2995" y="2722"/>
                    <a:pt x="2989" y="2757"/>
                    <a:pt x="2989" y="2808"/>
                  </a:cubicBezTo>
                  <a:lnTo>
                    <a:pt x="2989" y="2808"/>
                  </a:lnTo>
                  <a:cubicBezTo>
                    <a:pt x="3000" y="2819"/>
                    <a:pt x="3004" y="2830"/>
                    <a:pt x="3004" y="2845"/>
                  </a:cubicBezTo>
                  <a:lnTo>
                    <a:pt x="3004" y="2845"/>
                  </a:lnTo>
                  <a:cubicBezTo>
                    <a:pt x="3004" y="2987"/>
                    <a:pt x="2762" y="2971"/>
                    <a:pt x="2742" y="3092"/>
                  </a:cubicBezTo>
                  <a:lnTo>
                    <a:pt x="2742" y="3092"/>
                  </a:lnTo>
                  <a:cubicBezTo>
                    <a:pt x="2716" y="3095"/>
                    <a:pt x="2687" y="3126"/>
                    <a:pt x="2687" y="3147"/>
                  </a:cubicBezTo>
                  <a:lnTo>
                    <a:pt x="2687" y="3147"/>
                  </a:lnTo>
                  <a:cubicBezTo>
                    <a:pt x="2687" y="3187"/>
                    <a:pt x="2738" y="3215"/>
                    <a:pt x="2738" y="3270"/>
                  </a:cubicBezTo>
                  <a:lnTo>
                    <a:pt x="2738" y="3270"/>
                  </a:lnTo>
                  <a:cubicBezTo>
                    <a:pt x="2738" y="3299"/>
                    <a:pt x="2735" y="3359"/>
                    <a:pt x="2723" y="3376"/>
                  </a:cubicBezTo>
                  <a:lnTo>
                    <a:pt x="2723" y="3376"/>
                  </a:lnTo>
                  <a:cubicBezTo>
                    <a:pt x="2712" y="3390"/>
                    <a:pt x="2681" y="3383"/>
                    <a:pt x="2668" y="3388"/>
                  </a:cubicBezTo>
                  <a:lnTo>
                    <a:pt x="2668" y="3388"/>
                  </a:lnTo>
                  <a:cubicBezTo>
                    <a:pt x="2625" y="3411"/>
                    <a:pt x="2599" y="3429"/>
                    <a:pt x="2577" y="3475"/>
                  </a:cubicBezTo>
                  <a:lnTo>
                    <a:pt x="2577" y="3475"/>
                  </a:lnTo>
                  <a:cubicBezTo>
                    <a:pt x="2593" y="3484"/>
                    <a:pt x="2604" y="3497"/>
                    <a:pt x="2604" y="3514"/>
                  </a:cubicBezTo>
                  <a:lnTo>
                    <a:pt x="2604" y="3514"/>
                  </a:lnTo>
                  <a:cubicBezTo>
                    <a:pt x="2604" y="3565"/>
                    <a:pt x="2553" y="3605"/>
                    <a:pt x="2531" y="3627"/>
                  </a:cubicBezTo>
                  <a:lnTo>
                    <a:pt x="2531" y="3627"/>
                  </a:lnTo>
                  <a:cubicBezTo>
                    <a:pt x="2491" y="3667"/>
                    <a:pt x="2487" y="3709"/>
                    <a:pt x="2458" y="3746"/>
                  </a:cubicBezTo>
                  <a:lnTo>
                    <a:pt x="2458" y="3746"/>
                  </a:lnTo>
                  <a:cubicBezTo>
                    <a:pt x="2412" y="3805"/>
                    <a:pt x="2392" y="3856"/>
                    <a:pt x="2317" y="3893"/>
                  </a:cubicBezTo>
                  <a:lnTo>
                    <a:pt x="2317" y="3893"/>
                  </a:lnTo>
                  <a:cubicBezTo>
                    <a:pt x="2286" y="3907"/>
                    <a:pt x="2240" y="3893"/>
                    <a:pt x="2234" y="3926"/>
                  </a:cubicBezTo>
                  <a:lnTo>
                    <a:pt x="2234" y="3926"/>
                  </a:lnTo>
                  <a:cubicBezTo>
                    <a:pt x="2211" y="3928"/>
                    <a:pt x="2196" y="3938"/>
                    <a:pt x="2180" y="3938"/>
                  </a:cubicBezTo>
                  <a:lnTo>
                    <a:pt x="2180" y="3938"/>
                  </a:lnTo>
                  <a:cubicBezTo>
                    <a:pt x="2159" y="3938"/>
                    <a:pt x="2148" y="3920"/>
                    <a:pt x="2128" y="3920"/>
                  </a:cubicBezTo>
                  <a:lnTo>
                    <a:pt x="2128" y="3920"/>
                  </a:lnTo>
                  <a:cubicBezTo>
                    <a:pt x="2051" y="3920"/>
                    <a:pt x="2005" y="3975"/>
                    <a:pt x="1936" y="3975"/>
                  </a:cubicBezTo>
                  <a:lnTo>
                    <a:pt x="1936" y="3975"/>
                  </a:lnTo>
                  <a:cubicBezTo>
                    <a:pt x="1905" y="3975"/>
                    <a:pt x="1888" y="3958"/>
                    <a:pt x="1877" y="3938"/>
                  </a:cubicBezTo>
                  <a:lnTo>
                    <a:pt x="1877" y="3938"/>
                  </a:lnTo>
                  <a:cubicBezTo>
                    <a:pt x="1866" y="3940"/>
                    <a:pt x="1862" y="3946"/>
                    <a:pt x="1859" y="3948"/>
                  </a:cubicBezTo>
                  <a:lnTo>
                    <a:pt x="1859" y="3948"/>
                  </a:lnTo>
                  <a:cubicBezTo>
                    <a:pt x="1859" y="3911"/>
                    <a:pt x="1840" y="3871"/>
                    <a:pt x="1825" y="3856"/>
                  </a:cubicBezTo>
                  <a:lnTo>
                    <a:pt x="1825" y="3856"/>
                  </a:lnTo>
                  <a:cubicBezTo>
                    <a:pt x="1840" y="3841"/>
                    <a:pt x="1850" y="3827"/>
                    <a:pt x="1850" y="3807"/>
                  </a:cubicBezTo>
                  <a:lnTo>
                    <a:pt x="1850" y="3807"/>
                  </a:lnTo>
                  <a:cubicBezTo>
                    <a:pt x="1850" y="3777"/>
                    <a:pt x="1799" y="3722"/>
                    <a:pt x="1789" y="3706"/>
                  </a:cubicBezTo>
                  <a:lnTo>
                    <a:pt x="1789" y="3706"/>
                  </a:lnTo>
                  <a:cubicBezTo>
                    <a:pt x="1723" y="3594"/>
                    <a:pt x="1639" y="3486"/>
                    <a:pt x="1639" y="3325"/>
                  </a:cubicBezTo>
                  <a:lnTo>
                    <a:pt x="1639" y="3275"/>
                  </a:lnTo>
                  <a:lnTo>
                    <a:pt x="1639" y="3275"/>
                  </a:lnTo>
                  <a:cubicBezTo>
                    <a:pt x="1639" y="3249"/>
                    <a:pt x="1617" y="3241"/>
                    <a:pt x="1602" y="3215"/>
                  </a:cubicBezTo>
                  <a:lnTo>
                    <a:pt x="1602" y="3215"/>
                  </a:lnTo>
                  <a:cubicBezTo>
                    <a:pt x="1551" y="3128"/>
                    <a:pt x="1496" y="3059"/>
                    <a:pt x="1496" y="2940"/>
                  </a:cubicBezTo>
                  <a:lnTo>
                    <a:pt x="1496" y="2940"/>
                  </a:lnTo>
                  <a:cubicBezTo>
                    <a:pt x="1496" y="2812"/>
                    <a:pt x="1611" y="2781"/>
                    <a:pt x="1611" y="2683"/>
                  </a:cubicBezTo>
                  <a:lnTo>
                    <a:pt x="1611" y="2683"/>
                  </a:lnTo>
                  <a:cubicBezTo>
                    <a:pt x="1611" y="2637"/>
                    <a:pt x="1593" y="2619"/>
                    <a:pt x="1588" y="2579"/>
                  </a:cubicBezTo>
                  <a:lnTo>
                    <a:pt x="1588" y="2579"/>
                  </a:lnTo>
                  <a:cubicBezTo>
                    <a:pt x="1575" y="2500"/>
                    <a:pt x="1560" y="2473"/>
                    <a:pt x="1542" y="2427"/>
                  </a:cubicBezTo>
                  <a:lnTo>
                    <a:pt x="1542" y="2427"/>
                  </a:lnTo>
                  <a:cubicBezTo>
                    <a:pt x="1527" y="2390"/>
                    <a:pt x="1534" y="2348"/>
                    <a:pt x="1511" y="2317"/>
                  </a:cubicBezTo>
                  <a:lnTo>
                    <a:pt x="1511" y="2317"/>
                  </a:lnTo>
                  <a:cubicBezTo>
                    <a:pt x="1463" y="2256"/>
                    <a:pt x="1359" y="2192"/>
                    <a:pt x="1359" y="2106"/>
                  </a:cubicBezTo>
                  <a:lnTo>
                    <a:pt x="1359" y="2106"/>
                  </a:lnTo>
                  <a:cubicBezTo>
                    <a:pt x="1359" y="2086"/>
                    <a:pt x="1389" y="2040"/>
                    <a:pt x="1402" y="2033"/>
                  </a:cubicBezTo>
                  <a:lnTo>
                    <a:pt x="1402" y="2033"/>
                  </a:lnTo>
                  <a:cubicBezTo>
                    <a:pt x="1394" y="2017"/>
                    <a:pt x="1402" y="2013"/>
                    <a:pt x="1402" y="2005"/>
                  </a:cubicBezTo>
                  <a:lnTo>
                    <a:pt x="1402" y="2005"/>
                  </a:lnTo>
                  <a:cubicBezTo>
                    <a:pt x="1402" y="1984"/>
                    <a:pt x="1402" y="1928"/>
                    <a:pt x="1420" y="1914"/>
                  </a:cubicBezTo>
                  <a:lnTo>
                    <a:pt x="1420" y="1914"/>
                  </a:lnTo>
                  <a:cubicBezTo>
                    <a:pt x="1400" y="1873"/>
                    <a:pt x="1367" y="1837"/>
                    <a:pt x="1304" y="1837"/>
                  </a:cubicBezTo>
                  <a:lnTo>
                    <a:pt x="1227" y="1837"/>
                  </a:lnTo>
                  <a:lnTo>
                    <a:pt x="1227" y="1837"/>
                  </a:lnTo>
                  <a:cubicBezTo>
                    <a:pt x="1173" y="1837"/>
                    <a:pt x="1160" y="1730"/>
                    <a:pt x="1085" y="1730"/>
                  </a:cubicBezTo>
                  <a:lnTo>
                    <a:pt x="1085" y="1730"/>
                  </a:lnTo>
                  <a:cubicBezTo>
                    <a:pt x="993" y="1730"/>
                    <a:pt x="926" y="1773"/>
                    <a:pt x="856" y="1795"/>
                  </a:cubicBezTo>
                  <a:lnTo>
                    <a:pt x="856" y="1795"/>
                  </a:lnTo>
                  <a:cubicBezTo>
                    <a:pt x="828" y="1804"/>
                    <a:pt x="819" y="1827"/>
                    <a:pt x="791" y="1827"/>
                  </a:cubicBezTo>
                  <a:lnTo>
                    <a:pt x="791" y="1827"/>
                  </a:lnTo>
                  <a:cubicBezTo>
                    <a:pt x="764" y="1827"/>
                    <a:pt x="718" y="1800"/>
                    <a:pt x="682" y="1800"/>
                  </a:cubicBezTo>
                  <a:lnTo>
                    <a:pt x="682" y="1800"/>
                  </a:lnTo>
                  <a:cubicBezTo>
                    <a:pt x="610" y="1800"/>
                    <a:pt x="579" y="1837"/>
                    <a:pt x="507" y="1837"/>
                  </a:cubicBezTo>
                  <a:lnTo>
                    <a:pt x="507" y="1837"/>
                  </a:lnTo>
                  <a:cubicBezTo>
                    <a:pt x="486" y="1837"/>
                    <a:pt x="460" y="1827"/>
                    <a:pt x="453" y="1822"/>
                  </a:cubicBezTo>
                  <a:lnTo>
                    <a:pt x="453" y="1822"/>
                  </a:lnTo>
                  <a:cubicBezTo>
                    <a:pt x="401" y="1783"/>
                    <a:pt x="295" y="1721"/>
                    <a:pt x="257" y="1663"/>
                  </a:cubicBezTo>
                  <a:lnTo>
                    <a:pt x="257" y="1663"/>
                  </a:lnTo>
                  <a:cubicBezTo>
                    <a:pt x="222" y="1609"/>
                    <a:pt x="211" y="1565"/>
                    <a:pt x="165" y="1529"/>
                  </a:cubicBezTo>
                  <a:lnTo>
                    <a:pt x="165" y="1529"/>
                  </a:lnTo>
                  <a:cubicBezTo>
                    <a:pt x="152" y="1520"/>
                    <a:pt x="55" y="1435"/>
                    <a:pt x="55" y="1427"/>
                  </a:cubicBezTo>
                  <a:lnTo>
                    <a:pt x="55" y="1427"/>
                  </a:lnTo>
                  <a:cubicBezTo>
                    <a:pt x="46" y="1416"/>
                    <a:pt x="40" y="1413"/>
                    <a:pt x="31" y="1402"/>
                  </a:cubicBezTo>
                  <a:lnTo>
                    <a:pt x="37" y="1402"/>
                  </a:lnTo>
                  <a:lnTo>
                    <a:pt x="37" y="1402"/>
                  </a:lnTo>
                  <a:cubicBezTo>
                    <a:pt x="37" y="1374"/>
                    <a:pt x="28" y="1360"/>
                    <a:pt x="28" y="1343"/>
                  </a:cubicBezTo>
                  <a:lnTo>
                    <a:pt x="28" y="1343"/>
                  </a:lnTo>
                  <a:cubicBezTo>
                    <a:pt x="28" y="1317"/>
                    <a:pt x="13" y="1308"/>
                    <a:pt x="0" y="1283"/>
                  </a:cubicBezTo>
                  <a:lnTo>
                    <a:pt x="0" y="1283"/>
                  </a:lnTo>
                  <a:cubicBezTo>
                    <a:pt x="40" y="1262"/>
                    <a:pt x="77" y="1163"/>
                    <a:pt x="77" y="1118"/>
                  </a:cubicBezTo>
                  <a:lnTo>
                    <a:pt x="77" y="1118"/>
                  </a:lnTo>
                  <a:cubicBezTo>
                    <a:pt x="77" y="1037"/>
                    <a:pt x="40" y="986"/>
                    <a:pt x="40" y="913"/>
                  </a:cubicBezTo>
                  <a:lnTo>
                    <a:pt x="40" y="913"/>
                  </a:lnTo>
                  <a:cubicBezTo>
                    <a:pt x="40" y="876"/>
                    <a:pt x="83" y="854"/>
                    <a:pt x="91" y="825"/>
                  </a:cubicBezTo>
                  <a:lnTo>
                    <a:pt x="91" y="825"/>
                  </a:lnTo>
                  <a:cubicBezTo>
                    <a:pt x="116" y="753"/>
                    <a:pt x="170" y="656"/>
                    <a:pt x="214" y="595"/>
                  </a:cubicBezTo>
                  <a:lnTo>
                    <a:pt x="214" y="595"/>
                  </a:lnTo>
                  <a:cubicBezTo>
                    <a:pt x="240" y="561"/>
                    <a:pt x="288" y="564"/>
                    <a:pt x="321" y="546"/>
                  </a:cubicBezTo>
                  <a:lnTo>
                    <a:pt x="321" y="546"/>
                  </a:lnTo>
                  <a:cubicBezTo>
                    <a:pt x="348" y="530"/>
                    <a:pt x="394" y="493"/>
                    <a:pt x="403" y="463"/>
                  </a:cubicBezTo>
                  <a:lnTo>
                    <a:pt x="403" y="463"/>
                  </a:lnTo>
                  <a:cubicBezTo>
                    <a:pt x="425" y="396"/>
                    <a:pt x="397" y="367"/>
                    <a:pt x="435" y="321"/>
                  </a:cubicBezTo>
                  <a:lnTo>
                    <a:pt x="435" y="321"/>
                  </a:lnTo>
                  <a:cubicBezTo>
                    <a:pt x="482" y="260"/>
                    <a:pt x="544" y="203"/>
                    <a:pt x="590" y="147"/>
                  </a:cubicBezTo>
                  <a:lnTo>
                    <a:pt x="586" y="147"/>
                  </a:lnTo>
                  <a:lnTo>
                    <a:pt x="586" y="147"/>
                  </a:lnTo>
                  <a:cubicBezTo>
                    <a:pt x="601" y="129"/>
                    <a:pt x="605" y="112"/>
                    <a:pt x="623" y="97"/>
                  </a:cubicBezTo>
                  <a:lnTo>
                    <a:pt x="623" y="97"/>
                  </a:lnTo>
                  <a:cubicBezTo>
                    <a:pt x="669" y="130"/>
                    <a:pt x="717" y="143"/>
                    <a:pt x="779" y="143"/>
                  </a:cubicBezTo>
                  <a:lnTo>
                    <a:pt x="779" y="143"/>
                  </a:lnTo>
                  <a:cubicBezTo>
                    <a:pt x="818" y="143"/>
                    <a:pt x="825" y="121"/>
                    <a:pt x="846" y="110"/>
                  </a:cubicBezTo>
                  <a:lnTo>
                    <a:pt x="846" y="110"/>
                  </a:lnTo>
                  <a:cubicBezTo>
                    <a:pt x="918" y="75"/>
                    <a:pt x="1053" y="24"/>
                    <a:pt x="1136" y="24"/>
                  </a:cubicBezTo>
                  <a:lnTo>
                    <a:pt x="1136" y="24"/>
                  </a:lnTo>
                  <a:cubicBezTo>
                    <a:pt x="1162" y="24"/>
                    <a:pt x="1186" y="42"/>
                    <a:pt x="1200" y="42"/>
                  </a:cubicBezTo>
                  <a:lnTo>
                    <a:pt x="1200" y="42"/>
                  </a:lnTo>
                  <a:cubicBezTo>
                    <a:pt x="1220" y="42"/>
                    <a:pt x="1250" y="15"/>
                    <a:pt x="1277" y="15"/>
                  </a:cubicBezTo>
                  <a:lnTo>
                    <a:pt x="1277" y="15"/>
                  </a:lnTo>
                  <a:cubicBezTo>
                    <a:pt x="1301" y="15"/>
                    <a:pt x="1312" y="28"/>
                    <a:pt x="1332" y="28"/>
                  </a:cubicBezTo>
                  <a:lnTo>
                    <a:pt x="1332" y="28"/>
                  </a:lnTo>
                  <a:cubicBezTo>
                    <a:pt x="1369" y="28"/>
                    <a:pt x="1371" y="0"/>
                    <a:pt x="1405" y="0"/>
                  </a:cubicBezTo>
                  <a:lnTo>
                    <a:pt x="1405" y="0"/>
                  </a:lnTo>
                  <a:cubicBezTo>
                    <a:pt x="1440" y="0"/>
                    <a:pt x="1431" y="33"/>
                    <a:pt x="1459" y="33"/>
                  </a:cubicBezTo>
                  <a:lnTo>
                    <a:pt x="1459" y="33"/>
                  </a:lnTo>
                  <a:cubicBezTo>
                    <a:pt x="1470" y="33"/>
                    <a:pt x="1476" y="24"/>
                    <a:pt x="1487" y="22"/>
                  </a:cubicBezTo>
                  <a:lnTo>
                    <a:pt x="1487" y="22"/>
                  </a:lnTo>
                  <a:cubicBezTo>
                    <a:pt x="1485" y="49"/>
                    <a:pt x="1459" y="46"/>
                    <a:pt x="1459" y="70"/>
                  </a:cubicBezTo>
                  <a:lnTo>
                    <a:pt x="1459" y="70"/>
                  </a:lnTo>
                  <a:cubicBezTo>
                    <a:pt x="1459" y="86"/>
                    <a:pt x="1483" y="94"/>
                    <a:pt x="1483" y="110"/>
                  </a:cubicBezTo>
                  <a:lnTo>
                    <a:pt x="1483" y="110"/>
                  </a:lnTo>
                  <a:cubicBezTo>
                    <a:pt x="1483" y="137"/>
                    <a:pt x="1459" y="152"/>
                    <a:pt x="1459" y="180"/>
                  </a:cubicBezTo>
                  <a:lnTo>
                    <a:pt x="1459" y="180"/>
                  </a:lnTo>
                  <a:cubicBezTo>
                    <a:pt x="1459" y="225"/>
                    <a:pt x="1507" y="266"/>
                    <a:pt x="1542" y="266"/>
                  </a:cubicBezTo>
                  <a:lnTo>
                    <a:pt x="1593" y="266"/>
                  </a:lnTo>
                  <a:lnTo>
                    <a:pt x="1593" y="266"/>
                  </a:lnTo>
                  <a:cubicBezTo>
                    <a:pt x="1712" y="266"/>
                    <a:pt x="1754" y="412"/>
                    <a:pt x="1890" y="412"/>
                  </a:cubicBezTo>
                  <a:lnTo>
                    <a:pt x="1890" y="412"/>
                  </a:lnTo>
                  <a:cubicBezTo>
                    <a:pt x="1907" y="412"/>
                    <a:pt x="1926" y="394"/>
                    <a:pt x="1926" y="385"/>
                  </a:cubicBezTo>
                  <a:lnTo>
                    <a:pt x="1926" y="348"/>
                  </a:lnTo>
                  <a:lnTo>
                    <a:pt x="1926" y="348"/>
                  </a:lnTo>
                  <a:cubicBezTo>
                    <a:pt x="1926" y="290"/>
                    <a:pt x="1971" y="290"/>
                    <a:pt x="2027" y="271"/>
                  </a:cubicBezTo>
                  <a:lnTo>
                    <a:pt x="2033" y="275"/>
                  </a:lnTo>
                </a:path>
              </a:pathLst>
            </a:custGeom>
            <a:solidFill>
              <a:srgbClr val="FF3939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5" name="Freeform 3">
              <a:extLst>
                <a:ext uri="{FF2B5EF4-FFF2-40B4-BE49-F238E27FC236}">
                  <a16:creationId xmlns:a16="http://schemas.microsoft.com/office/drawing/2014/main" id="{F00A43CC-A088-6044-B783-1A5358D8A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76858" y="5371766"/>
              <a:ext cx="1270212" cy="1100276"/>
            </a:xfrm>
            <a:custGeom>
              <a:avLst/>
              <a:gdLst>
                <a:gd name="T0" fmla="*/ 440 w 1944"/>
                <a:gd name="T1" fmla="*/ 619 h 1685"/>
                <a:gd name="T2" fmla="*/ 517 w 1944"/>
                <a:gd name="T3" fmla="*/ 434 h 1685"/>
                <a:gd name="T4" fmla="*/ 521 w 1944"/>
                <a:gd name="T5" fmla="*/ 338 h 1685"/>
                <a:gd name="T6" fmla="*/ 486 w 1944"/>
                <a:gd name="T7" fmla="*/ 335 h 1685"/>
                <a:gd name="T8" fmla="*/ 357 w 1944"/>
                <a:gd name="T9" fmla="*/ 366 h 1685"/>
                <a:gd name="T10" fmla="*/ 202 w 1944"/>
                <a:gd name="T11" fmla="*/ 363 h 1685"/>
                <a:gd name="T12" fmla="*/ 109 w 1944"/>
                <a:gd name="T13" fmla="*/ 319 h 1685"/>
                <a:gd name="T14" fmla="*/ 0 w 1944"/>
                <a:gd name="T15" fmla="*/ 227 h 1685"/>
                <a:gd name="T16" fmla="*/ 39 w 1944"/>
                <a:gd name="T17" fmla="*/ 156 h 1685"/>
                <a:gd name="T18" fmla="*/ 172 w 1944"/>
                <a:gd name="T19" fmla="*/ 84 h 1685"/>
                <a:gd name="T20" fmla="*/ 202 w 1944"/>
                <a:gd name="T21" fmla="*/ 53 h 1685"/>
                <a:gd name="T22" fmla="*/ 334 w 1944"/>
                <a:gd name="T23" fmla="*/ 16 h 1685"/>
                <a:gd name="T24" fmla="*/ 529 w 1944"/>
                <a:gd name="T25" fmla="*/ 27 h 1685"/>
                <a:gd name="T26" fmla="*/ 852 w 1944"/>
                <a:gd name="T27" fmla="*/ 15 h 1685"/>
                <a:gd name="T28" fmla="*/ 971 w 1944"/>
                <a:gd name="T29" fmla="*/ 117 h 1685"/>
                <a:gd name="T30" fmla="*/ 1129 w 1944"/>
                <a:gd name="T31" fmla="*/ 141 h 1685"/>
                <a:gd name="T32" fmla="*/ 1167 w 1944"/>
                <a:gd name="T33" fmla="*/ 168 h 1685"/>
                <a:gd name="T34" fmla="*/ 1192 w 1944"/>
                <a:gd name="T35" fmla="*/ 210 h 1685"/>
                <a:gd name="T36" fmla="*/ 1254 w 1944"/>
                <a:gd name="T37" fmla="*/ 282 h 1685"/>
                <a:gd name="T38" fmla="*/ 1369 w 1944"/>
                <a:gd name="T39" fmla="*/ 326 h 1685"/>
                <a:gd name="T40" fmla="*/ 1455 w 1944"/>
                <a:gd name="T41" fmla="*/ 282 h 1685"/>
                <a:gd name="T42" fmla="*/ 1529 w 1944"/>
                <a:gd name="T43" fmla="*/ 238 h 1685"/>
                <a:gd name="T44" fmla="*/ 1713 w 1944"/>
                <a:gd name="T45" fmla="*/ 251 h 1685"/>
                <a:gd name="T46" fmla="*/ 1840 w 1944"/>
                <a:gd name="T47" fmla="*/ 328 h 1685"/>
                <a:gd name="T48" fmla="*/ 1807 w 1944"/>
                <a:gd name="T49" fmla="*/ 476 h 1685"/>
                <a:gd name="T50" fmla="*/ 1814 w 1944"/>
                <a:gd name="T51" fmla="*/ 574 h 1685"/>
                <a:gd name="T52" fmla="*/ 1867 w 1944"/>
                <a:gd name="T53" fmla="*/ 649 h 1685"/>
                <a:gd name="T54" fmla="*/ 1849 w 1944"/>
                <a:gd name="T55" fmla="*/ 746 h 1685"/>
                <a:gd name="T56" fmla="*/ 1864 w 1944"/>
                <a:gd name="T57" fmla="*/ 965 h 1685"/>
                <a:gd name="T58" fmla="*/ 1862 w 1944"/>
                <a:gd name="T59" fmla="*/ 997 h 1685"/>
                <a:gd name="T60" fmla="*/ 1632 w 1944"/>
                <a:gd name="T61" fmla="*/ 958 h 1685"/>
                <a:gd name="T62" fmla="*/ 1537 w 1944"/>
                <a:gd name="T63" fmla="*/ 912 h 1685"/>
                <a:gd name="T64" fmla="*/ 1384 w 1944"/>
                <a:gd name="T65" fmla="*/ 861 h 1685"/>
                <a:gd name="T66" fmla="*/ 1303 w 1944"/>
                <a:gd name="T67" fmla="*/ 797 h 1685"/>
                <a:gd name="T68" fmla="*/ 1154 w 1944"/>
                <a:gd name="T69" fmla="*/ 758 h 1685"/>
                <a:gd name="T70" fmla="*/ 1263 w 1944"/>
                <a:gd name="T71" fmla="*/ 932 h 1685"/>
                <a:gd name="T72" fmla="*/ 1313 w 1944"/>
                <a:gd name="T73" fmla="*/ 942 h 1685"/>
                <a:gd name="T74" fmla="*/ 1301 w 1944"/>
                <a:gd name="T75" fmla="*/ 1020 h 1685"/>
                <a:gd name="T76" fmla="*/ 1574 w 1944"/>
                <a:gd name="T77" fmla="*/ 1002 h 1685"/>
                <a:gd name="T78" fmla="*/ 1722 w 1944"/>
                <a:gd name="T79" fmla="*/ 1125 h 1685"/>
                <a:gd name="T80" fmla="*/ 1758 w 1944"/>
                <a:gd name="T81" fmla="*/ 1153 h 1685"/>
                <a:gd name="T82" fmla="*/ 1651 w 1944"/>
                <a:gd name="T83" fmla="*/ 1282 h 1685"/>
                <a:gd name="T84" fmla="*/ 1570 w 1944"/>
                <a:gd name="T85" fmla="*/ 1389 h 1685"/>
                <a:gd name="T86" fmla="*/ 1358 w 1944"/>
                <a:gd name="T87" fmla="*/ 1512 h 1685"/>
                <a:gd name="T88" fmla="*/ 1223 w 1944"/>
                <a:gd name="T89" fmla="*/ 1572 h 1685"/>
                <a:gd name="T90" fmla="*/ 972 w 1944"/>
                <a:gd name="T91" fmla="*/ 1677 h 1685"/>
                <a:gd name="T92" fmla="*/ 903 w 1944"/>
                <a:gd name="T93" fmla="*/ 1658 h 1685"/>
                <a:gd name="T94" fmla="*/ 869 w 1944"/>
                <a:gd name="T95" fmla="*/ 1544 h 1685"/>
                <a:gd name="T96" fmla="*/ 825 w 1944"/>
                <a:gd name="T97" fmla="*/ 1415 h 1685"/>
                <a:gd name="T98" fmla="*/ 673 w 1944"/>
                <a:gd name="T99" fmla="*/ 1163 h 1685"/>
                <a:gd name="T100" fmla="*/ 618 w 1944"/>
                <a:gd name="T101" fmla="*/ 1053 h 1685"/>
                <a:gd name="T102" fmla="*/ 570 w 1944"/>
                <a:gd name="T103" fmla="*/ 995 h 1685"/>
                <a:gd name="T104" fmla="*/ 484 w 1944"/>
                <a:gd name="T105" fmla="*/ 859 h 1685"/>
                <a:gd name="T106" fmla="*/ 466 w 1944"/>
                <a:gd name="T107" fmla="*/ 737 h 1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44" h="1685">
                  <a:moveTo>
                    <a:pt x="466" y="737"/>
                  </a:moveTo>
                  <a:lnTo>
                    <a:pt x="426" y="639"/>
                  </a:lnTo>
                  <a:lnTo>
                    <a:pt x="426" y="639"/>
                  </a:lnTo>
                  <a:cubicBezTo>
                    <a:pt x="426" y="626"/>
                    <a:pt x="438" y="626"/>
                    <a:pt x="440" y="619"/>
                  </a:cubicBezTo>
                  <a:lnTo>
                    <a:pt x="440" y="619"/>
                  </a:lnTo>
                  <a:cubicBezTo>
                    <a:pt x="453" y="579"/>
                    <a:pt x="458" y="559"/>
                    <a:pt x="470" y="522"/>
                  </a:cubicBezTo>
                  <a:lnTo>
                    <a:pt x="470" y="522"/>
                  </a:lnTo>
                  <a:cubicBezTo>
                    <a:pt x="480" y="485"/>
                    <a:pt x="517" y="476"/>
                    <a:pt x="517" y="434"/>
                  </a:cubicBezTo>
                  <a:lnTo>
                    <a:pt x="517" y="434"/>
                  </a:lnTo>
                  <a:cubicBezTo>
                    <a:pt x="517" y="403"/>
                    <a:pt x="508" y="378"/>
                    <a:pt x="508" y="356"/>
                  </a:cubicBezTo>
                  <a:lnTo>
                    <a:pt x="508" y="356"/>
                  </a:lnTo>
                  <a:cubicBezTo>
                    <a:pt x="508" y="344"/>
                    <a:pt x="517" y="341"/>
                    <a:pt x="521" y="338"/>
                  </a:cubicBezTo>
                  <a:lnTo>
                    <a:pt x="521" y="319"/>
                  </a:lnTo>
                  <a:lnTo>
                    <a:pt x="521" y="319"/>
                  </a:lnTo>
                  <a:cubicBezTo>
                    <a:pt x="506" y="325"/>
                    <a:pt x="501" y="335"/>
                    <a:pt x="486" y="335"/>
                  </a:cubicBezTo>
                  <a:lnTo>
                    <a:pt x="486" y="335"/>
                  </a:lnTo>
                  <a:cubicBezTo>
                    <a:pt x="467" y="335"/>
                    <a:pt x="457" y="328"/>
                    <a:pt x="449" y="321"/>
                  </a:cubicBezTo>
                  <a:lnTo>
                    <a:pt x="449" y="321"/>
                  </a:lnTo>
                  <a:cubicBezTo>
                    <a:pt x="420" y="343"/>
                    <a:pt x="411" y="366"/>
                    <a:pt x="357" y="366"/>
                  </a:cubicBezTo>
                  <a:lnTo>
                    <a:pt x="357" y="366"/>
                  </a:lnTo>
                  <a:cubicBezTo>
                    <a:pt x="319" y="366"/>
                    <a:pt x="305" y="321"/>
                    <a:pt x="266" y="321"/>
                  </a:cubicBezTo>
                  <a:lnTo>
                    <a:pt x="266" y="321"/>
                  </a:lnTo>
                  <a:cubicBezTo>
                    <a:pt x="228" y="321"/>
                    <a:pt x="235" y="363"/>
                    <a:pt x="202" y="363"/>
                  </a:cubicBezTo>
                  <a:lnTo>
                    <a:pt x="202" y="363"/>
                  </a:lnTo>
                  <a:cubicBezTo>
                    <a:pt x="167" y="363"/>
                    <a:pt x="148" y="313"/>
                    <a:pt x="114" y="330"/>
                  </a:cubicBezTo>
                  <a:lnTo>
                    <a:pt x="94" y="330"/>
                  </a:lnTo>
                  <a:lnTo>
                    <a:pt x="94" y="330"/>
                  </a:lnTo>
                  <a:cubicBezTo>
                    <a:pt x="99" y="328"/>
                    <a:pt x="107" y="322"/>
                    <a:pt x="109" y="319"/>
                  </a:cubicBezTo>
                  <a:lnTo>
                    <a:pt x="109" y="319"/>
                  </a:lnTo>
                  <a:cubicBezTo>
                    <a:pt x="97" y="308"/>
                    <a:pt x="44" y="280"/>
                    <a:pt x="63" y="262"/>
                  </a:cubicBezTo>
                  <a:lnTo>
                    <a:pt x="63" y="262"/>
                  </a:lnTo>
                  <a:cubicBezTo>
                    <a:pt x="46" y="238"/>
                    <a:pt x="26" y="240"/>
                    <a:pt x="0" y="227"/>
                  </a:cubicBezTo>
                  <a:lnTo>
                    <a:pt x="0" y="227"/>
                  </a:lnTo>
                  <a:cubicBezTo>
                    <a:pt x="19" y="209"/>
                    <a:pt x="39" y="212"/>
                    <a:pt x="39" y="178"/>
                  </a:cubicBezTo>
                  <a:lnTo>
                    <a:pt x="39" y="178"/>
                  </a:lnTo>
                  <a:cubicBezTo>
                    <a:pt x="39" y="165"/>
                    <a:pt x="35" y="165"/>
                    <a:pt x="39" y="156"/>
                  </a:cubicBezTo>
                  <a:lnTo>
                    <a:pt x="39" y="156"/>
                  </a:lnTo>
                  <a:cubicBezTo>
                    <a:pt x="26" y="156"/>
                    <a:pt x="8" y="158"/>
                    <a:pt x="8" y="147"/>
                  </a:cubicBezTo>
                  <a:lnTo>
                    <a:pt x="8" y="147"/>
                  </a:lnTo>
                  <a:cubicBezTo>
                    <a:pt x="8" y="89"/>
                    <a:pt x="140" y="101"/>
                    <a:pt x="172" y="84"/>
                  </a:cubicBezTo>
                  <a:lnTo>
                    <a:pt x="172" y="84"/>
                  </a:lnTo>
                  <a:cubicBezTo>
                    <a:pt x="169" y="70"/>
                    <a:pt x="158" y="75"/>
                    <a:pt x="158" y="62"/>
                  </a:cubicBezTo>
                  <a:lnTo>
                    <a:pt x="158" y="62"/>
                  </a:lnTo>
                  <a:cubicBezTo>
                    <a:pt x="158" y="46"/>
                    <a:pt x="192" y="53"/>
                    <a:pt x="202" y="53"/>
                  </a:cubicBezTo>
                  <a:lnTo>
                    <a:pt x="259" y="53"/>
                  </a:lnTo>
                  <a:lnTo>
                    <a:pt x="259" y="53"/>
                  </a:lnTo>
                  <a:cubicBezTo>
                    <a:pt x="281" y="53"/>
                    <a:pt x="313" y="29"/>
                    <a:pt x="334" y="16"/>
                  </a:cubicBezTo>
                  <a:lnTo>
                    <a:pt x="334" y="16"/>
                  </a:lnTo>
                  <a:cubicBezTo>
                    <a:pt x="357" y="2"/>
                    <a:pt x="408" y="0"/>
                    <a:pt x="440" y="0"/>
                  </a:cubicBezTo>
                  <a:lnTo>
                    <a:pt x="440" y="0"/>
                  </a:lnTo>
                  <a:cubicBezTo>
                    <a:pt x="490" y="0"/>
                    <a:pt x="488" y="27"/>
                    <a:pt x="529" y="27"/>
                  </a:cubicBezTo>
                  <a:lnTo>
                    <a:pt x="529" y="27"/>
                  </a:lnTo>
                  <a:cubicBezTo>
                    <a:pt x="529" y="50"/>
                    <a:pt x="601" y="62"/>
                    <a:pt x="621" y="64"/>
                  </a:cubicBezTo>
                  <a:lnTo>
                    <a:pt x="726" y="64"/>
                  </a:lnTo>
                  <a:lnTo>
                    <a:pt x="726" y="64"/>
                  </a:lnTo>
                  <a:cubicBezTo>
                    <a:pt x="776" y="64"/>
                    <a:pt x="798" y="15"/>
                    <a:pt x="852" y="15"/>
                  </a:cubicBezTo>
                  <a:lnTo>
                    <a:pt x="852" y="15"/>
                  </a:lnTo>
                  <a:cubicBezTo>
                    <a:pt x="912" y="15"/>
                    <a:pt x="909" y="50"/>
                    <a:pt x="927" y="88"/>
                  </a:cubicBezTo>
                  <a:lnTo>
                    <a:pt x="927" y="88"/>
                  </a:lnTo>
                  <a:cubicBezTo>
                    <a:pt x="931" y="96"/>
                    <a:pt x="968" y="117"/>
                    <a:pt x="971" y="117"/>
                  </a:cubicBezTo>
                  <a:lnTo>
                    <a:pt x="971" y="117"/>
                  </a:lnTo>
                  <a:cubicBezTo>
                    <a:pt x="1004" y="128"/>
                    <a:pt x="1012" y="183"/>
                    <a:pt x="1063" y="183"/>
                  </a:cubicBezTo>
                  <a:lnTo>
                    <a:pt x="1063" y="183"/>
                  </a:lnTo>
                  <a:cubicBezTo>
                    <a:pt x="1103" y="183"/>
                    <a:pt x="1102" y="150"/>
                    <a:pt x="1129" y="141"/>
                  </a:cubicBezTo>
                  <a:lnTo>
                    <a:pt x="1129" y="141"/>
                  </a:lnTo>
                  <a:cubicBezTo>
                    <a:pt x="1144" y="136"/>
                    <a:pt x="1142" y="137"/>
                    <a:pt x="1154" y="136"/>
                  </a:cubicBezTo>
                  <a:lnTo>
                    <a:pt x="1154" y="136"/>
                  </a:lnTo>
                  <a:cubicBezTo>
                    <a:pt x="1160" y="147"/>
                    <a:pt x="1160" y="161"/>
                    <a:pt x="1167" y="168"/>
                  </a:cubicBezTo>
                  <a:lnTo>
                    <a:pt x="1167" y="168"/>
                  </a:lnTo>
                  <a:cubicBezTo>
                    <a:pt x="1166" y="172"/>
                    <a:pt x="1167" y="176"/>
                    <a:pt x="1167" y="179"/>
                  </a:cubicBezTo>
                  <a:lnTo>
                    <a:pt x="1167" y="179"/>
                  </a:lnTo>
                  <a:cubicBezTo>
                    <a:pt x="1167" y="198"/>
                    <a:pt x="1182" y="196"/>
                    <a:pt x="1192" y="210"/>
                  </a:cubicBezTo>
                  <a:lnTo>
                    <a:pt x="1192" y="210"/>
                  </a:lnTo>
                  <a:cubicBezTo>
                    <a:pt x="1206" y="233"/>
                    <a:pt x="1189" y="248"/>
                    <a:pt x="1200" y="269"/>
                  </a:cubicBezTo>
                  <a:lnTo>
                    <a:pt x="1200" y="269"/>
                  </a:lnTo>
                  <a:cubicBezTo>
                    <a:pt x="1210" y="289"/>
                    <a:pt x="1233" y="279"/>
                    <a:pt x="1254" y="282"/>
                  </a:cubicBezTo>
                  <a:lnTo>
                    <a:pt x="1254" y="282"/>
                  </a:lnTo>
                  <a:cubicBezTo>
                    <a:pt x="1270" y="286"/>
                    <a:pt x="1274" y="304"/>
                    <a:pt x="1285" y="315"/>
                  </a:cubicBezTo>
                  <a:lnTo>
                    <a:pt x="1285" y="315"/>
                  </a:lnTo>
                  <a:cubicBezTo>
                    <a:pt x="1299" y="330"/>
                    <a:pt x="1345" y="326"/>
                    <a:pt x="1369" y="326"/>
                  </a:cubicBezTo>
                  <a:lnTo>
                    <a:pt x="1369" y="326"/>
                  </a:lnTo>
                  <a:cubicBezTo>
                    <a:pt x="1400" y="326"/>
                    <a:pt x="1433" y="321"/>
                    <a:pt x="1455" y="315"/>
                  </a:cubicBezTo>
                  <a:lnTo>
                    <a:pt x="1455" y="282"/>
                  </a:lnTo>
                  <a:lnTo>
                    <a:pt x="1455" y="282"/>
                  </a:lnTo>
                  <a:cubicBezTo>
                    <a:pt x="1455" y="266"/>
                    <a:pt x="1477" y="266"/>
                    <a:pt x="1493" y="260"/>
                  </a:cubicBezTo>
                  <a:lnTo>
                    <a:pt x="1493" y="260"/>
                  </a:lnTo>
                  <a:cubicBezTo>
                    <a:pt x="1516" y="253"/>
                    <a:pt x="1510" y="245"/>
                    <a:pt x="1529" y="238"/>
                  </a:cubicBezTo>
                  <a:lnTo>
                    <a:pt x="1529" y="238"/>
                  </a:lnTo>
                  <a:cubicBezTo>
                    <a:pt x="1563" y="225"/>
                    <a:pt x="1584" y="234"/>
                    <a:pt x="1611" y="214"/>
                  </a:cubicBezTo>
                  <a:lnTo>
                    <a:pt x="1611" y="214"/>
                  </a:lnTo>
                  <a:cubicBezTo>
                    <a:pt x="1652" y="237"/>
                    <a:pt x="1675" y="238"/>
                    <a:pt x="1713" y="251"/>
                  </a:cubicBezTo>
                  <a:lnTo>
                    <a:pt x="1713" y="251"/>
                  </a:lnTo>
                  <a:cubicBezTo>
                    <a:pt x="1758" y="266"/>
                    <a:pt x="1772" y="306"/>
                    <a:pt x="1825" y="306"/>
                  </a:cubicBezTo>
                  <a:lnTo>
                    <a:pt x="1825" y="306"/>
                  </a:lnTo>
                  <a:cubicBezTo>
                    <a:pt x="1827" y="317"/>
                    <a:pt x="1838" y="321"/>
                    <a:pt x="1840" y="328"/>
                  </a:cubicBezTo>
                  <a:lnTo>
                    <a:pt x="1840" y="328"/>
                  </a:lnTo>
                  <a:cubicBezTo>
                    <a:pt x="1849" y="356"/>
                    <a:pt x="1838" y="383"/>
                    <a:pt x="1849" y="399"/>
                  </a:cubicBezTo>
                  <a:lnTo>
                    <a:pt x="1849" y="399"/>
                  </a:lnTo>
                  <a:cubicBezTo>
                    <a:pt x="1836" y="407"/>
                    <a:pt x="1807" y="473"/>
                    <a:pt x="1807" y="476"/>
                  </a:cubicBezTo>
                  <a:lnTo>
                    <a:pt x="1807" y="476"/>
                  </a:lnTo>
                  <a:cubicBezTo>
                    <a:pt x="1807" y="482"/>
                    <a:pt x="1812" y="491"/>
                    <a:pt x="1807" y="495"/>
                  </a:cubicBezTo>
                  <a:lnTo>
                    <a:pt x="1807" y="495"/>
                  </a:lnTo>
                  <a:cubicBezTo>
                    <a:pt x="1812" y="504"/>
                    <a:pt x="1811" y="508"/>
                    <a:pt x="1814" y="517"/>
                  </a:cubicBezTo>
                  <a:lnTo>
                    <a:pt x="1814" y="574"/>
                  </a:lnTo>
                  <a:lnTo>
                    <a:pt x="1814" y="574"/>
                  </a:lnTo>
                  <a:cubicBezTo>
                    <a:pt x="1822" y="590"/>
                    <a:pt x="1816" y="601"/>
                    <a:pt x="1823" y="618"/>
                  </a:cubicBezTo>
                  <a:lnTo>
                    <a:pt x="1823" y="618"/>
                  </a:lnTo>
                  <a:cubicBezTo>
                    <a:pt x="1831" y="634"/>
                    <a:pt x="1867" y="618"/>
                    <a:pt x="1867" y="649"/>
                  </a:cubicBezTo>
                  <a:lnTo>
                    <a:pt x="1867" y="649"/>
                  </a:lnTo>
                  <a:cubicBezTo>
                    <a:pt x="1867" y="687"/>
                    <a:pt x="1827" y="680"/>
                    <a:pt x="1827" y="713"/>
                  </a:cubicBezTo>
                  <a:lnTo>
                    <a:pt x="1827" y="713"/>
                  </a:lnTo>
                  <a:cubicBezTo>
                    <a:pt x="1827" y="735"/>
                    <a:pt x="1843" y="735"/>
                    <a:pt x="1849" y="746"/>
                  </a:cubicBezTo>
                  <a:lnTo>
                    <a:pt x="1849" y="746"/>
                  </a:lnTo>
                  <a:cubicBezTo>
                    <a:pt x="1879" y="806"/>
                    <a:pt x="1943" y="816"/>
                    <a:pt x="1943" y="894"/>
                  </a:cubicBezTo>
                  <a:lnTo>
                    <a:pt x="1943" y="894"/>
                  </a:lnTo>
                  <a:cubicBezTo>
                    <a:pt x="1895" y="905"/>
                    <a:pt x="1864" y="914"/>
                    <a:pt x="1864" y="965"/>
                  </a:cubicBezTo>
                  <a:lnTo>
                    <a:pt x="1864" y="965"/>
                  </a:lnTo>
                  <a:cubicBezTo>
                    <a:pt x="1864" y="978"/>
                    <a:pt x="1871" y="988"/>
                    <a:pt x="1871" y="997"/>
                  </a:cubicBezTo>
                  <a:lnTo>
                    <a:pt x="1871" y="997"/>
                  </a:lnTo>
                  <a:cubicBezTo>
                    <a:pt x="1871" y="999"/>
                    <a:pt x="1864" y="997"/>
                    <a:pt x="1862" y="997"/>
                  </a:cubicBezTo>
                  <a:lnTo>
                    <a:pt x="1862" y="997"/>
                  </a:lnTo>
                  <a:cubicBezTo>
                    <a:pt x="1827" y="997"/>
                    <a:pt x="1746" y="975"/>
                    <a:pt x="1697" y="975"/>
                  </a:cubicBezTo>
                  <a:lnTo>
                    <a:pt x="1697" y="975"/>
                  </a:lnTo>
                  <a:cubicBezTo>
                    <a:pt x="1688" y="975"/>
                    <a:pt x="1635" y="960"/>
                    <a:pt x="1632" y="958"/>
                  </a:cubicBezTo>
                  <a:lnTo>
                    <a:pt x="1632" y="958"/>
                  </a:lnTo>
                  <a:cubicBezTo>
                    <a:pt x="1614" y="940"/>
                    <a:pt x="1614" y="885"/>
                    <a:pt x="1576" y="885"/>
                  </a:cubicBezTo>
                  <a:lnTo>
                    <a:pt x="1576" y="885"/>
                  </a:lnTo>
                  <a:cubicBezTo>
                    <a:pt x="1556" y="885"/>
                    <a:pt x="1549" y="901"/>
                    <a:pt x="1537" y="912"/>
                  </a:cubicBezTo>
                  <a:lnTo>
                    <a:pt x="1446" y="912"/>
                  </a:lnTo>
                  <a:lnTo>
                    <a:pt x="1446" y="912"/>
                  </a:lnTo>
                  <a:cubicBezTo>
                    <a:pt x="1416" y="903"/>
                    <a:pt x="1402" y="879"/>
                    <a:pt x="1384" y="861"/>
                  </a:cubicBezTo>
                  <a:lnTo>
                    <a:pt x="1384" y="861"/>
                  </a:lnTo>
                  <a:cubicBezTo>
                    <a:pt x="1362" y="839"/>
                    <a:pt x="1332" y="850"/>
                    <a:pt x="1313" y="830"/>
                  </a:cubicBezTo>
                  <a:lnTo>
                    <a:pt x="1313" y="830"/>
                  </a:lnTo>
                  <a:cubicBezTo>
                    <a:pt x="1301" y="819"/>
                    <a:pt x="1307" y="804"/>
                    <a:pt x="1303" y="797"/>
                  </a:cubicBezTo>
                  <a:lnTo>
                    <a:pt x="1303" y="797"/>
                  </a:lnTo>
                  <a:cubicBezTo>
                    <a:pt x="1283" y="757"/>
                    <a:pt x="1243" y="700"/>
                    <a:pt x="1192" y="700"/>
                  </a:cubicBezTo>
                  <a:lnTo>
                    <a:pt x="1192" y="700"/>
                  </a:lnTo>
                  <a:cubicBezTo>
                    <a:pt x="1166" y="700"/>
                    <a:pt x="1154" y="733"/>
                    <a:pt x="1154" y="758"/>
                  </a:cubicBezTo>
                  <a:lnTo>
                    <a:pt x="1154" y="758"/>
                  </a:lnTo>
                  <a:cubicBezTo>
                    <a:pt x="1154" y="777"/>
                    <a:pt x="1154" y="786"/>
                    <a:pt x="1159" y="801"/>
                  </a:cubicBezTo>
                  <a:lnTo>
                    <a:pt x="1159" y="801"/>
                  </a:lnTo>
                  <a:cubicBezTo>
                    <a:pt x="1169" y="845"/>
                    <a:pt x="1221" y="923"/>
                    <a:pt x="1263" y="932"/>
                  </a:cubicBezTo>
                  <a:lnTo>
                    <a:pt x="1263" y="932"/>
                  </a:lnTo>
                  <a:cubicBezTo>
                    <a:pt x="1263" y="953"/>
                    <a:pt x="1274" y="958"/>
                    <a:pt x="1275" y="975"/>
                  </a:cubicBezTo>
                  <a:lnTo>
                    <a:pt x="1275" y="975"/>
                  </a:lnTo>
                  <a:cubicBezTo>
                    <a:pt x="1298" y="969"/>
                    <a:pt x="1294" y="945"/>
                    <a:pt x="1313" y="942"/>
                  </a:cubicBezTo>
                  <a:lnTo>
                    <a:pt x="1313" y="942"/>
                  </a:lnTo>
                  <a:cubicBezTo>
                    <a:pt x="1314" y="949"/>
                    <a:pt x="1314" y="955"/>
                    <a:pt x="1314" y="962"/>
                  </a:cubicBezTo>
                  <a:lnTo>
                    <a:pt x="1314" y="962"/>
                  </a:lnTo>
                  <a:cubicBezTo>
                    <a:pt x="1314" y="984"/>
                    <a:pt x="1301" y="999"/>
                    <a:pt x="1301" y="1020"/>
                  </a:cubicBezTo>
                  <a:lnTo>
                    <a:pt x="1301" y="1020"/>
                  </a:lnTo>
                  <a:cubicBezTo>
                    <a:pt x="1301" y="1047"/>
                    <a:pt x="1349" y="1059"/>
                    <a:pt x="1377" y="1059"/>
                  </a:cubicBezTo>
                  <a:lnTo>
                    <a:pt x="1377" y="1059"/>
                  </a:lnTo>
                  <a:cubicBezTo>
                    <a:pt x="1499" y="1059"/>
                    <a:pt x="1508" y="984"/>
                    <a:pt x="1574" y="934"/>
                  </a:cubicBezTo>
                  <a:lnTo>
                    <a:pt x="1574" y="1002"/>
                  </a:lnTo>
                  <a:lnTo>
                    <a:pt x="1574" y="1002"/>
                  </a:lnTo>
                  <a:cubicBezTo>
                    <a:pt x="1600" y="1055"/>
                    <a:pt x="1635" y="1065"/>
                    <a:pt x="1688" y="1081"/>
                  </a:cubicBezTo>
                  <a:lnTo>
                    <a:pt x="1688" y="1081"/>
                  </a:lnTo>
                  <a:cubicBezTo>
                    <a:pt x="1708" y="1086"/>
                    <a:pt x="1710" y="1118"/>
                    <a:pt x="1722" y="1125"/>
                  </a:cubicBezTo>
                  <a:lnTo>
                    <a:pt x="1722" y="1123"/>
                  </a:lnTo>
                  <a:lnTo>
                    <a:pt x="1722" y="1123"/>
                  </a:lnTo>
                  <a:cubicBezTo>
                    <a:pt x="1732" y="1140"/>
                    <a:pt x="1758" y="1136"/>
                    <a:pt x="1758" y="1153"/>
                  </a:cubicBezTo>
                  <a:lnTo>
                    <a:pt x="1758" y="1153"/>
                  </a:lnTo>
                  <a:cubicBezTo>
                    <a:pt x="1758" y="1194"/>
                    <a:pt x="1704" y="1209"/>
                    <a:pt x="1704" y="1253"/>
                  </a:cubicBezTo>
                  <a:lnTo>
                    <a:pt x="1704" y="1253"/>
                  </a:lnTo>
                  <a:cubicBezTo>
                    <a:pt x="1677" y="1253"/>
                    <a:pt x="1658" y="1261"/>
                    <a:pt x="1651" y="1282"/>
                  </a:cubicBezTo>
                  <a:lnTo>
                    <a:pt x="1651" y="1282"/>
                  </a:lnTo>
                  <a:cubicBezTo>
                    <a:pt x="1644" y="1305"/>
                    <a:pt x="1645" y="1336"/>
                    <a:pt x="1624" y="1336"/>
                  </a:cubicBezTo>
                  <a:lnTo>
                    <a:pt x="1624" y="1336"/>
                  </a:lnTo>
                  <a:cubicBezTo>
                    <a:pt x="1596" y="1336"/>
                    <a:pt x="1598" y="1389"/>
                    <a:pt x="1570" y="1389"/>
                  </a:cubicBezTo>
                  <a:lnTo>
                    <a:pt x="1570" y="1389"/>
                  </a:lnTo>
                  <a:cubicBezTo>
                    <a:pt x="1554" y="1389"/>
                    <a:pt x="1519" y="1420"/>
                    <a:pt x="1519" y="1442"/>
                  </a:cubicBezTo>
                  <a:lnTo>
                    <a:pt x="1519" y="1442"/>
                  </a:lnTo>
                  <a:cubicBezTo>
                    <a:pt x="1470" y="1451"/>
                    <a:pt x="1358" y="1472"/>
                    <a:pt x="1358" y="1512"/>
                  </a:cubicBezTo>
                  <a:lnTo>
                    <a:pt x="1358" y="1512"/>
                  </a:lnTo>
                  <a:cubicBezTo>
                    <a:pt x="1358" y="1517"/>
                    <a:pt x="1362" y="1525"/>
                    <a:pt x="1365" y="1528"/>
                  </a:cubicBezTo>
                  <a:lnTo>
                    <a:pt x="1365" y="1528"/>
                  </a:lnTo>
                  <a:cubicBezTo>
                    <a:pt x="1323" y="1548"/>
                    <a:pt x="1267" y="1561"/>
                    <a:pt x="1223" y="1572"/>
                  </a:cubicBezTo>
                  <a:lnTo>
                    <a:pt x="1223" y="1572"/>
                  </a:lnTo>
                  <a:cubicBezTo>
                    <a:pt x="1200" y="1577"/>
                    <a:pt x="1127" y="1629"/>
                    <a:pt x="1103" y="1640"/>
                  </a:cubicBezTo>
                  <a:lnTo>
                    <a:pt x="1046" y="1640"/>
                  </a:lnTo>
                  <a:lnTo>
                    <a:pt x="1046" y="1640"/>
                  </a:lnTo>
                  <a:cubicBezTo>
                    <a:pt x="1015" y="1662"/>
                    <a:pt x="1011" y="1677"/>
                    <a:pt x="972" y="1677"/>
                  </a:cubicBezTo>
                  <a:lnTo>
                    <a:pt x="961" y="1684"/>
                  </a:lnTo>
                  <a:lnTo>
                    <a:pt x="961" y="1684"/>
                  </a:lnTo>
                  <a:cubicBezTo>
                    <a:pt x="955" y="1684"/>
                    <a:pt x="908" y="1661"/>
                    <a:pt x="903" y="1658"/>
                  </a:cubicBezTo>
                  <a:lnTo>
                    <a:pt x="903" y="1658"/>
                  </a:lnTo>
                  <a:cubicBezTo>
                    <a:pt x="899" y="1657"/>
                    <a:pt x="913" y="1656"/>
                    <a:pt x="901" y="1638"/>
                  </a:cubicBezTo>
                  <a:lnTo>
                    <a:pt x="901" y="1638"/>
                  </a:lnTo>
                  <a:cubicBezTo>
                    <a:pt x="882" y="1610"/>
                    <a:pt x="869" y="1579"/>
                    <a:pt x="869" y="1544"/>
                  </a:cubicBezTo>
                  <a:lnTo>
                    <a:pt x="869" y="1544"/>
                  </a:lnTo>
                  <a:cubicBezTo>
                    <a:pt x="849" y="1543"/>
                    <a:pt x="863" y="1508"/>
                    <a:pt x="867" y="1492"/>
                  </a:cubicBezTo>
                  <a:lnTo>
                    <a:pt x="867" y="1492"/>
                  </a:lnTo>
                  <a:cubicBezTo>
                    <a:pt x="876" y="1451"/>
                    <a:pt x="845" y="1435"/>
                    <a:pt x="825" y="1415"/>
                  </a:cubicBezTo>
                  <a:lnTo>
                    <a:pt x="825" y="1415"/>
                  </a:lnTo>
                  <a:cubicBezTo>
                    <a:pt x="803" y="1392"/>
                    <a:pt x="752" y="1330"/>
                    <a:pt x="752" y="1285"/>
                  </a:cubicBezTo>
                  <a:lnTo>
                    <a:pt x="752" y="1285"/>
                  </a:lnTo>
                  <a:cubicBezTo>
                    <a:pt x="688" y="1271"/>
                    <a:pt x="673" y="1233"/>
                    <a:pt x="673" y="1163"/>
                  </a:cubicBezTo>
                  <a:lnTo>
                    <a:pt x="673" y="1163"/>
                  </a:lnTo>
                  <a:cubicBezTo>
                    <a:pt x="673" y="1121"/>
                    <a:pt x="649" y="1112"/>
                    <a:pt x="642" y="1078"/>
                  </a:cubicBezTo>
                  <a:lnTo>
                    <a:pt x="642" y="1078"/>
                  </a:lnTo>
                  <a:cubicBezTo>
                    <a:pt x="632" y="1070"/>
                    <a:pt x="623" y="1059"/>
                    <a:pt x="618" y="1053"/>
                  </a:cubicBezTo>
                  <a:lnTo>
                    <a:pt x="618" y="1053"/>
                  </a:lnTo>
                  <a:cubicBezTo>
                    <a:pt x="610" y="1047"/>
                    <a:pt x="587" y="1050"/>
                    <a:pt x="581" y="1045"/>
                  </a:cubicBezTo>
                  <a:lnTo>
                    <a:pt x="581" y="1045"/>
                  </a:lnTo>
                  <a:cubicBezTo>
                    <a:pt x="570" y="1033"/>
                    <a:pt x="574" y="1006"/>
                    <a:pt x="570" y="995"/>
                  </a:cubicBezTo>
                  <a:lnTo>
                    <a:pt x="570" y="995"/>
                  </a:lnTo>
                  <a:cubicBezTo>
                    <a:pt x="565" y="977"/>
                    <a:pt x="552" y="962"/>
                    <a:pt x="544" y="951"/>
                  </a:cubicBezTo>
                  <a:lnTo>
                    <a:pt x="544" y="951"/>
                  </a:lnTo>
                  <a:cubicBezTo>
                    <a:pt x="523" y="918"/>
                    <a:pt x="504" y="891"/>
                    <a:pt x="484" y="859"/>
                  </a:cubicBezTo>
                  <a:lnTo>
                    <a:pt x="484" y="859"/>
                  </a:lnTo>
                  <a:cubicBezTo>
                    <a:pt x="478" y="850"/>
                    <a:pt x="453" y="821"/>
                    <a:pt x="453" y="816"/>
                  </a:cubicBezTo>
                  <a:lnTo>
                    <a:pt x="453" y="816"/>
                  </a:lnTo>
                  <a:cubicBezTo>
                    <a:pt x="453" y="797"/>
                    <a:pt x="466" y="755"/>
                    <a:pt x="466" y="727"/>
                  </a:cubicBezTo>
                  <a:lnTo>
                    <a:pt x="466" y="737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6" name="Freeform 4">
              <a:extLst>
                <a:ext uri="{FF2B5EF4-FFF2-40B4-BE49-F238E27FC236}">
                  <a16:creationId xmlns:a16="http://schemas.microsoft.com/office/drawing/2014/main" id="{98E31D48-60E1-0A4D-883C-B7A3C26A6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02969" y="6567091"/>
              <a:ext cx="69127" cy="132494"/>
            </a:xfrm>
            <a:custGeom>
              <a:avLst/>
              <a:gdLst>
                <a:gd name="T0" fmla="*/ 104 w 105"/>
                <a:gd name="T1" fmla="*/ 125 h 201"/>
                <a:gd name="T2" fmla="*/ 104 w 105"/>
                <a:gd name="T3" fmla="*/ 125 h 201"/>
                <a:gd name="T4" fmla="*/ 45 w 105"/>
                <a:gd name="T5" fmla="*/ 200 h 201"/>
                <a:gd name="T6" fmla="*/ 45 w 105"/>
                <a:gd name="T7" fmla="*/ 200 h 201"/>
                <a:gd name="T8" fmla="*/ 0 w 105"/>
                <a:gd name="T9" fmla="*/ 149 h 201"/>
                <a:gd name="T10" fmla="*/ 0 w 105"/>
                <a:gd name="T11" fmla="*/ 149 h 201"/>
                <a:gd name="T12" fmla="*/ 25 w 105"/>
                <a:gd name="T13" fmla="*/ 0 h 201"/>
                <a:gd name="T14" fmla="*/ 25 w 105"/>
                <a:gd name="T15" fmla="*/ 0 h 201"/>
                <a:gd name="T16" fmla="*/ 104 w 105"/>
                <a:gd name="T17" fmla="*/ 12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01">
                  <a:moveTo>
                    <a:pt x="104" y="125"/>
                  </a:moveTo>
                  <a:lnTo>
                    <a:pt x="104" y="125"/>
                  </a:lnTo>
                  <a:cubicBezTo>
                    <a:pt x="104" y="158"/>
                    <a:pt x="80" y="200"/>
                    <a:pt x="45" y="200"/>
                  </a:cubicBezTo>
                  <a:lnTo>
                    <a:pt x="45" y="200"/>
                  </a:lnTo>
                  <a:cubicBezTo>
                    <a:pt x="20" y="200"/>
                    <a:pt x="0" y="174"/>
                    <a:pt x="0" y="149"/>
                  </a:cubicBezTo>
                  <a:lnTo>
                    <a:pt x="0" y="149"/>
                  </a:lnTo>
                  <a:cubicBezTo>
                    <a:pt x="0" y="96"/>
                    <a:pt x="25" y="56"/>
                    <a:pt x="25" y="0"/>
                  </a:cubicBezTo>
                  <a:lnTo>
                    <a:pt x="25" y="0"/>
                  </a:lnTo>
                  <a:cubicBezTo>
                    <a:pt x="51" y="45"/>
                    <a:pt x="104" y="66"/>
                    <a:pt x="104" y="125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7" name="Freeform 5">
              <a:extLst>
                <a:ext uri="{FF2B5EF4-FFF2-40B4-BE49-F238E27FC236}">
                  <a16:creationId xmlns:a16="http://schemas.microsoft.com/office/drawing/2014/main" id="{3BD8F731-0424-A849-985B-77CC90A72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7781" y="5507140"/>
              <a:ext cx="1382545" cy="1114678"/>
            </a:xfrm>
            <a:custGeom>
              <a:avLst/>
              <a:gdLst>
                <a:gd name="T0" fmla="*/ 615 w 2115"/>
                <a:gd name="T1" fmla="*/ 1122 h 1707"/>
                <a:gd name="T2" fmla="*/ 702 w 2115"/>
                <a:gd name="T3" fmla="*/ 1357 h 1707"/>
                <a:gd name="T4" fmla="*/ 744 w 2115"/>
                <a:gd name="T5" fmla="*/ 1490 h 1707"/>
                <a:gd name="T6" fmla="*/ 832 w 2115"/>
                <a:gd name="T7" fmla="*/ 1667 h 1707"/>
                <a:gd name="T8" fmla="*/ 876 w 2115"/>
                <a:gd name="T9" fmla="*/ 1704 h 1707"/>
                <a:gd name="T10" fmla="*/ 935 w 2115"/>
                <a:gd name="T11" fmla="*/ 1645 h 1707"/>
                <a:gd name="T12" fmla="*/ 988 w 2115"/>
                <a:gd name="T13" fmla="*/ 1576 h 1707"/>
                <a:gd name="T14" fmla="*/ 1009 w 2115"/>
                <a:gd name="T15" fmla="*/ 1417 h 1707"/>
                <a:gd name="T16" fmla="*/ 1068 w 2115"/>
                <a:gd name="T17" fmla="*/ 1282 h 1707"/>
                <a:gd name="T18" fmla="*/ 1220 w 2115"/>
                <a:gd name="T19" fmla="*/ 1133 h 1707"/>
                <a:gd name="T20" fmla="*/ 1357 w 2115"/>
                <a:gd name="T21" fmla="*/ 999 h 1707"/>
                <a:gd name="T22" fmla="*/ 1458 w 2115"/>
                <a:gd name="T23" fmla="*/ 972 h 1707"/>
                <a:gd name="T24" fmla="*/ 1623 w 2115"/>
                <a:gd name="T25" fmla="*/ 948 h 1707"/>
                <a:gd name="T26" fmla="*/ 1702 w 2115"/>
                <a:gd name="T27" fmla="*/ 1080 h 1707"/>
                <a:gd name="T28" fmla="*/ 1766 w 2115"/>
                <a:gd name="T29" fmla="*/ 1201 h 1707"/>
                <a:gd name="T30" fmla="*/ 1786 w 2115"/>
                <a:gd name="T31" fmla="*/ 1302 h 1707"/>
                <a:gd name="T32" fmla="*/ 1898 w 2115"/>
                <a:gd name="T33" fmla="*/ 1247 h 1707"/>
                <a:gd name="T34" fmla="*/ 1933 w 2115"/>
                <a:gd name="T35" fmla="*/ 1338 h 1707"/>
                <a:gd name="T36" fmla="*/ 1980 w 2115"/>
                <a:gd name="T37" fmla="*/ 1594 h 1707"/>
                <a:gd name="T38" fmla="*/ 2032 w 2115"/>
                <a:gd name="T39" fmla="*/ 1488 h 1707"/>
                <a:gd name="T40" fmla="*/ 1960 w 2115"/>
                <a:gd name="T41" fmla="*/ 1333 h 1707"/>
                <a:gd name="T42" fmla="*/ 1962 w 2115"/>
                <a:gd name="T43" fmla="*/ 1318 h 1707"/>
                <a:gd name="T44" fmla="*/ 1966 w 2115"/>
                <a:gd name="T45" fmla="*/ 1199 h 1707"/>
                <a:gd name="T46" fmla="*/ 1960 w 2115"/>
                <a:gd name="T47" fmla="*/ 1072 h 1707"/>
                <a:gd name="T48" fmla="*/ 2114 w 2115"/>
                <a:gd name="T49" fmla="*/ 959 h 1707"/>
                <a:gd name="T50" fmla="*/ 2026 w 2115"/>
                <a:gd name="T51" fmla="*/ 886 h 1707"/>
                <a:gd name="T52" fmla="*/ 1949 w 2115"/>
                <a:gd name="T53" fmla="*/ 840 h 1707"/>
                <a:gd name="T54" fmla="*/ 1990 w 2115"/>
                <a:gd name="T55" fmla="*/ 678 h 1707"/>
                <a:gd name="T56" fmla="*/ 1838 w 2115"/>
                <a:gd name="T57" fmla="*/ 523 h 1707"/>
                <a:gd name="T58" fmla="*/ 1761 w 2115"/>
                <a:gd name="T59" fmla="*/ 542 h 1707"/>
                <a:gd name="T60" fmla="*/ 1640 w 2115"/>
                <a:gd name="T61" fmla="*/ 622 h 1707"/>
                <a:gd name="T62" fmla="*/ 1471 w 2115"/>
                <a:gd name="T63" fmla="*/ 646 h 1707"/>
                <a:gd name="T64" fmla="*/ 1343 w 2115"/>
                <a:gd name="T65" fmla="*/ 614 h 1707"/>
                <a:gd name="T66" fmla="*/ 1228 w 2115"/>
                <a:gd name="T67" fmla="*/ 565 h 1707"/>
                <a:gd name="T68" fmla="*/ 1138 w 2115"/>
                <a:gd name="T69" fmla="*/ 503 h 1707"/>
                <a:gd name="T70" fmla="*/ 980 w 2115"/>
                <a:gd name="T71" fmla="*/ 441 h 1707"/>
                <a:gd name="T72" fmla="*/ 940 w 2115"/>
                <a:gd name="T73" fmla="*/ 371 h 1707"/>
                <a:gd name="T74" fmla="*/ 982 w 2115"/>
                <a:gd name="T75" fmla="*/ 334 h 1707"/>
                <a:gd name="T76" fmla="*/ 1022 w 2115"/>
                <a:gd name="T77" fmla="*/ 199 h 1707"/>
                <a:gd name="T78" fmla="*/ 888 w 2115"/>
                <a:gd name="T79" fmla="*/ 180 h 1707"/>
                <a:gd name="T80" fmla="*/ 784 w 2115"/>
                <a:gd name="T81" fmla="*/ 102 h 1707"/>
                <a:gd name="T82" fmla="*/ 678 w 2115"/>
                <a:gd name="T83" fmla="*/ 65 h 1707"/>
                <a:gd name="T84" fmla="*/ 546 w 2115"/>
                <a:gd name="T85" fmla="*/ 0 h 1707"/>
                <a:gd name="T86" fmla="*/ 473 w 2115"/>
                <a:gd name="T87" fmla="*/ 45 h 1707"/>
                <a:gd name="T88" fmla="*/ 359 w 2115"/>
                <a:gd name="T89" fmla="*/ 70 h 1707"/>
                <a:gd name="T90" fmla="*/ 271 w 2115"/>
                <a:gd name="T91" fmla="*/ 56 h 1707"/>
                <a:gd name="T92" fmla="*/ 139 w 2115"/>
                <a:gd name="T93" fmla="*/ 164 h 1707"/>
                <a:gd name="T94" fmla="*/ 51 w 2115"/>
                <a:gd name="T95" fmla="*/ 179 h 1707"/>
                <a:gd name="T96" fmla="*/ 0 w 2115"/>
                <a:gd name="T97" fmla="*/ 266 h 1707"/>
                <a:gd name="T98" fmla="*/ 7 w 2115"/>
                <a:gd name="T99" fmla="*/ 364 h 1707"/>
                <a:gd name="T100" fmla="*/ 60 w 2115"/>
                <a:gd name="T101" fmla="*/ 439 h 1707"/>
                <a:gd name="T102" fmla="*/ 42 w 2115"/>
                <a:gd name="T103" fmla="*/ 536 h 1707"/>
                <a:gd name="T104" fmla="*/ 57 w 2115"/>
                <a:gd name="T105" fmla="*/ 755 h 1707"/>
                <a:gd name="T106" fmla="*/ 128 w 2115"/>
                <a:gd name="T107" fmla="*/ 783 h 1707"/>
                <a:gd name="T108" fmla="*/ 238 w 2115"/>
                <a:gd name="T109" fmla="*/ 768 h 1707"/>
                <a:gd name="T110" fmla="*/ 341 w 2115"/>
                <a:gd name="T111" fmla="*/ 843 h 1707"/>
                <a:gd name="T112" fmla="*/ 491 w 2115"/>
                <a:gd name="T113" fmla="*/ 911 h 1707"/>
                <a:gd name="T114" fmla="*/ 421 w 2115"/>
                <a:gd name="T115" fmla="*/ 946 h 1707"/>
                <a:gd name="T116" fmla="*/ 601 w 2115"/>
                <a:gd name="T117" fmla="*/ 944 h 1707"/>
                <a:gd name="T118" fmla="*/ 604 w 2115"/>
                <a:gd name="T119" fmla="*/ 970 h 1707"/>
                <a:gd name="T120" fmla="*/ 621 w 2115"/>
                <a:gd name="T121" fmla="*/ 1104 h 1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5" h="1707">
                  <a:moveTo>
                    <a:pt x="621" y="1104"/>
                  </a:moveTo>
                  <a:lnTo>
                    <a:pt x="613" y="1096"/>
                  </a:lnTo>
                  <a:lnTo>
                    <a:pt x="613" y="1096"/>
                  </a:lnTo>
                  <a:cubicBezTo>
                    <a:pt x="613" y="1101"/>
                    <a:pt x="615" y="1116"/>
                    <a:pt x="615" y="1122"/>
                  </a:cubicBezTo>
                  <a:lnTo>
                    <a:pt x="615" y="1122"/>
                  </a:lnTo>
                  <a:cubicBezTo>
                    <a:pt x="615" y="1157"/>
                    <a:pt x="635" y="1192"/>
                    <a:pt x="646" y="1228"/>
                  </a:cubicBezTo>
                  <a:lnTo>
                    <a:pt x="646" y="1228"/>
                  </a:lnTo>
                  <a:cubicBezTo>
                    <a:pt x="660" y="1269"/>
                    <a:pt x="692" y="1329"/>
                    <a:pt x="702" y="1357"/>
                  </a:cubicBezTo>
                  <a:lnTo>
                    <a:pt x="702" y="1357"/>
                  </a:lnTo>
                  <a:cubicBezTo>
                    <a:pt x="709" y="1380"/>
                    <a:pt x="709" y="1391"/>
                    <a:pt x="724" y="1416"/>
                  </a:cubicBezTo>
                  <a:lnTo>
                    <a:pt x="724" y="1416"/>
                  </a:lnTo>
                  <a:cubicBezTo>
                    <a:pt x="738" y="1437"/>
                    <a:pt x="729" y="1461"/>
                    <a:pt x="744" y="1490"/>
                  </a:cubicBezTo>
                  <a:lnTo>
                    <a:pt x="744" y="1490"/>
                  </a:lnTo>
                  <a:cubicBezTo>
                    <a:pt x="751" y="1505"/>
                    <a:pt x="777" y="1523"/>
                    <a:pt x="784" y="1548"/>
                  </a:cubicBezTo>
                  <a:lnTo>
                    <a:pt x="784" y="1548"/>
                  </a:lnTo>
                  <a:cubicBezTo>
                    <a:pt x="797" y="1587"/>
                    <a:pt x="817" y="1623"/>
                    <a:pt x="832" y="1667"/>
                  </a:cubicBezTo>
                  <a:lnTo>
                    <a:pt x="832" y="1667"/>
                  </a:lnTo>
                  <a:cubicBezTo>
                    <a:pt x="833" y="1672"/>
                    <a:pt x="839" y="1685"/>
                    <a:pt x="848" y="1685"/>
                  </a:cubicBezTo>
                  <a:lnTo>
                    <a:pt x="848" y="1685"/>
                  </a:lnTo>
                  <a:cubicBezTo>
                    <a:pt x="850" y="1698"/>
                    <a:pt x="861" y="1706"/>
                    <a:pt x="876" y="1704"/>
                  </a:cubicBezTo>
                  <a:lnTo>
                    <a:pt x="876" y="1704"/>
                  </a:lnTo>
                  <a:cubicBezTo>
                    <a:pt x="890" y="1704"/>
                    <a:pt x="892" y="1682"/>
                    <a:pt x="900" y="1667"/>
                  </a:cubicBezTo>
                  <a:lnTo>
                    <a:pt x="900" y="1667"/>
                  </a:lnTo>
                  <a:cubicBezTo>
                    <a:pt x="908" y="1649"/>
                    <a:pt x="913" y="1656"/>
                    <a:pt x="935" y="1645"/>
                  </a:cubicBezTo>
                  <a:lnTo>
                    <a:pt x="935" y="1645"/>
                  </a:lnTo>
                  <a:cubicBezTo>
                    <a:pt x="949" y="1638"/>
                    <a:pt x="944" y="1590"/>
                    <a:pt x="969" y="1583"/>
                  </a:cubicBezTo>
                  <a:lnTo>
                    <a:pt x="969" y="1583"/>
                  </a:lnTo>
                  <a:cubicBezTo>
                    <a:pt x="975" y="1581"/>
                    <a:pt x="988" y="1581"/>
                    <a:pt x="988" y="1576"/>
                  </a:cubicBezTo>
                  <a:lnTo>
                    <a:pt x="997" y="1574"/>
                  </a:lnTo>
                  <a:lnTo>
                    <a:pt x="988" y="1526"/>
                  </a:lnTo>
                  <a:lnTo>
                    <a:pt x="988" y="1526"/>
                  </a:lnTo>
                  <a:cubicBezTo>
                    <a:pt x="988" y="1492"/>
                    <a:pt x="1009" y="1463"/>
                    <a:pt x="1009" y="1417"/>
                  </a:cubicBezTo>
                  <a:lnTo>
                    <a:pt x="1009" y="1417"/>
                  </a:lnTo>
                  <a:cubicBezTo>
                    <a:pt x="1009" y="1388"/>
                    <a:pt x="997" y="1369"/>
                    <a:pt x="997" y="1336"/>
                  </a:cubicBezTo>
                  <a:lnTo>
                    <a:pt x="997" y="1336"/>
                  </a:lnTo>
                  <a:cubicBezTo>
                    <a:pt x="997" y="1298"/>
                    <a:pt x="1036" y="1293"/>
                    <a:pt x="1068" y="1282"/>
                  </a:cubicBezTo>
                  <a:lnTo>
                    <a:pt x="1068" y="1282"/>
                  </a:lnTo>
                  <a:cubicBezTo>
                    <a:pt x="1081" y="1277"/>
                    <a:pt x="1101" y="1256"/>
                    <a:pt x="1116" y="1241"/>
                  </a:cubicBezTo>
                  <a:lnTo>
                    <a:pt x="1116" y="1241"/>
                  </a:lnTo>
                  <a:cubicBezTo>
                    <a:pt x="1150" y="1206"/>
                    <a:pt x="1183" y="1169"/>
                    <a:pt x="1220" y="1133"/>
                  </a:cubicBezTo>
                  <a:lnTo>
                    <a:pt x="1220" y="1133"/>
                  </a:lnTo>
                  <a:cubicBezTo>
                    <a:pt x="1250" y="1104"/>
                    <a:pt x="1303" y="1095"/>
                    <a:pt x="1335" y="1061"/>
                  </a:cubicBezTo>
                  <a:lnTo>
                    <a:pt x="1335" y="1061"/>
                  </a:lnTo>
                  <a:cubicBezTo>
                    <a:pt x="1352" y="1045"/>
                    <a:pt x="1350" y="1025"/>
                    <a:pt x="1357" y="999"/>
                  </a:cubicBezTo>
                  <a:lnTo>
                    <a:pt x="1357" y="999"/>
                  </a:lnTo>
                  <a:cubicBezTo>
                    <a:pt x="1363" y="983"/>
                    <a:pt x="1401" y="981"/>
                    <a:pt x="1414" y="953"/>
                  </a:cubicBezTo>
                  <a:lnTo>
                    <a:pt x="1414" y="953"/>
                  </a:lnTo>
                  <a:cubicBezTo>
                    <a:pt x="1429" y="963"/>
                    <a:pt x="1429" y="972"/>
                    <a:pt x="1458" y="972"/>
                  </a:cubicBezTo>
                  <a:lnTo>
                    <a:pt x="1458" y="972"/>
                  </a:lnTo>
                  <a:cubicBezTo>
                    <a:pt x="1506" y="972"/>
                    <a:pt x="1557" y="961"/>
                    <a:pt x="1557" y="906"/>
                  </a:cubicBezTo>
                  <a:lnTo>
                    <a:pt x="1557" y="906"/>
                  </a:lnTo>
                  <a:cubicBezTo>
                    <a:pt x="1585" y="911"/>
                    <a:pt x="1616" y="922"/>
                    <a:pt x="1623" y="948"/>
                  </a:cubicBezTo>
                  <a:lnTo>
                    <a:pt x="1623" y="948"/>
                  </a:lnTo>
                  <a:cubicBezTo>
                    <a:pt x="1630" y="970"/>
                    <a:pt x="1627" y="999"/>
                    <a:pt x="1642" y="1021"/>
                  </a:cubicBezTo>
                  <a:lnTo>
                    <a:pt x="1642" y="1021"/>
                  </a:lnTo>
                  <a:cubicBezTo>
                    <a:pt x="1656" y="1045"/>
                    <a:pt x="1676" y="1060"/>
                    <a:pt x="1702" y="1080"/>
                  </a:cubicBezTo>
                  <a:lnTo>
                    <a:pt x="1702" y="1080"/>
                  </a:lnTo>
                  <a:cubicBezTo>
                    <a:pt x="1720" y="1110"/>
                    <a:pt x="1743" y="1138"/>
                    <a:pt x="1755" y="1177"/>
                  </a:cubicBezTo>
                  <a:lnTo>
                    <a:pt x="1755" y="1177"/>
                  </a:lnTo>
                  <a:cubicBezTo>
                    <a:pt x="1757" y="1186"/>
                    <a:pt x="1766" y="1192"/>
                    <a:pt x="1766" y="1201"/>
                  </a:cubicBezTo>
                  <a:lnTo>
                    <a:pt x="1766" y="1201"/>
                  </a:lnTo>
                  <a:cubicBezTo>
                    <a:pt x="1766" y="1221"/>
                    <a:pt x="1757" y="1232"/>
                    <a:pt x="1757" y="1256"/>
                  </a:cubicBezTo>
                  <a:lnTo>
                    <a:pt x="1757" y="1256"/>
                  </a:lnTo>
                  <a:cubicBezTo>
                    <a:pt x="1757" y="1280"/>
                    <a:pt x="1759" y="1302"/>
                    <a:pt x="1786" y="1302"/>
                  </a:cubicBezTo>
                  <a:lnTo>
                    <a:pt x="1786" y="1302"/>
                  </a:lnTo>
                  <a:cubicBezTo>
                    <a:pt x="1838" y="1302"/>
                    <a:pt x="1850" y="1249"/>
                    <a:pt x="1882" y="1217"/>
                  </a:cubicBezTo>
                  <a:lnTo>
                    <a:pt x="1882" y="1217"/>
                  </a:lnTo>
                  <a:cubicBezTo>
                    <a:pt x="1892" y="1228"/>
                    <a:pt x="1887" y="1236"/>
                    <a:pt x="1898" y="1247"/>
                  </a:cubicBezTo>
                  <a:lnTo>
                    <a:pt x="1898" y="1247"/>
                  </a:lnTo>
                  <a:cubicBezTo>
                    <a:pt x="1902" y="1251"/>
                    <a:pt x="1916" y="1247"/>
                    <a:pt x="1922" y="1256"/>
                  </a:cubicBezTo>
                  <a:lnTo>
                    <a:pt x="1922" y="1256"/>
                  </a:lnTo>
                  <a:cubicBezTo>
                    <a:pt x="1940" y="1283"/>
                    <a:pt x="1909" y="1338"/>
                    <a:pt x="1933" y="1338"/>
                  </a:cubicBezTo>
                  <a:lnTo>
                    <a:pt x="1933" y="1338"/>
                  </a:lnTo>
                  <a:cubicBezTo>
                    <a:pt x="1933" y="1397"/>
                    <a:pt x="1980" y="1444"/>
                    <a:pt x="1980" y="1524"/>
                  </a:cubicBezTo>
                  <a:lnTo>
                    <a:pt x="1980" y="1524"/>
                  </a:lnTo>
                  <a:cubicBezTo>
                    <a:pt x="1980" y="1544"/>
                    <a:pt x="1966" y="1587"/>
                    <a:pt x="1980" y="1594"/>
                  </a:cubicBezTo>
                  <a:lnTo>
                    <a:pt x="1980" y="1594"/>
                  </a:lnTo>
                  <a:cubicBezTo>
                    <a:pt x="1995" y="1563"/>
                    <a:pt x="2001" y="1543"/>
                    <a:pt x="2018" y="1509"/>
                  </a:cubicBezTo>
                  <a:lnTo>
                    <a:pt x="2018" y="1509"/>
                  </a:lnTo>
                  <a:cubicBezTo>
                    <a:pt x="2019" y="1503"/>
                    <a:pt x="2032" y="1498"/>
                    <a:pt x="2032" y="1488"/>
                  </a:cubicBezTo>
                  <a:lnTo>
                    <a:pt x="2032" y="1488"/>
                  </a:lnTo>
                  <a:cubicBezTo>
                    <a:pt x="2032" y="1474"/>
                    <a:pt x="2006" y="1388"/>
                    <a:pt x="1993" y="1375"/>
                  </a:cubicBezTo>
                  <a:lnTo>
                    <a:pt x="1993" y="1375"/>
                  </a:lnTo>
                  <a:cubicBezTo>
                    <a:pt x="1980" y="1362"/>
                    <a:pt x="1960" y="1353"/>
                    <a:pt x="1960" y="1333"/>
                  </a:cubicBezTo>
                  <a:lnTo>
                    <a:pt x="1960" y="1333"/>
                  </a:lnTo>
                  <a:cubicBezTo>
                    <a:pt x="1960" y="1327"/>
                    <a:pt x="1962" y="1322"/>
                    <a:pt x="1962" y="1316"/>
                  </a:cubicBezTo>
                  <a:lnTo>
                    <a:pt x="1962" y="1318"/>
                  </a:lnTo>
                  <a:lnTo>
                    <a:pt x="1962" y="1318"/>
                  </a:lnTo>
                  <a:cubicBezTo>
                    <a:pt x="1966" y="1315"/>
                    <a:pt x="1980" y="1295"/>
                    <a:pt x="1980" y="1280"/>
                  </a:cubicBezTo>
                  <a:lnTo>
                    <a:pt x="1980" y="1280"/>
                  </a:lnTo>
                  <a:cubicBezTo>
                    <a:pt x="1980" y="1257"/>
                    <a:pt x="1979" y="1219"/>
                    <a:pt x="1966" y="1199"/>
                  </a:cubicBezTo>
                  <a:lnTo>
                    <a:pt x="1966" y="1199"/>
                  </a:lnTo>
                  <a:cubicBezTo>
                    <a:pt x="1955" y="1182"/>
                    <a:pt x="1931" y="1182"/>
                    <a:pt x="1931" y="1150"/>
                  </a:cubicBezTo>
                  <a:lnTo>
                    <a:pt x="1931" y="1150"/>
                  </a:lnTo>
                  <a:cubicBezTo>
                    <a:pt x="1931" y="1116"/>
                    <a:pt x="1942" y="1091"/>
                    <a:pt x="1960" y="1072"/>
                  </a:cubicBezTo>
                  <a:lnTo>
                    <a:pt x="1960" y="1072"/>
                  </a:lnTo>
                  <a:cubicBezTo>
                    <a:pt x="1969" y="1064"/>
                    <a:pt x="1991" y="1067"/>
                    <a:pt x="2006" y="1058"/>
                  </a:cubicBezTo>
                  <a:lnTo>
                    <a:pt x="2006" y="1058"/>
                  </a:lnTo>
                  <a:cubicBezTo>
                    <a:pt x="2050" y="1029"/>
                    <a:pt x="2078" y="1014"/>
                    <a:pt x="2114" y="959"/>
                  </a:cubicBezTo>
                  <a:lnTo>
                    <a:pt x="2114" y="959"/>
                  </a:lnTo>
                  <a:cubicBezTo>
                    <a:pt x="2103" y="959"/>
                    <a:pt x="2098" y="963"/>
                    <a:pt x="2085" y="963"/>
                  </a:cubicBezTo>
                  <a:lnTo>
                    <a:pt x="2085" y="963"/>
                  </a:lnTo>
                  <a:cubicBezTo>
                    <a:pt x="2049" y="963"/>
                    <a:pt x="2026" y="922"/>
                    <a:pt x="2026" y="886"/>
                  </a:cubicBezTo>
                  <a:lnTo>
                    <a:pt x="2026" y="886"/>
                  </a:lnTo>
                  <a:cubicBezTo>
                    <a:pt x="2006" y="882"/>
                    <a:pt x="2002" y="831"/>
                    <a:pt x="1988" y="831"/>
                  </a:cubicBezTo>
                  <a:lnTo>
                    <a:pt x="1988" y="831"/>
                  </a:lnTo>
                  <a:cubicBezTo>
                    <a:pt x="1973" y="831"/>
                    <a:pt x="1964" y="840"/>
                    <a:pt x="1949" y="840"/>
                  </a:cubicBezTo>
                  <a:lnTo>
                    <a:pt x="1949" y="840"/>
                  </a:lnTo>
                  <a:cubicBezTo>
                    <a:pt x="1944" y="840"/>
                    <a:pt x="1942" y="827"/>
                    <a:pt x="1942" y="822"/>
                  </a:cubicBezTo>
                  <a:lnTo>
                    <a:pt x="1942" y="822"/>
                  </a:lnTo>
                  <a:cubicBezTo>
                    <a:pt x="1942" y="754"/>
                    <a:pt x="1990" y="752"/>
                    <a:pt x="1990" y="678"/>
                  </a:cubicBezTo>
                  <a:lnTo>
                    <a:pt x="1990" y="678"/>
                  </a:lnTo>
                  <a:cubicBezTo>
                    <a:pt x="1990" y="640"/>
                    <a:pt x="1964" y="627"/>
                    <a:pt x="1948" y="600"/>
                  </a:cubicBezTo>
                  <a:lnTo>
                    <a:pt x="1948" y="600"/>
                  </a:lnTo>
                  <a:cubicBezTo>
                    <a:pt x="1902" y="578"/>
                    <a:pt x="1863" y="582"/>
                    <a:pt x="1849" y="523"/>
                  </a:cubicBezTo>
                  <a:lnTo>
                    <a:pt x="1838" y="523"/>
                  </a:lnTo>
                  <a:lnTo>
                    <a:pt x="1821" y="539"/>
                  </a:lnTo>
                  <a:lnTo>
                    <a:pt x="1821" y="539"/>
                  </a:lnTo>
                  <a:cubicBezTo>
                    <a:pt x="1799" y="547"/>
                    <a:pt x="1775" y="527"/>
                    <a:pt x="1761" y="542"/>
                  </a:cubicBezTo>
                  <a:lnTo>
                    <a:pt x="1761" y="542"/>
                  </a:lnTo>
                  <a:cubicBezTo>
                    <a:pt x="1753" y="548"/>
                    <a:pt x="1749" y="556"/>
                    <a:pt x="1739" y="563"/>
                  </a:cubicBezTo>
                  <a:lnTo>
                    <a:pt x="1739" y="563"/>
                  </a:lnTo>
                  <a:cubicBezTo>
                    <a:pt x="1726" y="570"/>
                    <a:pt x="1666" y="622"/>
                    <a:pt x="1640" y="622"/>
                  </a:cubicBezTo>
                  <a:lnTo>
                    <a:pt x="1640" y="622"/>
                  </a:lnTo>
                  <a:cubicBezTo>
                    <a:pt x="1609" y="622"/>
                    <a:pt x="1590" y="600"/>
                    <a:pt x="1550" y="600"/>
                  </a:cubicBezTo>
                  <a:lnTo>
                    <a:pt x="1550" y="600"/>
                  </a:lnTo>
                  <a:cubicBezTo>
                    <a:pt x="1504" y="600"/>
                    <a:pt x="1496" y="633"/>
                    <a:pt x="1471" y="646"/>
                  </a:cubicBezTo>
                  <a:lnTo>
                    <a:pt x="1471" y="646"/>
                  </a:lnTo>
                  <a:cubicBezTo>
                    <a:pt x="1469" y="633"/>
                    <a:pt x="1462" y="606"/>
                    <a:pt x="1453" y="606"/>
                  </a:cubicBezTo>
                  <a:lnTo>
                    <a:pt x="1453" y="606"/>
                  </a:lnTo>
                  <a:cubicBezTo>
                    <a:pt x="1442" y="606"/>
                    <a:pt x="1436" y="614"/>
                    <a:pt x="1420" y="614"/>
                  </a:cubicBezTo>
                  <a:lnTo>
                    <a:pt x="1343" y="614"/>
                  </a:lnTo>
                  <a:lnTo>
                    <a:pt x="1343" y="614"/>
                  </a:lnTo>
                  <a:cubicBezTo>
                    <a:pt x="1301" y="614"/>
                    <a:pt x="1284" y="587"/>
                    <a:pt x="1257" y="568"/>
                  </a:cubicBezTo>
                  <a:lnTo>
                    <a:pt x="1257" y="568"/>
                  </a:lnTo>
                  <a:cubicBezTo>
                    <a:pt x="1248" y="563"/>
                    <a:pt x="1233" y="578"/>
                    <a:pt x="1228" y="565"/>
                  </a:cubicBezTo>
                  <a:lnTo>
                    <a:pt x="1228" y="565"/>
                  </a:lnTo>
                  <a:cubicBezTo>
                    <a:pt x="1220" y="550"/>
                    <a:pt x="1220" y="537"/>
                    <a:pt x="1205" y="530"/>
                  </a:cubicBezTo>
                  <a:lnTo>
                    <a:pt x="1205" y="530"/>
                  </a:lnTo>
                  <a:cubicBezTo>
                    <a:pt x="1178" y="517"/>
                    <a:pt x="1160" y="525"/>
                    <a:pt x="1138" y="503"/>
                  </a:cubicBezTo>
                  <a:lnTo>
                    <a:pt x="1138" y="503"/>
                  </a:lnTo>
                  <a:cubicBezTo>
                    <a:pt x="1116" y="481"/>
                    <a:pt x="1095" y="492"/>
                    <a:pt x="1055" y="483"/>
                  </a:cubicBezTo>
                  <a:lnTo>
                    <a:pt x="1055" y="483"/>
                  </a:lnTo>
                  <a:cubicBezTo>
                    <a:pt x="1022" y="475"/>
                    <a:pt x="1013" y="452"/>
                    <a:pt x="980" y="441"/>
                  </a:cubicBezTo>
                  <a:lnTo>
                    <a:pt x="980" y="441"/>
                  </a:lnTo>
                  <a:cubicBezTo>
                    <a:pt x="973" y="439"/>
                    <a:pt x="954" y="441"/>
                    <a:pt x="951" y="429"/>
                  </a:cubicBezTo>
                  <a:lnTo>
                    <a:pt x="951" y="429"/>
                  </a:lnTo>
                  <a:cubicBezTo>
                    <a:pt x="944" y="408"/>
                    <a:pt x="946" y="393"/>
                    <a:pt x="940" y="371"/>
                  </a:cubicBezTo>
                  <a:lnTo>
                    <a:pt x="940" y="354"/>
                  </a:lnTo>
                  <a:lnTo>
                    <a:pt x="940" y="354"/>
                  </a:lnTo>
                  <a:cubicBezTo>
                    <a:pt x="960" y="354"/>
                    <a:pt x="982" y="358"/>
                    <a:pt x="982" y="334"/>
                  </a:cubicBezTo>
                  <a:lnTo>
                    <a:pt x="982" y="334"/>
                  </a:lnTo>
                  <a:cubicBezTo>
                    <a:pt x="982" y="314"/>
                    <a:pt x="954" y="308"/>
                    <a:pt x="954" y="288"/>
                  </a:cubicBezTo>
                  <a:lnTo>
                    <a:pt x="954" y="288"/>
                  </a:lnTo>
                  <a:cubicBezTo>
                    <a:pt x="954" y="241"/>
                    <a:pt x="1022" y="248"/>
                    <a:pt x="1022" y="199"/>
                  </a:cubicBezTo>
                  <a:lnTo>
                    <a:pt x="1022" y="199"/>
                  </a:lnTo>
                  <a:cubicBezTo>
                    <a:pt x="1022" y="180"/>
                    <a:pt x="980" y="148"/>
                    <a:pt x="964" y="148"/>
                  </a:cubicBezTo>
                  <a:lnTo>
                    <a:pt x="964" y="148"/>
                  </a:lnTo>
                  <a:cubicBezTo>
                    <a:pt x="933" y="148"/>
                    <a:pt x="920" y="174"/>
                    <a:pt x="888" y="180"/>
                  </a:cubicBezTo>
                  <a:lnTo>
                    <a:pt x="888" y="180"/>
                  </a:lnTo>
                  <a:cubicBezTo>
                    <a:pt x="854" y="169"/>
                    <a:pt x="833" y="169"/>
                    <a:pt x="806" y="141"/>
                  </a:cubicBezTo>
                  <a:lnTo>
                    <a:pt x="806" y="141"/>
                  </a:lnTo>
                  <a:cubicBezTo>
                    <a:pt x="795" y="131"/>
                    <a:pt x="804" y="107"/>
                    <a:pt x="784" y="102"/>
                  </a:cubicBezTo>
                  <a:lnTo>
                    <a:pt x="784" y="102"/>
                  </a:lnTo>
                  <a:cubicBezTo>
                    <a:pt x="756" y="92"/>
                    <a:pt x="740" y="102"/>
                    <a:pt x="740" y="70"/>
                  </a:cubicBezTo>
                  <a:lnTo>
                    <a:pt x="740" y="70"/>
                  </a:lnTo>
                  <a:cubicBezTo>
                    <a:pt x="716" y="65"/>
                    <a:pt x="702" y="65"/>
                    <a:pt x="678" y="65"/>
                  </a:cubicBezTo>
                  <a:lnTo>
                    <a:pt x="678" y="65"/>
                  </a:lnTo>
                  <a:cubicBezTo>
                    <a:pt x="641" y="65"/>
                    <a:pt x="627" y="96"/>
                    <a:pt x="584" y="96"/>
                  </a:cubicBezTo>
                  <a:lnTo>
                    <a:pt x="584" y="96"/>
                  </a:lnTo>
                  <a:cubicBezTo>
                    <a:pt x="542" y="96"/>
                    <a:pt x="583" y="0"/>
                    <a:pt x="546" y="0"/>
                  </a:cubicBezTo>
                  <a:lnTo>
                    <a:pt x="546" y="0"/>
                  </a:lnTo>
                  <a:cubicBezTo>
                    <a:pt x="507" y="0"/>
                    <a:pt x="500" y="45"/>
                    <a:pt x="483" y="45"/>
                  </a:cubicBezTo>
                  <a:lnTo>
                    <a:pt x="483" y="45"/>
                  </a:lnTo>
                  <a:cubicBezTo>
                    <a:pt x="480" y="45"/>
                    <a:pt x="476" y="47"/>
                    <a:pt x="473" y="45"/>
                  </a:cubicBezTo>
                  <a:lnTo>
                    <a:pt x="473" y="45"/>
                  </a:lnTo>
                  <a:cubicBezTo>
                    <a:pt x="458" y="69"/>
                    <a:pt x="429" y="90"/>
                    <a:pt x="394" y="90"/>
                  </a:cubicBezTo>
                  <a:lnTo>
                    <a:pt x="394" y="90"/>
                  </a:lnTo>
                  <a:cubicBezTo>
                    <a:pt x="379" y="90"/>
                    <a:pt x="373" y="70"/>
                    <a:pt x="359" y="70"/>
                  </a:cubicBezTo>
                  <a:lnTo>
                    <a:pt x="359" y="70"/>
                  </a:lnTo>
                  <a:cubicBezTo>
                    <a:pt x="348" y="70"/>
                    <a:pt x="304" y="85"/>
                    <a:pt x="300" y="63"/>
                  </a:cubicBezTo>
                  <a:lnTo>
                    <a:pt x="300" y="63"/>
                  </a:lnTo>
                  <a:cubicBezTo>
                    <a:pt x="284" y="63"/>
                    <a:pt x="289" y="56"/>
                    <a:pt x="271" y="56"/>
                  </a:cubicBezTo>
                  <a:lnTo>
                    <a:pt x="271" y="56"/>
                  </a:lnTo>
                  <a:cubicBezTo>
                    <a:pt x="226" y="56"/>
                    <a:pt x="221" y="103"/>
                    <a:pt x="190" y="134"/>
                  </a:cubicBezTo>
                  <a:lnTo>
                    <a:pt x="190" y="134"/>
                  </a:lnTo>
                  <a:cubicBezTo>
                    <a:pt x="176" y="149"/>
                    <a:pt x="154" y="149"/>
                    <a:pt x="139" y="164"/>
                  </a:cubicBezTo>
                  <a:lnTo>
                    <a:pt x="139" y="164"/>
                  </a:lnTo>
                  <a:cubicBezTo>
                    <a:pt x="128" y="174"/>
                    <a:pt x="119" y="193"/>
                    <a:pt x="97" y="193"/>
                  </a:cubicBezTo>
                  <a:lnTo>
                    <a:pt x="97" y="193"/>
                  </a:lnTo>
                  <a:cubicBezTo>
                    <a:pt x="79" y="193"/>
                    <a:pt x="69" y="179"/>
                    <a:pt x="51" y="179"/>
                  </a:cubicBezTo>
                  <a:lnTo>
                    <a:pt x="51" y="179"/>
                  </a:lnTo>
                  <a:cubicBezTo>
                    <a:pt x="46" y="179"/>
                    <a:pt x="46" y="187"/>
                    <a:pt x="42" y="189"/>
                  </a:cubicBezTo>
                  <a:lnTo>
                    <a:pt x="42" y="189"/>
                  </a:lnTo>
                  <a:cubicBezTo>
                    <a:pt x="29" y="197"/>
                    <a:pt x="0" y="263"/>
                    <a:pt x="0" y="266"/>
                  </a:cubicBezTo>
                  <a:lnTo>
                    <a:pt x="0" y="266"/>
                  </a:lnTo>
                  <a:cubicBezTo>
                    <a:pt x="0" y="272"/>
                    <a:pt x="5" y="281"/>
                    <a:pt x="0" y="285"/>
                  </a:cubicBezTo>
                  <a:lnTo>
                    <a:pt x="0" y="285"/>
                  </a:lnTo>
                  <a:cubicBezTo>
                    <a:pt x="5" y="294"/>
                    <a:pt x="4" y="298"/>
                    <a:pt x="7" y="307"/>
                  </a:cubicBezTo>
                  <a:lnTo>
                    <a:pt x="7" y="364"/>
                  </a:lnTo>
                  <a:lnTo>
                    <a:pt x="7" y="364"/>
                  </a:lnTo>
                  <a:cubicBezTo>
                    <a:pt x="15" y="380"/>
                    <a:pt x="9" y="391"/>
                    <a:pt x="16" y="408"/>
                  </a:cubicBezTo>
                  <a:lnTo>
                    <a:pt x="16" y="408"/>
                  </a:lnTo>
                  <a:cubicBezTo>
                    <a:pt x="24" y="424"/>
                    <a:pt x="60" y="408"/>
                    <a:pt x="60" y="439"/>
                  </a:cubicBezTo>
                  <a:lnTo>
                    <a:pt x="60" y="439"/>
                  </a:lnTo>
                  <a:cubicBezTo>
                    <a:pt x="60" y="477"/>
                    <a:pt x="20" y="470"/>
                    <a:pt x="20" y="503"/>
                  </a:cubicBezTo>
                  <a:lnTo>
                    <a:pt x="20" y="503"/>
                  </a:lnTo>
                  <a:cubicBezTo>
                    <a:pt x="20" y="525"/>
                    <a:pt x="36" y="525"/>
                    <a:pt x="42" y="536"/>
                  </a:cubicBezTo>
                  <a:lnTo>
                    <a:pt x="42" y="536"/>
                  </a:lnTo>
                  <a:cubicBezTo>
                    <a:pt x="72" y="596"/>
                    <a:pt x="136" y="606"/>
                    <a:pt x="136" y="684"/>
                  </a:cubicBezTo>
                  <a:lnTo>
                    <a:pt x="136" y="684"/>
                  </a:lnTo>
                  <a:cubicBezTo>
                    <a:pt x="88" y="695"/>
                    <a:pt x="57" y="704"/>
                    <a:pt x="57" y="755"/>
                  </a:cubicBezTo>
                  <a:lnTo>
                    <a:pt x="57" y="755"/>
                  </a:lnTo>
                  <a:cubicBezTo>
                    <a:pt x="57" y="768"/>
                    <a:pt x="64" y="778"/>
                    <a:pt x="64" y="787"/>
                  </a:cubicBezTo>
                  <a:lnTo>
                    <a:pt x="128" y="783"/>
                  </a:lnTo>
                  <a:lnTo>
                    <a:pt x="128" y="783"/>
                  </a:lnTo>
                  <a:cubicBezTo>
                    <a:pt x="132" y="779"/>
                    <a:pt x="137" y="774"/>
                    <a:pt x="145" y="770"/>
                  </a:cubicBezTo>
                  <a:lnTo>
                    <a:pt x="192" y="783"/>
                  </a:lnTo>
                  <a:lnTo>
                    <a:pt x="192" y="783"/>
                  </a:lnTo>
                  <a:cubicBezTo>
                    <a:pt x="211" y="783"/>
                    <a:pt x="216" y="768"/>
                    <a:pt x="238" y="768"/>
                  </a:cubicBezTo>
                  <a:lnTo>
                    <a:pt x="238" y="768"/>
                  </a:lnTo>
                  <a:cubicBezTo>
                    <a:pt x="258" y="768"/>
                    <a:pt x="273" y="765"/>
                    <a:pt x="293" y="770"/>
                  </a:cubicBezTo>
                  <a:lnTo>
                    <a:pt x="293" y="770"/>
                  </a:lnTo>
                  <a:cubicBezTo>
                    <a:pt x="315" y="778"/>
                    <a:pt x="326" y="820"/>
                    <a:pt x="341" y="843"/>
                  </a:cubicBezTo>
                  <a:lnTo>
                    <a:pt x="341" y="843"/>
                  </a:lnTo>
                  <a:cubicBezTo>
                    <a:pt x="359" y="871"/>
                    <a:pt x="412" y="908"/>
                    <a:pt x="449" y="908"/>
                  </a:cubicBezTo>
                  <a:lnTo>
                    <a:pt x="449" y="908"/>
                  </a:lnTo>
                  <a:cubicBezTo>
                    <a:pt x="463" y="908"/>
                    <a:pt x="476" y="908"/>
                    <a:pt x="491" y="911"/>
                  </a:cubicBezTo>
                  <a:lnTo>
                    <a:pt x="491" y="911"/>
                  </a:lnTo>
                  <a:cubicBezTo>
                    <a:pt x="483" y="919"/>
                    <a:pt x="482" y="935"/>
                    <a:pt x="467" y="939"/>
                  </a:cubicBezTo>
                  <a:lnTo>
                    <a:pt x="467" y="939"/>
                  </a:lnTo>
                  <a:cubicBezTo>
                    <a:pt x="450" y="944"/>
                    <a:pt x="438" y="935"/>
                    <a:pt x="421" y="946"/>
                  </a:cubicBezTo>
                  <a:lnTo>
                    <a:pt x="421" y="946"/>
                  </a:lnTo>
                  <a:cubicBezTo>
                    <a:pt x="449" y="974"/>
                    <a:pt x="471" y="1030"/>
                    <a:pt x="527" y="1030"/>
                  </a:cubicBezTo>
                  <a:lnTo>
                    <a:pt x="527" y="1030"/>
                  </a:lnTo>
                  <a:cubicBezTo>
                    <a:pt x="575" y="1030"/>
                    <a:pt x="577" y="968"/>
                    <a:pt x="601" y="944"/>
                  </a:cubicBezTo>
                  <a:lnTo>
                    <a:pt x="615" y="944"/>
                  </a:lnTo>
                  <a:lnTo>
                    <a:pt x="615" y="944"/>
                  </a:lnTo>
                  <a:cubicBezTo>
                    <a:pt x="615" y="951"/>
                    <a:pt x="604" y="964"/>
                    <a:pt x="604" y="970"/>
                  </a:cubicBezTo>
                  <a:lnTo>
                    <a:pt x="604" y="970"/>
                  </a:lnTo>
                  <a:cubicBezTo>
                    <a:pt x="604" y="994"/>
                    <a:pt x="623" y="1015"/>
                    <a:pt x="623" y="1045"/>
                  </a:cubicBezTo>
                  <a:lnTo>
                    <a:pt x="623" y="1045"/>
                  </a:lnTo>
                  <a:cubicBezTo>
                    <a:pt x="623" y="1069"/>
                    <a:pt x="614" y="1072"/>
                    <a:pt x="614" y="1100"/>
                  </a:cubicBezTo>
                  <a:lnTo>
                    <a:pt x="621" y="1104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8" name="Freeform 6">
              <a:extLst>
                <a:ext uri="{FF2B5EF4-FFF2-40B4-BE49-F238E27FC236}">
                  <a16:creationId xmlns:a16="http://schemas.microsoft.com/office/drawing/2014/main" id="{AA07E57C-51DA-1641-B5DA-243D152B53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35825" y="6705345"/>
              <a:ext cx="362918" cy="391721"/>
            </a:xfrm>
            <a:custGeom>
              <a:avLst/>
              <a:gdLst>
                <a:gd name="T0" fmla="*/ 247 w 554"/>
                <a:gd name="T1" fmla="*/ 310 h 600"/>
                <a:gd name="T2" fmla="*/ 247 w 554"/>
                <a:gd name="T3" fmla="*/ 310 h 600"/>
                <a:gd name="T4" fmla="*/ 241 w 554"/>
                <a:gd name="T5" fmla="*/ 293 h 600"/>
                <a:gd name="T6" fmla="*/ 241 w 554"/>
                <a:gd name="T7" fmla="*/ 293 h 600"/>
                <a:gd name="T8" fmla="*/ 213 w 554"/>
                <a:gd name="T9" fmla="*/ 284 h 600"/>
                <a:gd name="T10" fmla="*/ 213 w 554"/>
                <a:gd name="T11" fmla="*/ 284 h 600"/>
                <a:gd name="T12" fmla="*/ 187 w 554"/>
                <a:gd name="T13" fmla="*/ 220 h 600"/>
                <a:gd name="T14" fmla="*/ 187 w 554"/>
                <a:gd name="T15" fmla="*/ 220 h 600"/>
                <a:gd name="T16" fmla="*/ 119 w 554"/>
                <a:gd name="T17" fmla="*/ 159 h 600"/>
                <a:gd name="T18" fmla="*/ 119 w 554"/>
                <a:gd name="T19" fmla="*/ 159 h 600"/>
                <a:gd name="T20" fmla="*/ 92 w 554"/>
                <a:gd name="T21" fmla="*/ 105 h 600"/>
                <a:gd name="T22" fmla="*/ 92 w 554"/>
                <a:gd name="T23" fmla="*/ 105 h 600"/>
                <a:gd name="T24" fmla="*/ 49 w 554"/>
                <a:gd name="T25" fmla="*/ 88 h 600"/>
                <a:gd name="T26" fmla="*/ 49 w 554"/>
                <a:gd name="T27" fmla="*/ 88 h 600"/>
                <a:gd name="T28" fmla="*/ 0 w 554"/>
                <a:gd name="T29" fmla="*/ 15 h 600"/>
                <a:gd name="T30" fmla="*/ 0 w 554"/>
                <a:gd name="T31" fmla="*/ 0 h 600"/>
                <a:gd name="T32" fmla="*/ 11 w 554"/>
                <a:gd name="T33" fmla="*/ 0 h 600"/>
                <a:gd name="T34" fmla="*/ 11 w 554"/>
                <a:gd name="T35" fmla="*/ 0 h 600"/>
                <a:gd name="T36" fmla="*/ 47 w 554"/>
                <a:gd name="T37" fmla="*/ 17 h 600"/>
                <a:gd name="T38" fmla="*/ 108 w 554"/>
                <a:gd name="T39" fmla="*/ 17 h 600"/>
                <a:gd name="T40" fmla="*/ 108 w 554"/>
                <a:gd name="T41" fmla="*/ 17 h 600"/>
                <a:gd name="T42" fmla="*/ 176 w 554"/>
                <a:gd name="T43" fmla="*/ 86 h 600"/>
                <a:gd name="T44" fmla="*/ 176 w 554"/>
                <a:gd name="T45" fmla="*/ 86 h 600"/>
                <a:gd name="T46" fmla="*/ 196 w 554"/>
                <a:gd name="T47" fmla="*/ 95 h 600"/>
                <a:gd name="T48" fmla="*/ 196 w 554"/>
                <a:gd name="T49" fmla="*/ 95 h 600"/>
                <a:gd name="T50" fmla="*/ 254 w 554"/>
                <a:gd name="T51" fmla="*/ 145 h 600"/>
                <a:gd name="T52" fmla="*/ 254 w 554"/>
                <a:gd name="T53" fmla="*/ 145 h 600"/>
                <a:gd name="T54" fmla="*/ 361 w 554"/>
                <a:gd name="T55" fmla="*/ 220 h 600"/>
                <a:gd name="T56" fmla="*/ 361 w 554"/>
                <a:gd name="T57" fmla="*/ 220 h 600"/>
                <a:gd name="T58" fmla="*/ 419 w 554"/>
                <a:gd name="T59" fmla="*/ 265 h 600"/>
                <a:gd name="T60" fmla="*/ 419 w 554"/>
                <a:gd name="T61" fmla="*/ 265 h 600"/>
                <a:gd name="T62" fmla="*/ 416 w 554"/>
                <a:gd name="T63" fmla="*/ 275 h 600"/>
                <a:gd name="T64" fmla="*/ 430 w 554"/>
                <a:gd name="T65" fmla="*/ 275 h 600"/>
                <a:gd name="T66" fmla="*/ 430 w 554"/>
                <a:gd name="T67" fmla="*/ 275 h 600"/>
                <a:gd name="T68" fmla="*/ 447 w 554"/>
                <a:gd name="T69" fmla="*/ 291 h 600"/>
                <a:gd name="T70" fmla="*/ 439 w 554"/>
                <a:gd name="T71" fmla="*/ 310 h 600"/>
                <a:gd name="T72" fmla="*/ 439 w 554"/>
                <a:gd name="T73" fmla="*/ 310 h 600"/>
                <a:gd name="T74" fmla="*/ 474 w 554"/>
                <a:gd name="T75" fmla="*/ 339 h 600"/>
                <a:gd name="T76" fmla="*/ 474 w 554"/>
                <a:gd name="T77" fmla="*/ 339 h 600"/>
                <a:gd name="T78" fmla="*/ 516 w 554"/>
                <a:gd name="T79" fmla="*/ 409 h 600"/>
                <a:gd name="T80" fmla="*/ 516 w 554"/>
                <a:gd name="T81" fmla="*/ 409 h 600"/>
                <a:gd name="T82" fmla="*/ 553 w 554"/>
                <a:gd name="T83" fmla="*/ 444 h 600"/>
                <a:gd name="T84" fmla="*/ 553 w 554"/>
                <a:gd name="T85" fmla="*/ 522 h 600"/>
                <a:gd name="T86" fmla="*/ 553 w 554"/>
                <a:gd name="T87" fmla="*/ 522 h 600"/>
                <a:gd name="T88" fmla="*/ 544 w 554"/>
                <a:gd name="T89" fmla="*/ 573 h 600"/>
                <a:gd name="T90" fmla="*/ 544 w 554"/>
                <a:gd name="T91" fmla="*/ 573 h 600"/>
                <a:gd name="T92" fmla="*/ 494 w 554"/>
                <a:gd name="T93" fmla="*/ 599 h 600"/>
                <a:gd name="T94" fmla="*/ 494 w 554"/>
                <a:gd name="T95" fmla="*/ 599 h 600"/>
                <a:gd name="T96" fmla="*/ 450 w 554"/>
                <a:gd name="T97" fmla="*/ 550 h 600"/>
                <a:gd name="T98" fmla="*/ 450 w 554"/>
                <a:gd name="T99" fmla="*/ 550 h 600"/>
                <a:gd name="T100" fmla="*/ 350 w 554"/>
                <a:gd name="T101" fmla="*/ 467 h 600"/>
                <a:gd name="T102" fmla="*/ 350 w 554"/>
                <a:gd name="T103" fmla="*/ 467 h 600"/>
                <a:gd name="T104" fmla="*/ 278 w 554"/>
                <a:gd name="T105" fmla="*/ 355 h 600"/>
                <a:gd name="T106" fmla="*/ 278 w 554"/>
                <a:gd name="T107" fmla="*/ 355 h 600"/>
                <a:gd name="T108" fmla="*/ 247 w 554"/>
                <a:gd name="T109" fmla="*/ 31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54" h="600">
                  <a:moveTo>
                    <a:pt x="247" y="310"/>
                  </a:moveTo>
                  <a:lnTo>
                    <a:pt x="247" y="310"/>
                  </a:lnTo>
                  <a:cubicBezTo>
                    <a:pt x="241" y="310"/>
                    <a:pt x="246" y="299"/>
                    <a:pt x="241" y="293"/>
                  </a:cubicBezTo>
                  <a:lnTo>
                    <a:pt x="241" y="293"/>
                  </a:lnTo>
                  <a:cubicBezTo>
                    <a:pt x="240" y="290"/>
                    <a:pt x="218" y="288"/>
                    <a:pt x="213" y="284"/>
                  </a:cubicBezTo>
                  <a:lnTo>
                    <a:pt x="213" y="284"/>
                  </a:lnTo>
                  <a:cubicBezTo>
                    <a:pt x="203" y="279"/>
                    <a:pt x="190" y="234"/>
                    <a:pt x="187" y="220"/>
                  </a:cubicBezTo>
                  <a:lnTo>
                    <a:pt x="187" y="220"/>
                  </a:lnTo>
                  <a:cubicBezTo>
                    <a:pt x="174" y="178"/>
                    <a:pt x="132" y="185"/>
                    <a:pt x="119" y="159"/>
                  </a:cubicBezTo>
                  <a:lnTo>
                    <a:pt x="119" y="159"/>
                  </a:lnTo>
                  <a:cubicBezTo>
                    <a:pt x="108" y="138"/>
                    <a:pt x="102" y="126"/>
                    <a:pt x="92" y="105"/>
                  </a:cubicBezTo>
                  <a:lnTo>
                    <a:pt x="92" y="105"/>
                  </a:lnTo>
                  <a:cubicBezTo>
                    <a:pt x="84" y="88"/>
                    <a:pt x="66" y="92"/>
                    <a:pt x="49" y="88"/>
                  </a:cubicBezTo>
                  <a:lnTo>
                    <a:pt x="49" y="88"/>
                  </a:lnTo>
                  <a:cubicBezTo>
                    <a:pt x="35" y="84"/>
                    <a:pt x="5" y="33"/>
                    <a:pt x="0" y="15"/>
                  </a:cubicBezTo>
                  <a:lnTo>
                    <a:pt x="0" y="0"/>
                  </a:lnTo>
                  <a:lnTo>
                    <a:pt x="11" y="0"/>
                  </a:lnTo>
                  <a:lnTo>
                    <a:pt x="11" y="0"/>
                  </a:lnTo>
                  <a:cubicBezTo>
                    <a:pt x="29" y="0"/>
                    <a:pt x="33" y="9"/>
                    <a:pt x="47" y="17"/>
                  </a:cubicBezTo>
                  <a:lnTo>
                    <a:pt x="108" y="17"/>
                  </a:lnTo>
                  <a:lnTo>
                    <a:pt x="108" y="17"/>
                  </a:lnTo>
                  <a:cubicBezTo>
                    <a:pt x="148" y="29"/>
                    <a:pt x="161" y="57"/>
                    <a:pt x="176" y="86"/>
                  </a:cubicBezTo>
                  <a:lnTo>
                    <a:pt x="176" y="86"/>
                  </a:lnTo>
                  <a:cubicBezTo>
                    <a:pt x="179" y="95"/>
                    <a:pt x="188" y="93"/>
                    <a:pt x="196" y="95"/>
                  </a:cubicBezTo>
                  <a:lnTo>
                    <a:pt x="196" y="95"/>
                  </a:lnTo>
                  <a:cubicBezTo>
                    <a:pt x="223" y="105"/>
                    <a:pt x="236" y="126"/>
                    <a:pt x="254" y="145"/>
                  </a:cubicBezTo>
                  <a:lnTo>
                    <a:pt x="254" y="145"/>
                  </a:lnTo>
                  <a:cubicBezTo>
                    <a:pt x="289" y="180"/>
                    <a:pt x="309" y="203"/>
                    <a:pt x="361" y="220"/>
                  </a:cubicBezTo>
                  <a:lnTo>
                    <a:pt x="361" y="220"/>
                  </a:lnTo>
                  <a:cubicBezTo>
                    <a:pt x="388" y="229"/>
                    <a:pt x="419" y="238"/>
                    <a:pt x="419" y="265"/>
                  </a:cubicBezTo>
                  <a:lnTo>
                    <a:pt x="419" y="265"/>
                  </a:lnTo>
                  <a:cubicBezTo>
                    <a:pt x="419" y="267"/>
                    <a:pt x="416" y="273"/>
                    <a:pt x="416" y="275"/>
                  </a:cubicBezTo>
                  <a:lnTo>
                    <a:pt x="430" y="275"/>
                  </a:lnTo>
                  <a:lnTo>
                    <a:pt x="430" y="275"/>
                  </a:lnTo>
                  <a:cubicBezTo>
                    <a:pt x="438" y="275"/>
                    <a:pt x="443" y="284"/>
                    <a:pt x="447" y="291"/>
                  </a:cubicBezTo>
                  <a:lnTo>
                    <a:pt x="439" y="310"/>
                  </a:lnTo>
                  <a:lnTo>
                    <a:pt x="439" y="310"/>
                  </a:lnTo>
                  <a:cubicBezTo>
                    <a:pt x="439" y="334"/>
                    <a:pt x="454" y="339"/>
                    <a:pt x="474" y="339"/>
                  </a:cubicBezTo>
                  <a:lnTo>
                    <a:pt x="474" y="339"/>
                  </a:lnTo>
                  <a:cubicBezTo>
                    <a:pt x="474" y="378"/>
                    <a:pt x="496" y="388"/>
                    <a:pt x="516" y="409"/>
                  </a:cubicBezTo>
                  <a:lnTo>
                    <a:pt x="516" y="409"/>
                  </a:lnTo>
                  <a:cubicBezTo>
                    <a:pt x="528" y="419"/>
                    <a:pt x="553" y="425"/>
                    <a:pt x="553" y="444"/>
                  </a:cubicBezTo>
                  <a:lnTo>
                    <a:pt x="553" y="522"/>
                  </a:lnTo>
                  <a:lnTo>
                    <a:pt x="553" y="522"/>
                  </a:lnTo>
                  <a:cubicBezTo>
                    <a:pt x="535" y="530"/>
                    <a:pt x="544" y="555"/>
                    <a:pt x="544" y="573"/>
                  </a:cubicBezTo>
                  <a:lnTo>
                    <a:pt x="544" y="573"/>
                  </a:lnTo>
                  <a:cubicBezTo>
                    <a:pt x="544" y="594"/>
                    <a:pt x="508" y="599"/>
                    <a:pt x="494" y="599"/>
                  </a:cubicBezTo>
                  <a:lnTo>
                    <a:pt x="494" y="599"/>
                  </a:lnTo>
                  <a:cubicBezTo>
                    <a:pt x="485" y="599"/>
                    <a:pt x="452" y="552"/>
                    <a:pt x="450" y="550"/>
                  </a:cubicBezTo>
                  <a:lnTo>
                    <a:pt x="450" y="550"/>
                  </a:lnTo>
                  <a:cubicBezTo>
                    <a:pt x="416" y="515"/>
                    <a:pt x="382" y="501"/>
                    <a:pt x="350" y="467"/>
                  </a:cubicBezTo>
                  <a:lnTo>
                    <a:pt x="350" y="467"/>
                  </a:lnTo>
                  <a:cubicBezTo>
                    <a:pt x="313" y="431"/>
                    <a:pt x="298" y="398"/>
                    <a:pt x="278" y="355"/>
                  </a:cubicBezTo>
                  <a:lnTo>
                    <a:pt x="278" y="355"/>
                  </a:lnTo>
                  <a:cubicBezTo>
                    <a:pt x="275" y="346"/>
                    <a:pt x="253" y="310"/>
                    <a:pt x="247" y="31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79" name="Freeform 7">
              <a:extLst>
                <a:ext uri="{FF2B5EF4-FFF2-40B4-BE49-F238E27FC236}">
                  <a16:creationId xmlns:a16="http://schemas.microsoft.com/office/drawing/2014/main" id="{84E98333-4B8B-E64C-B102-EA7E246BA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2433" y="6656382"/>
              <a:ext cx="345636" cy="383079"/>
            </a:xfrm>
            <a:custGeom>
              <a:avLst/>
              <a:gdLst>
                <a:gd name="T0" fmla="*/ 154 w 531"/>
                <a:gd name="T1" fmla="*/ 542 h 587"/>
                <a:gd name="T2" fmla="*/ 151 w 531"/>
                <a:gd name="T3" fmla="*/ 514 h 587"/>
                <a:gd name="T4" fmla="*/ 112 w 531"/>
                <a:gd name="T5" fmla="*/ 524 h 587"/>
                <a:gd name="T6" fmla="*/ 50 w 531"/>
                <a:gd name="T7" fmla="*/ 423 h 587"/>
                <a:gd name="T8" fmla="*/ 52 w 531"/>
                <a:gd name="T9" fmla="*/ 414 h 587"/>
                <a:gd name="T10" fmla="*/ 28 w 531"/>
                <a:gd name="T11" fmla="*/ 403 h 587"/>
                <a:gd name="T12" fmla="*/ 0 w 531"/>
                <a:gd name="T13" fmla="*/ 326 h 587"/>
                <a:gd name="T14" fmla="*/ 65 w 531"/>
                <a:gd name="T15" fmla="*/ 308 h 587"/>
                <a:gd name="T16" fmla="*/ 139 w 531"/>
                <a:gd name="T17" fmla="*/ 225 h 587"/>
                <a:gd name="T18" fmla="*/ 191 w 531"/>
                <a:gd name="T19" fmla="*/ 209 h 587"/>
                <a:gd name="T20" fmla="*/ 233 w 531"/>
                <a:gd name="T21" fmla="*/ 170 h 587"/>
                <a:gd name="T22" fmla="*/ 246 w 531"/>
                <a:gd name="T23" fmla="*/ 148 h 587"/>
                <a:gd name="T24" fmla="*/ 264 w 531"/>
                <a:gd name="T25" fmla="*/ 136 h 587"/>
                <a:gd name="T26" fmla="*/ 275 w 531"/>
                <a:gd name="T27" fmla="*/ 121 h 587"/>
                <a:gd name="T28" fmla="*/ 341 w 531"/>
                <a:gd name="T29" fmla="*/ 99 h 587"/>
                <a:gd name="T30" fmla="*/ 425 w 531"/>
                <a:gd name="T31" fmla="*/ 0 h 587"/>
                <a:gd name="T32" fmla="*/ 453 w 531"/>
                <a:gd name="T33" fmla="*/ 46 h 587"/>
                <a:gd name="T34" fmla="*/ 530 w 531"/>
                <a:gd name="T35" fmla="*/ 99 h 587"/>
                <a:gd name="T36" fmla="*/ 489 w 531"/>
                <a:gd name="T37" fmla="*/ 121 h 587"/>
                <a:gd name="T38" fmla="*/ 497 w 531"/>
                <a:gd name="T39" fmla="*/ 130 h 587"/>
                <a:gd name="T40" fmla="*/ 444 w 531"/>
                <a:gd name="T41" fmla="*/ 156 h 587"/>
                <a:gd name="T42" fmla="*/ 451 w 531"/>
                <a:gd name="T43" fmla="*/ 172 h 587"/>
                <a:gd name="T44" fmla="*/ 438 w 531"/>
                <a:gd name="T45" fmla="*/ 185 h 587"/>
                <a:gd name="T46" fmla="*/ 521 w 531"/>
                <a:gd name="T47" fmla="*/ 304 h 587"/>
                <a:gd name="T48" fmla="*/ 481 w 531"/>
                <a:gd name="T49" fmla="*/ 322 h 587"/>
                <a:gd name="T50" fmla="*/ 453 w 531"/>
                <a:gd name="T51" fmla="*/ 345 h 587"/>
                <a:gd name="T52" fmla="*/ 429 w 531"/>
                <a:gd name="T53" fmla="*/ 427 h 587"/>
                <a:gd name="T54" fmla="*/ 389 w 531"/>
                <a:gd name="T55" fmla="*/ 469 h 587"/>
                <a:gd name="T56" fmla="*/ 398 w 531"/>
                <a:gd name="T57" fmla="*/ 494 h 587"/>
                <a:gd name="T58" fmla="*/ 376 w 531"/>
                <a:gd name="T59" fmla="*/ 557 h 587"/>
                <a:gd name="T60" fmla="*/ 319 w 531"/>
                <a:gd name="T61" fmla="*/ 586 h 587"/>
                <a:gd name="T62" fmla="*/ 295 w 531"/>
                <a:gd name="T63" fmla="*/ 561 h 587"/>
                <a:gd name="T64" fmla="*/ 214 w 531"/>
                <a:gd name="T65" fmla="*/ 531 h 587"/>
                <a:gd name="T66" fmla="*/ 169 w 531"/>
                <a:gd name="T67" fmla="*/ 551 h 587"/>
                <a:gd name="T68" fmla="*/ 154 w 531"/>
                <a:gd name="T69" fmla="*/ 5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1" h="587">
                  <a:moveTo>
                    <a:pt x="154" y="542"/>
                  </a:moveTo>
                  <a:lnTo>
                    <a:pt x="154" y="542"/>
                  </a:lnTo>
                  <a:cubicBezTo>
                    <a:pt x="151" y="542"/>
                    <a:pt x="152" y="522"/>
                    <a:pt x="151" y="514"/>
                  </a:cubicBezTo>
                  <a:lnTo>
                    <a:pt x="151" y="514"/>
                  </a:lnTo>
                  <a:cubicBezTo>
                    <a:pt x="136" y="513"/>
                    <a:pt x="127" y="524"/>
                    <a:pt x="112" y="524"/>
                  </a:cubicBezTo>
                  <a:lnTo>
                    <a:pt x="112" y="524"/>
                  </a:lnTo>
                  <a:cubicBezTo>
                    <a:pt x="44" y="524"/>
                    <a:pt x="74" y="460"/>
                    <a:pt x="50" y="423"/>
                  </a:cubicBezTo>
                  <a:lnTo>
                    <a:pt x="50" y="423"/>
                  </a:lnTo>
                  <a:cubicBezTo>
                    <a:pt x="50" y="421"/>
                    <a:pt x="52" y="416"/>
                    <a:pt x="52" y="414"/>
                  </a:cubicBezTo>
                  <a:lnTo>
                    <a:pt x="52" y="414"/>
                  </a:lnTo>
                  <a:cubicBezTo>
                    <a:pt x="48" y="405"/>
                    <a:pt x="37" y="405"/>
                    <a:pt x="28" y="403"/>
                  </a:cubicBezTo>
                  <a:lnTo>
                    <a:pt x="28" y="403"/>
                  </a:lnTo>
                  <a:cubicBezTo>
                    <a:pt x="18" y="401"/>
                    <a:pt x="0" y="335"/>
                    <a:pt x="0" y="326"/>
                  </a:cubicBezTo>
                  <a:lnTo>
                    <a:pt x="0" y="326"/>
                  </a:lnTo>
                  <a:cubicBezTo>
                    <a:pt x="0" y="295"/>
                    <a:pt x="39" y="308"/>
                    <a:pt x="65" y="308"/>
                  </a:cubicBezTo>
                  <a:lnTo>
                    <a:pt x="65" y="308"/>
                  </a:lnTo>
                  <a:cubicBezTo>
                    <a:pt x="121" y="308"/>
                    <a:pt x="114" y="251"/>
                    <a:pt x="139" y="225"/>
                  </a:cubicBezTo>
                  <a:lnTo>
                    <a:pt x="139" y="225"/>
                  </a:lnTo>
                  <a:cubicBezTo>
                    <a:pt x="152" y="213"/>
                    <a:pt x="171" y="213"/>
                    <a:pt x="191" y="209"/>
                  </a:cubicBezTo>
                  <a:lnTo>
                    <a:pt x="191" y="209"/>
                  </a:lnTo>
                  <a:cubicBezTo>
                    <a:pt x="218" y="203"/>
                    <a:pt x="218" y="185"/>
                    <a:pt x="233" y="170"/>
                  </a:cubicBezTo>
                  <a:lnTo>
                    <a:pt x="233" y="170"/>
                  </a:lnTo>
                  <a:cubicBezTo>
                    <a:pt x="226" y="163"/>
                    <a:pt x="246" y="148"/>
                    <a:pt x="246" y="148"/>
                  </a:cubicBezTo>
                  <a:lnTo>
                    <a:pt x="246" y="148"/>
                  </a:lnTo>
                  <a:cubicBezTo>
                    <a:pt x="257" y="143"/>
                    <a:pt x="255" y="139"/>
                    <a:pt x="264" y="136"/>
                  </a:cubicBezTo>
                  <a:lnTo>
                    <a:pt x="264" y="136"/>
                  </a:lnTo>
                  <a:cubicBezTo>
                    <a:pt x="270" y="134"/>
                    <a:pt x="272" y="124"/>
                    <a:pt x="275" y="121"/>
                  </a:cubicBezTo>
                  <a:lnTo>
                    <a:pt x="275" y="121"/>
                  </a:lnTo>
                  <a:cubicBezTo>
                    <a:pt x="292" y="104"/>
                    <a:pt x="334" y="113"/>
                    <a:pt x="341" y="99"/>
                  </a:cubicBezTo>
                  <a:lnTo>
                    <a:pt x="341" y="99"/>
                  </a:lnTo>
                  <a:cubicBezTo>
                    <a:pt x="355" y="70"/>
                    <a:pt x="396" y="0"/>
                    <a:pt x="425" y="0"/>
                  </a:cubicBezTo>
                  <a:lnTo>
                    <a:pt x="425" y="0"/>
                  </a:lnTo>
                  <a:cubicBezTo>
                    <a:pt x="456" y="0"/>
                    <a:pt x="453" y="18"/>
                    <a:pt x="453" y="46"/>
                  </a:cubicBezTo>
                  <a:lnTo>
                    <a:pt x="453" y="46"/>
                  </a:lnTo>
                  <a:cubicBezTo>
                    <a:pt x="453" y="84"/>
                    <a:pt x="530" y="62"/>
                    <a:pt x="530" y="99"/>
                  </a:cubicBezTo>
                  <a:lnTo>
                    <a:pt x="530" y="99"/>
                  </a:lnTo>
                  <a:cubicBezTo>
                    <a:pt x="530" y="115"/>
                    <a:pt x="489" y="104"/>
                    <a:pt x="489" y="121"/>
                  </a:cubicBezTo>
                  <a:lnTo>
                    <a:pt x="489" y="121"/>
                  </a:lnTo>
                  <a:cubicBezTo>
                    <a:pt x="489" y="124"/>
                    <a:pt x="494" y="130"/>
                    <a:pt x="497" y="130"/>
                  </a:cubicBezTo>
                  <a:lnTo>
                    <a:pt x="497" y="130"/>
                  </a:lnTo>
                  <a:cubicBezTo>
                    <a:pt x="494" y="136"/>
                    <a:pt x="444" y="156"/>
                    <a:pt x="444" y="156"/>
                  </a:cubicBezTo>
                  <a:lnTo>
                    <a:pt x="444" y="156"/>
                  </a:lnTo>
                  <a:cubicBezTo>
                    <a:pt x="445" y="161"/>
                    <a:pt x="449" y="167"/>
                    <a:pt x="451" y="172"/>
                  </a:cubicBezTo>
                  <a:lnTo>
                    <a:pt x="451" y="172"/>
                  </a:lnTo>
                  <a:cubicBezTo>
                    <a:pt x="445" y="174"/>
                    <a:pt x="438" y="180"/>
                    <a:pt x="438" y="185"/>
                  </a:cubicBezTo>
                  <a:lnTo>
                    <a:pt x="438" y="185"/>
                  </a:lnTo>
                  <a:cubicBezTo>
                    <a:pt x="438" y="213"/>
                    <a:pt x="488" y="304"/>
                    <a:pt x="521" y="304"/>
                  </a:cubicBezTo>
                  <a:lnTo>
                    <a:pt x="521" y="304"/>
                  </a:lnTo>
                  <a:cubicBezTo>
                    <a:pt x="515" y="332"/>
                    <a:pt x="501" y="322"/>
                    <a:pt x="481" y="322"/>
                  </a:cubicBezTo>
                  <a:lnTo>
                    <a:pt x="481" y="322"/>
                  </a:lnTo>
                  <a:cubicBezTo>
                    <a:pt x="475" y="322"/>
                    <a:pt x="468" y="324"/>
                    <a:pt x="463" y="326"/>
                  </a:cubicBezTo>
                  <a:lnTo>
                    <a:pt x="453" y="345"/>
                  </a:lnTo>
                  <a:lnTo>
                    <a:pt x="453" y="345"/>
                  </a:lnTo>
                  <a:cubicBezTo>
                    <a:pt x="444" y="385"/>
                    <a:pt x="429" y="396"/>
                    <a:pt x="429" y="427"/>
                  </a:cubicBezTo>
                  <a:lnTo>
                    <a:pt x="429" y="427"/>
                  </a:lnTo>
                  <a:cubicBezTo>
                    <a:pt x="407" y="430"/>
                    <a:pt x="389" y="458"/>
                    <a:pt x="389" y="469"/>
                  </a:cubicBezTo>
                  <a:lnTo>
                    <a:pt x="389" y="469"/>
                  </a:lnTo>
                  <a:cubicBezTo>
                    <a:pt x="389" y="481"/>
                    <a:pt x="398" y="486"/>
                    <a:pt x="398" y="494"/>
                  </a:cubicBezTo>
                  <a:lnTo>
                    <a:pt x="398" y="494"/>
                  </a:lnTo>
                  <a:cubicBezTo>
                    <a:pt x="398" y="509"/>
                    <a:pt x="376" y="537"/>
                    <a:pt x="376" y="557"/>
                  </a:cubicBezTo>
                  <a:lnTo>
                    <a:pt x="376" y="557"/>
                  </a:lnTo>
                  <a:cubicBezTo>
                    <a:pt x="347" y="564"/>
                    <a:pt x="343" y="586"/>
                    <a:pt x="319" y="586"/>
                  </a:cubicBezTo>
                  <a:lnTo>
                    <a:pt x="319" y="586"/>
                  </a:lnTo>
                  <a:cubicBezTo>
                    <a:pt x="301" y="586"/>
                    <a:pt x="295" y="571"/>
                    <a:pt x="295" y="561"/>
                  </a:cubicBezTo>
                  <a:lnTo>
                    <a:pt x="295" y="561"/>
                  </a:lnTo>
                  <a:cubicBezTo>
                    <a:pt x="266" y="553"/>
                    <a:pt x="246" y="531"/>
                    <a:pt x="214" y="531"/>
                  </a:cubicBezTo>
                  <a:lnTo>
                    <a:pt x="214" y="531"/>
                  </a:lnTo>
                  <a:cubicBezTo>
                    <a:pt x="200" y="531"/>
                    <a:pt x="191" y="551"/>
                    <a:pt x="169" y="551"/>
                  </a:cubicBezTo>
                  <a:lnTo>
                    <a:pt x="169" y="551"/>
                  </a:lnTo>
                  <a:cubicBezTo>
                    <a:pt x="163" y="551"/>
                    <a:pt x="160" y="542"/>
                    <a:pt x="154" y="542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0" name="Freeform 8">
              <a:extLst>
                <a:ext uri="{FF2B5EF4-FFF2-40B4-BE49-F238E27FC236}">
                  <a16:creationId xmlns:a16="http://schemas.microsoft.com/office/drawing/2014/main" id="{36034BD4-DCC7-6B48-AD98-7D42C3490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36549" y="6837839"/>
              <a:ext cx="216024" cy="253467"/>
            </a:xfrm>
            <a:custGeom>
              <a:avLst/>
              <a:gdLst>
                <a:gd name="T0" fmla="*/ 131 w 332"/>
                <a:gd name="T1" fmla="*/ 141 h 388"/>
                <a:gd name="T2" fmla="*/ 131 w 332"/>
                <a:gd name="T3" fmla="*/ 141 h 388"/>
                <a:gd name="T4" fmla="*/ 111 w 332"/>
                <a:gd name="T5" fmla="*/ 160 h 388"/>
                <a:gd name="T6" fmla="*/ 111 w 332"/>
                <a:gd name="T7" fmla="*/ 160 h 388"/>
                <a:gd name="T8" fmla="*/ 73 w 332"/>
                <a:gd name="T9" fmla="*/ 98 h 388"/>
                <a:gd name="T10" fmla="*/ 73 w 332"/>
                <a:gd name="T11" fmla="*/ 98 h 388"/>
                <a:gd name="T12" fmla="*/ 133 w 332"/>
                <a:gd name="T13" fmla="*/ 68 h 388"/>
                <a:gd name="T14" fmla="*/ 133 w 332"/>
                <a:gd name="T15" fmla="*/ 68 h 388"/>
                <a:gd name="T16" fmla="*/ 203 w 332"/>
                <a:gd name="T17" fmla="*/ 60 h 388"/>
                <a:gd name="T18" fmla="*/ 203 w 332"/>
                <a:gd name="T19" fmla="*/ 60 h 388"/>
                <a:gd name="T20" fmla="*/ 267 w 332"/>
                <a:gd name="T21" fmla="*/ 74 h 388"/>
                <a:gd name="T22" fmla="*/ 267 w 332"/>
                <a:gd name="T23" fmla="*/ 74 h 388"/>
                <a:gd name="T24" fmla="*/ 322 w 332"/>
                <a:gd name="T25" fmla="*/ 15 h 388"/>
                <a:gd name="T26" fmla="*/ 322 w 332"/>
                <a:gd name="T27" fmla="*/ 15 h 388"/>
                <a:gd name="T28" fmla="*/ 331 w 332"/>
                <a:gd name="T29" fmla="*/ 0 h 388"/>
                <a:gd name="T30" fmla="*/ 320 w 332"/>
                <a:gd name="T31" fmla="*/ 0 h 388"/>
                <a:gd name="T32" fmla="*/ 320 w 332"/>
                <a:gd name="T33" fmla="*/ 0 h 388"/>
                <a:gd name="T34" fmla="*/ 262 w 332"/>
                <a:gd name="T35" fmla="*/ 42 h 388"/>
                <a:gd name="T36" fmla="*/ 247 w 332"/>
                <a:gd name="T37" fmla="*/ 42 h 388"/>
                <a:gd name="T38" fmla="*/ 118 w 332"/>
                <a:gd name="T39" fmla="*/ 21 h 388"/>
                <a:gd name="T40" fmla="*/ 118 w 332"/>
                <a:gd name="T41" fmla="*/ 21 h 388"/>
                <a:gd name="T42" fmla="*/ 49 w 332"/>
                <a:gd name="T43" fmla="*/ 125 h 388"/>
                <a:gd name="T44" fmla="*/ 49 w 332"/>
                <a:gd name="T45" fmla="*/ 125 h 388"/>
                <a:gd name="T46" fmla="*/ 33 w 332"/>
                <a:gd name="T47" fmla="*/ 152 h 388"/>
                <a:gd name="T48" fmla="*/ 33 w 332"/>
                <a:gd name="T49" fmla="*/ 152 h 388"/>
                <a:gd name="T50" fmla="*/ 0 w 332"/>
                <a:gd name="T51" fmla="*/ 251 h 388"/>
                <a:gd name="T52" fmla="*/ 0 w 332"/>
                <a:gd name="T53" fmla="*/ 251 h 388"/>
                <a:gd name="T54" fmla="*/ 36 w 332"/>
                <a:gd name="T55" fmla="*/ 275 h 388"/>
                <a:gd name="T56" fmla="*/ 36 w 332"/>
                <a:gd name="T57" fmla="*/ 363 h 388"/>
                <a:gd name="T58" fmla="*/ 36 w 332"/>
                <a:gd name="T59" fmla="*/ 363 h 388"/>
                <a:gd name="T60" fmla="*/ 65 w 332"/>
                <a:gd name="T61" fmla="*/ 387 h 388"/>
                <a:gd name="T62" fmla="*/ 65 w 332"/>
                <a:gd name="T63" fmla="*/ 387 h 388"/>
                <a:gd name="T64" fmla="*/ 93 w 332"/>
                <a:gd name="T65" fmla="*/ 314 h 388"/>
                <a:gd name="T66" fmla="*/ 93 w 332"/>
                <a:gd name="T67" fmla="*/ 314 h 388"/>
                <a:gd name="T68" fmla="*/ 77 w 332"/>
                <a:gd name="T69" fmla="*/ 253 h 388"/>
                <a:gd name="T70" fmla="*/ 77 w 332"/>
                <a:gd name="T71" fmla="*/ 253 h 388"/>
                <a:gd name="T72" fmla="*/ 104 w 332"/>
                <a:gd name="T73" fmla="*/ 231 h 388"/>
                <a:gd name="T74" fmla="*/ 104 w 332"/>
                <a:gd name="T75" fmla="*/ 231 h 388"/>
                <a:gd name="T76" fmla="*/ 118 w 332"/>
                <a:gd name="T77" fmla="*/ 231 h 388"/>
                <a:gd name="T78" fmla="*/ 111 w 332"/>
                <a:gd name="T79" fmla="*/ 270 h 388"/>
                <a:gd name="T80" fmla="*/ 111 w 332"/>
                <a:gd name="T81" fmla="*/ 270 h 388"/>
                <a:gd name="T82" fmla="*/ 141 w 332"/>
                <a:gd name="T83" fmla="*/ 326 h 388"/>
                <a:gd name="T84" fmla="*/ 141 w 332"/>
                <a:gd name="T85" fmla="*/ 326 h 388"/>
                <a:gd name="T86" fmla="*/ 141 w 332"/>
                <a:gd name="T87" fmla="*/ 342 h 388"/>
                <a:gd name="T88" fmla="*/ 164 w 332"/>
                <a:gd name="T89" fmla="*/ 342 h 388"/>
                <a:gd name="T90" fmla="*/ 164 w 332"/>
                <a:gd name="T91" fmla="*/ 342 h 388"/>
                <a:gd name="T92" fmla="*/ 205 w 332"/>
                <a:gd name="T93" fmla="*/ 304 h 388"/>
                <a:gd name="T94" fmla="*/ 205 w 332"/>
                <a:gd name="T95" fmla="*/ 304 h 388"/>
                <a:gd name="T96" fmla="*/ 179 w 332"/>
                <a:gd name="T97" fmla="*/ 271 h 388"/>
                <a:gd name="T98" fmla="*/ 179 w 332"/>
                <a:gd name="T99" fmla="*/ 271 h 388"/>
                <a:gd name="T100" fmla="*/ 186 w 332"/>
                <a:gd name="T101" fmla="*/ 260 h 388"/>
                <a:gd name="T102" fmla="*/ 186 w 332"/>
                <a:gd name="T103" fmla="*/ 260 h 388"/>
                <a:gd name="T104" fmla="*/ 141 w 332"/>
                <a:gd name="T105" fmla="*/ 183 h 388"/>
                <a:gd name="T106" fmla="*/ 141 w 332"/>
                <a:gd name="T107" fmla="*/ 183 h 388"/>
                <a:gd name="T108" fmla="*/ 238 w 332"/>
                <a:gd name="T109" fmla="*/ 130 h 388"/>
                <a:gd name="T110" fmla="*/ 238 w 332"/>
                <a:gd name="T111" fmla="*/ 116 h 388"/>
                <a:gd name="T112" fmla="*/ 238 w 332"/>
                <a:gd name="T113" fmla="*/ 116 h 388"/>
                <a:gd name="T114" fmla="*/ 128 w 332"/>
                <a:gd name="T115" fmla="*/ 149 h 388"/>
                <a:gd name="T116" fmla="*/ 131 w 332"/>
                <a:gd name="T117" fmla="*/ 141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2" h="388">
                  <a:moveTo>
                    <a:pt x="131" y="141"/>
                  </a:moveTo>
                  <a:lnTo>
                    <a:pt x="131" y="141"/>
                  </a:lnTo>
                  <a:cubicBezTo>
                    <a:pt x="124" y="150"/>
                    <a:pt x="123" y="160"/>
                    <a:pt x="111" y="160"/>
                  </a:cubicBezTo>
                  <a:lnTo>
                    <a:pt x="111" y="160"/>
                  </a:lnTo>
                  <a:cubicBezTo>
                    <a:pt x="84" y="160"/>
                    <a:pt x="73" y="125"/>
                    <a:pt x="73" y="98"/>
                  </a:cubicBezTo>
                  <a:lnTo>
                    <a:pt x="73" y="98"/>
                  </a:lnTo>
                  <a:cubicBezTo>
                    <a:pt x="73" y="60"/>
                    <a:pt x="102" y="68"/>
                    <a:pt x="133" y="68"/>
                  </a:cubicBezTo>
                  <a:lnTo>
                    <a:pt x="133" y="68"/>
                  </a:lnTo>
                  <a:cubicBezTo>
                    <a:pt x="164" y="68"/>
                    <a:pt x="177" y="60"/>
                    <a:pt x="203" y="60"/>
                  </a:cubicBezTo>
                  <a:lnTo>
                    <a:pt x="203" y="60"/>
                  </a:lnTo>
                  <a:cubicBezTo>
                    <a:pt x="226" y="60"/>
                    <a:pt x="244" y="74"/>
                    <a:pt x="267" y="74"/>
                  </a:cubicBezTo>
                  <a:lnTo>
                    <a:pt x="267" y="74"/>
                  </a:lnTo>
                  <a:cubicBezTo>
                    <a:pt x="304" y="74"/>
                    <a:pt x="316" y="42"/>
                    <a:pt x="322" y="15"/>
                  </a:cubicBezTo>
                  <a:lnTo>
                    <a:pt x="322" y="15"/>
                  </a:lnTo>
                  <a:cubicBezTo>
                    <a:pt x="327" y="15"/>
                    <a:pt x="329" y="6"/>
                    <a:pt x="331" y="0"/>
                  </a:cubicBezTo>
                  <a:lnTo>
                    <a:pt x="320" y="0"/>
                  </a:lnTo>
                  <a:lnTo>
                    <a:pt x="320" y="0"/>
                  </a:lnTo>
                  <a:cubicBezTo>
                    <a:pt x="298" y="15"/>
                    <a:pt x="272" y="31"/>
                    <a:pt x="262" y="42"/>
                  </a:cubicBezTo>
                  <a:lnTo>
                    <a:pt x="247" y="42"/>
                  </a:lnTo>
                  <a:lnTo>
                    <a:pt x="118" y="21"/>
                  </a:lnTo>
                  <a:lnTo>
                    <a:pt x="118" y="21"/>
                  </a:lnTo>
                  <a:cubicBezTo>
                    <a:pt x="72" y="21"/>
                    <a:pt x="49" y="81"/>
                    <a:pt x="49" y="125"/>
                  </a:cubicBezTo>
                  <a:lnTo>
                    <a:pt x="49" y="125"/>
                  </a:lnTo>
                  <a:cubicBezTo>
                    <a:pt x="49" y="136"/>
                    <a:pt x="34" y="145"/>
                    <a:pt x="33" y="152"/>
                  </a:cubicBezTo>
                  <a:lnTo>
                    <a:pt x="33" y="152"/>
                  </a:lnTo>
                  <a:cubicBezTo>
                    <a:pt x="20" y="195"/>
                    <a:pt x="0" y="211"/>
                    <a:pt x="0" y="251"/>
                  </a:cubicBezTo>
                  <a:lnTo>
                    <a:pt x="0" y="251"/>
                  </a:lnTo>
                  <a:cubicBezTo>
                    <a:pt x="0" y="273"/>
                    <a:pt x="25" y="273"/>
                    <a:pt x="36" y="275"/>
                  </a:cubicBezTo>
                  <a:lnTo>
                    <a:pt x="36" y="363"/>
                  </a:lnTo>
                  <a:lnTo>
                    <a:pt x="36" y="363"/>
                  </a:lnTo>
                  <a:cubicBezTo>
                    <a:pt x="36" y="374"/>
                    <a:pt x="51" y="387"/>
                    <a:pt x="65" y="387"/>
                  </a:cubicBezTo>
                  <a:lnTo>
                    <a:pt x="65" y="387"/>
                  </a:lnTo>
                  <a:cubicBezTo>
                    <a:pt x="85" y="387"/>
                    <a:pt x="93" y="322"/>
                    <a:pt x="93" y="314"/>
                  </a:cubicBezTo>
                  <a:lnTo>
                    <a:pt x="93" y="314"/>
                  </a:lnTo>
                  <a:cubicBezTo>
                    <a:pt x="93" y="290"/>
                    <a:pt x="77" y="277"/>
                    <a:pt x="77" y="253"/>
                  </a:cubicBezTo>
                  <a:lnTo>
                    <a:pt x="77" y="253"/>
                  </a:lnTo>
                  <a:cubicBezTo>
                    <a:pt x="77" y="240"/>
                    <a:pt x="91" y="231"/>
                    <a:pt x="104" y="231"/>
                  </a:cubicBezTo>
                  <a:lnTo>
                    <a:pt x="104" y="231"/>
                  </a:lnTo>
                  <a:cubicBezTo>
                    <a:pt x="110" y="231"/>
                    <a:pt x="113" y="233"/>
                    <a:pt x="118" y="231"/>
                  </a:cubicBezTo>
                  <a:lnTo>
                    <a:pt x="111" y="270"/>
                  </a:lnTo>
                  <a:lnTo>
                    <a:pt x="111" y="270"/>
                  </a:lnTo>
                  <a:cubicBezTo>
                    <a:pt x="111" y="293"/>
                    <a:pt x="141" y="302"/>
                    <a:pt x="141" y="326"/>
                  </a:cubicBezTo>
                  <a:lnTo>
                    <a:pt x="141" y="326"/>
                  </a:lnTo>
                  <a:cubicBezTo>
                    <a:pt x="141" y="332"/>
                    <a:pt x="143" y="337"/>
                    <a:pt x="141" y="342"/>
                  </a:cubicBezTo>
                  <a:lnTo>
                    <a:pt x="164" y="342"/>
                  </a:lnTo>
                  <a:lnTo>
                    <a:pt x="164" y="342"/>
                  </a:lnTo>
                  <a:cubicBezTo>
                    <a:pt x="164" y="322"/>
                    <a:pt x="205" y="325"/>
                    <a:pt x="205" y="304"/>
                  </a:cubicBezTo>
                  <a:lnTo>
                    <a:pt x="205" y="304"/>
                  </a:lnTo>
                  <a:cubicBezTo>
                    <a:pt x="198" y="302"/>
                    <a:pt x="179" y="282"/>
                    <a:pt x="179" y="271"/>
                  </a:cubicBezTo>
                  <a:lnTo>
                    <a:pt x="179" y="271"/>
                  </a:lnTo>
                  <a:cubicBezTo>
                    <a:pt x="179" y="268"/>
                    <a:pt x="185" y="264"/>
                    <a:pt x="186" y="260"/>
                  </a:cubicBezTo>
                  <a:lnTo>
                    <a:pt x="186" y="260"/>
                  </a:lnTo>
                  <a:cubicBezTo>
                    <a:pt x="175" y="255"/>
                    <a:pt x="141" y="189"/>
                    <a:pt x="141" y="183"/>
                  </a:cubicBezTo>
                  <a:lnTo>
                    <a:pt x="141" y="183"/>
                  </a:lnTo>
                  <a:cubicBezTo>
                    <a:pt x="192" y="183"/>
                    <a:pt x="196" y="143"/>
                    <a:pt x="238" y="130"/>
                  </a:cubicBezTo>
                  <a:lnTo>
                    <a:pt x="238" y="116"/>
                  </a:lnTo>
                  <a:lnTo>
                    <a:pt x="238" y="116"/>
                  </a:lnTo>
                  <a:cubicBezTo>
                    <a:pt x="226" y="114"/>
                    <a:pt x="130" y="143"/>
                    <a:pt x="128" y="149"/>
                  </a:cubicBezTo>
                  <a:lnTo>
                    <a:pt x="131" y="141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1" name="Freeform 9">
              <a:extLst>
                <a:ext uri="{FF2B5EF4-FFF2-40B4-BE49-F238E27FC236}">
                  <a16:creationId xmlns:a16="http://schemas.microsoft.com/office/drawing/2014/main" id="{0E784011-9D9C-7342-A5D4-220650142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84342" y="7097066"/>
              <a:ext cx="348516" cy="103691"/>
            </a:xfrm>
            <a:custGeom>
              <a:avLst/>
              <a:gdLst>
                <a:gd name="T0" fmla="*/ 513 w 534"/>
                <a:gd name="T1" fmla="*/ 150 h 157"/>
                <a:gd name="T2" fmla="*/ 513 w 534"/>
                <a:gd name="T3" fmla="*/ 150 h 157"/>
                <a:gd name="T4" fmla="*/ 474 w 534"/>
                <a:gd name="T5" fmla="*/ 138 h 157"/>
                <a:gd name="T6" fmla="*/ 474 w 534"/>
                <a:gd name="T7" fmla="*/ 138 h 157"/>
                <a:gd name="T8" fmla="*/ 474 w 534"/>
                <a:gd name="T9" fmla="*/ 156 h 157"/>
                <a:gd name="T10" fmla="*/ 474 w 534"/>
                <a:gd name="T11" fmla="*/ 156 h 157"/>
                <a:gd name="T12" fmla="*/ 280 w 534"/>
                <a:gd name="T13" fmla="*/ 128 h 157"/>
                <a:gd name="T14" fmla="*/ 280 w 534"/>
                <a:gd name="T15" fmla="*/ 128 h 157"/>
                <a:gd name="T16" fmla="*/ 235 w 534"/>
                <a:gd name="T17" fmla="*/ 105 h 157"/>
                <a:gd name="T18" fmla="*/ 235 w 534"/>
                <a:gd name="T19" fmla="*/ 105 h 157"/>
                <a:gd name="T20" fmla="*/ 134 w 534"/>
                <a:gd name="T21" fmla="*/ 92 h 157"/>
                <a:gd name="T22" fmla="*/ 134 w 534"/>
                <a:gd name="T23" fmla="*/ 92 h 157"/>
                <a:gd name="T24" fmla="*/ 60 w 534"/>
                <a:gd name="T25" fmla="*/ 82 h 157"/>
                <a:gd name="T26" fmla="*/ 60 w 534"/>
                <a:gd name="T27" fmla="*/ 82 h 157"/>
                <a:gd name="T28" fmla="*/ 0 w 534"/>
                <a:gd name="T29" fmla="*/ 42 h 157"/>
                <a:gd name="T30" fmla="*/ 0 w 534"/>
                <a:gd name="T31" fmla="*/ 42 h 157"/>
                <a:gd name="T32" fmla="*/ 46 w 534"/>
                <a:gd name="T33" fmla="*/ 4 h 157"/>
                <a:gd name="T34" fmla="*/ 46 w 534"/>
                <a:gd name="T35" fmla="*/ 4 h 157"/>
                <a:gd name="T36" fmla="*/ 60 w 534"/>
                <a:gd name="T37" fmla="*/ 11 h 157"/>
                <a:gd name="T38" fmla="*/ 60 w 534"/>
                <a:gd name="T39" fmla="*/ 11 h 157"/>
                <a:gd name="T40" fmla="*/ 90 w 534"/>
                <a:gd name="T41" fmla="*/ 0 h 157"/>
                <a:gd name="T42" fmla="*/ 90 w 534"/>
                <a:gd name="T43" fmla="*/ 0 h 157"/>
                <a:gd name="T44" fmla="*/ 229 w 534"/>
                <a:gd name="T45" fmla="*/ 59 h 157"/>
                <a:gd name="T46" fmla="*/ 229 w 534"/>
                <a:gd name="T47" fmla="*/ 59 h 157"/>
                <a:gd name="T48" fmla="*/ 284 w 534"/>
                <a:gd name="T49" fmla="*/ 31 h 157"/>
                <a:gd name="T50" fmla="*/ 284 w 534"/>
                <a:gd name="T51" fmla="*/ 31 h 157"/>
                <a:gd name="T52" fmla="*/ 366 w 534"/>
                <a:gd name="T53" fmla="*/ 64 h 157"/>
                <a:gd name="T54" fmla="*/ 421 w 534"/>
                <a:gd name="T55" fmla="*/ 57 h 157"/>
                <a:gd name="T56" fmla="*/ 436 w 534"/>
                <a:gd name="T57" fmla="*/ 57 h 157"/>
                <a:gd name="T58" fmla="*/ 436 w 534"/>
                <a:gd name="T59" fmla="*/ 57 h 157"/>
                <a:gd name="T60" fmla="*/ 369 w 534"/>
                <a:gd name="T61" fmla="*/ 70 h 157"/>
                <a:gd name="T62" fmla="*/ 369 w 534"/>
                <a:gd name="T63" fmla="*/ 70 h 157"/>
                <a:gd name="T64" fmla="*/ 445 w 534"/>
                <a:gd name="T65" fmla="*/ 94 h 157"/>
                <a:gd name="T66" fmla="*/ 445 w 534"/>
                <a:gd name="T67" fmla="*/ 94 h 157"/>
                <a:gd name="T68" fmla="*/ 460 w 534"/>
                <a:gd name="T69" fmla="*/ 110 h 157"/>
                <a:gd name="T70" fmla="*/ 460 w 534"/>
                <a:gd name="T71" fmla="*/ 110 h 157"/>
                <a:gd name="T72" fmla="*/ 504 w 534"/>
                <a:gd name="T73" fmla="*/ 114 h 157"/>
                <a:gd name="T74" fmla="*/ 504 w 534"/>
                <a:gd name="T75" fmla="*/ 114 h 157"/>
                <a:gd name="T76" fmla="*/ 533 w 534"/>
                <a:gd name="T77" fmla="*/ 130 h 157"/>
                <a:gd name="T78" fmla="*/ 533 w 534"/>
                <a:gd name="T79" fmla="*/ 130 h 157"/>
                <a:gd name="T80" fmla="*/ 513 w 534"/>
                <a:gd name="T81" fmla="*/ 15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157">
                  <a:moveTo>
                    <a:pt x="513" y="150"/>
                  </a:moveTo>
                  <a:lnTo>
                    <a:pt x="513" y="150"/>
                  </a:lnTo>
                  <a:cubicBezTo>
                    <a:pt x="495" y="150"/>
                    <a:pt x="496" y="138"/>
                    <a:pt x="474" y="138"/>
                  </a:cubicBezTo>
                  <a:lnTo>
                    <a:pt x="474" y="138"/>
                  </a:lnTo>
                  <a:cubicBezTo>
                    <a:pt x="469" y="138"/>
                    <a:pt x="473" y="150"/>
                    <a:pt x="474" y="156"/>
                  </a:cubicBezTo>
                  <a:lnTo>
                    <a:pt x="474" y="156"/>
                  </a:lnTo>
                  <a:cubicBezTo>
                    <a:pt x="414" y="132"/>
                    <a:pt x="352" y="128"/>
                    <a:pt x="280" y="128"/>
                  </a:cubicBezTo>
                  <a:lnTo>
                    <a:pt x="280" y="128"/>
                  </a:lnTo>
                  <a:cubicBezTo>
                    <a:pt x="258" y="128"/>
                    <a:pt x="253" y="105"/>
                    <a:pt x="235" y="105"/>
                  </a:cubicBezTo>
                  <a:lnTo>
                    <a:pt x="235" y="105"/>
                  </a:lnTo>
                  <a:cubicBezTo>
                    <a:pt x="199" y="105"/>
                    <a:pt x="171" y="103"/>
                    <a:pt x="134" y="92"/>
                  </a:cubicBezTo>
                  <a:lnTo>
                    <a:pt x="134" y="92"/>
                  </a:lnTo>
                  <a:cubicBezTo>
                    <a:pt x="106" y="82"/>
                    <a:pt x="79" y="101"/>
                    <a:pt x="60" y="82"/>
                  </a:cubicBezTo>
                  <a:lnTo>
                    <a:pt x="60" y="82"/>
                  </a:lnTo>
                  <a:cubicBezTo>
                    <a:pt x="42" y="64"/>
                    <a:pt x="27" y="42"/>
                    <a:pt x="0" y="42"/>
                  </a:cubicBezTo>
                  <a:lnTo>
                    <a:pt x="0" y="42"/>
                  </a:lnTo>
                  <a:cubicBezTo>
                    <a:pt x="2" y="37"/>
                    <a:pt x="35" y="4"/>
                    <a:pt x="46" y="4"/>
                  </a:cubicBezTo>
                  <a:lnTo>
                    <a:pt x="46" y="4"/>
                  </a:lnTo>
                  <a:cubicBezTo>
                    <a:pt x="51" y="4"/>
                    <a:pt x="55" y="11"/>
                    <a:pt x="60" y="11"/>
                  </a:cubicBezTo>
                  <a:lnTo>
                    <a:pt x="60" y="11"/>
                  </a:lnTo>
                  <a:cubicBezTo>
                    <a:pt x="71" y="11"/>
                    <a:pt x="79" y="0"/>
                    <a:pt x="90" y="0"/>
                  </a:cubicBezTo>
                  <a:lnTo>
                    <a:pt x="90" y="0"/>
                  </a:lnTo>
                  <a:cubicBezTo>
                    <a:pt x="145" y="0"/>
                    <a:pt x="169" y="59"/>
                    <a:pt x="229" y="59"/>
                  </a:cubicBezTo>
                  <a:lnTo>
                    <a:pt x="229" y="59"/>
                  </a:lnTo>
                  <a:cubicBezTo>
                    <a:pt x="256" y="59"/>
                    <a:pt x="262" y="31"/>
                    <a:pt x="284" y="31"/>
                  </a:cubicBezTo>
                  <a:lnTo>
                    <a:pt x="284" y="31"/>
                  </a:lnTo>
                  <a:cubicBezTo>
                    <a:pt x="320" y="31"/>
                    <a:pt x="333" y="64"/>
                    <a:pt x="366" y="64"/>
                  </a:cubicBezTo>
                  <a:lnTo>
                    <a:pt x="421" y="57"/>
                  </a:lnTo>
                  <a:lnTo>
                    <a:pt x="436" y="57"/>
                  </a:lnTo>
                  <a:lnTo>
                    <a:pt x="436" y="57"/>
                  </a:lnTo>
                  <a:cubicBezTo>
                    <a:pt x="434" y="66"/>
                    <a:pt x="372" y="72"/>
                    <a:pt x="369" y="70"/>
                  </a:cubicBezTo>
                  <a:lnTo>
                    <a:pt x="369" y="70"/>
                  </a:lnTo>
                  <a:cubicBezTo>
                    <a:pt x="389" y="90"/>
                    <a:pt x="412" y="94"/>
                    <a:pt x="445" y="94"/>
                  </a:cubicBezTo>
                  <a:lnTo>
                    <a:pt x="445" y="94"/>
                  </a:lnTo>
                  <a:cubicBezTo>
                    <a:pt x="456" y="94"/>
                    <a:pt x="456" y="107"/>
                    <a:pt x="460" y="110"/>
                  </a:cubicBezTo>
                  <a:lnTo>
                    <a:pt x="460" y="110"/>
                  </a:lnTo>
                  <a:cubicBezTo>
                    <a:pt x="473" y="123"/>
                    <a:pt x="487" y="108"/>
                    <a:pt x="504" y="114"/>
                  </a:cubicBezTo>
                  <a:lnTo>
                    <a:pt x="504" y="114"/>
                  </a:lnTo>
                  <a:cubicBezTo>
                    <a:pt x="520" y="119"/>
                    <a:pt x="520" y="125"/>
                    <a:pt x="533" y="130"/>
                  </a:cubicBezTo>
                  <a:lnTo>
                    <a:pt x="533" y="130"/>
                  </a:lnTo>
                  <a:cubicBezTo>
                    <a:pt x="529" y="138"/>
                    <a:pt x="516" y="150"/>
                    <a:pt x="513" y="15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2" name="Freeform 10">
              <a:extLst>
                <a:ext uri="{FF2B5EF4-FFF2-40B4-BE49-F238E27FC236}">
                  <a16:creationId xmlns:a16="http://schemas.microsoft.com/office/drawing/2014/main" id="{7B0C0918-56F2-FC4C-A707-A0112A4933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6872" y="7177714"/>
              <a:ext cx="103691" cy="25924"/>
            </a:xfrm>
            <a:custGeom>
              <a:avLst/>
              <a:gdLst>
                <a:gd name="T0" fmla="*/ 106 w 160"/>
                <a:gd name="T1" fmla="*/ 37 h 39"/>
                <a:gd name="T2" fmla="*/ 40 w 160"/>
                <a:gd name="T3" fmla="*/ 37 h 39"/>
                <a:gd name="T4" fmla="*/ 40 w 160"/>
                <a:gd name="T5" fmla="*/ 37 h 39"/>
                <a:gd name="T6" fmla="*/ 0 w 160"/>
                <a:gd name="T7" fmla="*/ 18 h 39"/>
                <a:gd name="T8" fmla="*/ 0 w 160"/>
                <a:gd name="T9" fmla="*/ 18 h 39"/>
                <a:gd name="T10" fmla="*/ 33 w 160"/>
                <a:gd name="T11" fmla="*/ 5 h 39"/>
                <a:gd name="T12" fmla="*/ 33 w 160"/>
                <a:gd name="T13" fmla="*/ 5 h 39"/>
                <a:gd name="T14" fmla="*/ 106 w 160"/>
                <a:gd name="T15" fmla="*/ 18 h 39"/>
                <a:gd name="T16" fmla="*/ 106 w 160"/>
                <a:gd name="T17" fmla="*/ 18 h 39"/>
                <a:gd name="T18" fmla="*/ 159 w 160"/>
                <a:gd name="T19" fmla="*/ 0 h 39"/>
                <a:gd name="T20" fmla="*/ 159 w 160"/>
                <a:gd name="T21" fmla="*/ 0 h 39"/>
                <a:gd name="T22" fmla="*/ 106 w 160"/>
                <a:gd name="T23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39">
                  <a:moveTo>
                    <a:pt x="106" y="37"/>
                  </a:moveTo>
                  <a:lnTo>
                    <a:pt x="40" y="37"/>
                  </a:lnTo>
                  <a:lnTo>
                    <a:pt x="40" y="37"/>
                  </a:lnTo>
                  <a:cubicBezTo>
                    <a:pt x="27" y="37"/>
                    <a:pt x="0" y="38"/>
                    <a:pt x="0" y="18"/>
                  </a:cubicBezTo>
                  <a:lnTo>
                    <a:pt x="0" y="18"/>
                  </a:lnTo>
                  <a:cubicBezTo>
                    <a:pt x="0" y="3"/>
                    <a:pt x="20" y="5"/>
                    <a:pt x="33" y="5"/>
                  </a:cubicBezTo>
                  <a:lnTo>
                    <a:pt x="33" y="5"/>
                  </a:lnTo>
                  <a:cubicBezTo>
                    <a:pt x="66" y="5"/>
                    <a:pt x="79" y="18"/>
                    <a:pt x="106" y="18"/>
                  </a:cubicBezTo>
                  <a:lnTo>
                    <a:pt x="106" y="18"/>
                  </a:lnTo>
                  <a:cubicBezTo>
                    <a:pt x="134" y="18"/>
                    <a:pt x="143" y="7"/>
                    <a:pt x="159" y="0"/>
                  </a:cubicBezTo>
                  <a:lnTo>
                    <a:pt x="159" y="0"/>
                  </a:lnTo>
                  <a:cubicBezTo>
                    <a:pt x="146" y="24"/>
                    <a:pt x="130" y="29"/>
                    <a:pt x="106" y="37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3" name="Freeform 11">
              <a:extLst>
                <a:ext uri="{FF2B5EF4-FFF2-40B4-BE49-F238E27FC236}">
                  <a16:creationId xmlns:a16="http://schemas.microsoft.com/office/drawing/2014/main" id="{EB196AE6-A191-554C-B751-A8D0D1902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70303" y="7183475"/>
              <a:ext cx="72007" cy="25924"/>
            </a:xfrm>
            <a:custGeom>
              <a:avLst/>
              <a:gdLst>
                <a:gd name="T0" fmla="*/ 111 w 112"/>
                <a:gd name="T1" fmla="*/ 27 h 39"/>
                <a:gd name="T2" fmla="*/ 95 w 112"/>
                <a:gd name="T3" fmla="*/ 27 h 39"/>
                <a:gd name="T4" fmla="*/ 81 w 112"/>
                <a:gd name="T5" fmla="*/ 20 h 39"/>
                <a:gd name="T6" fmla="*/ 81 w 112"/>
                <a:gd name="T7" fmla="*/ 20 h 39"/>
                <a:gd name="T8" fmla="*/ 36 w 112"/>
                <a:gd name="T9" fmla="*/ 38 h 39"/>
                <a:gd name="T10" fmla="*/ 36 w 112"/>
                <a:gd name="T11" fmla="*/ 38 h 39"/>
                <a:gd name="T12" fmla="*/ 0 w 112"/>
                <a:gd name="T13" fmla="*/ 26 h 39"/>
                <a:gd name="T14" fmla="*/ 0 w 112"/>
                <a:gd name="T15" fmla="*/ 26 h 39"/>
                <a:gd name="T16" fmla="*/ 31 w 112"/>
                <a:gd name="T17" fmla="*/ 7 h 39"/>
                <a:gd name="T18" fmla="*/ 31 w 112"/>
                <a:gd name="T19" fmla="*/ 7 h 39"/>
                <a:gd name="T20" fmla="*/ 66 w 112"/>
                <a:gd name="T21" fmla="*/ 15 h 39"/>
                <a:gd name="T22" fmla="*/ 66 w 112"/>
                <a:gd name="T23" fmla="*/ 15 h 39"/>
                <a:gd name="T24" fmla="*/ 68 w 112"/>
                <a:gd name="T25" fmla="*/ 0 h 39"/>
                <a:gd name="T26" fmla="*/ 111 w 112"/>
                <a:gd name="T27" fmla="*/ 0 h 39"/>
                <a:gd name="T28" fmla="*/ 111 w 112"/>
                <a:gd name="T29" fmla="*/ 0 h 39"/>
                <a:gd name="T30" fmla="*/ 111 w 112"/>
                <a:gd name="T31" fmla="*/ 2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39">
                  <a:moveTo>
                    <a:pt x="111" y="27"/>
                  </a:moveTo>
                  <a:lnTo>
                    <a:pt x="95" y="27"/>
                  </a:lnTo>
                  <a:lnTo>
                    <a:pt x="81" y="20"/>
                  </a:lnTo>
                  <a:lnTo>
                    <a:pt x="81" y="20"/>
                  </a:lnTo>
                  <a:cubicBezTo>
                    <a:pt x="62" y="27"/>
                    <a:pt x="55" y="38"/>
                    <a:pt x="36" y="38"/>
                  </a:cubicBezTo>
                  <a:lnTo>
                    <a:pt x="36" y="38"/>
                  </a:lnTo>
                  <a:cubicBezTo>
                    <a:pt x="22" y="38"/>
                    <a:pt x="0" y="33"/>
                    <a:pt x="0" y="26"/>
                  </a:cubicBezTo>
                  <a:lnTo>
                    <a:pt x="0" y="26"/>
                  </a:lnTo>
                  <a:cubicBezTo>
                    <a:pt x="0" y="6"/>
                    <a:pt x="14" y="7"/>
                    <a:pt x="31" y="7"/>
                  </a:cubicBezTo>
                  <a:lnTo>
                    <a:pt x="31" y="7"/>
                  </a:lnTo>
                  <a:cubicBezTo>
                    <a:pt x="47" y="7"/>
                    <a:pt x="56" y="11"/>
                    <a:pt x="66" y="15"/>
                  </a:cubicBezTo>
                  <a:lnTo>
                    <a:pt x="66" y="15"/>
                  </a:lnTo>
                  <a:cubicBezTo>
                    <a:pt x="66" y="9"/>
                    <a:pt x="68" y="6"/>
                    <a:pt x="68" y="0"/>
                  </a:cubicBezTo>
                  <a:lnTo>
                    <a:pt x="111" y="0"/>
                  </a:lnTo>
                  <a:lnTo>
                    <a:pt x="111" y="0"/>
                  </a:lnTo>
                  <a:cubicBezTo>
                    <a:pt x="111" y="15"/>
                    <a:pt x="108" y="24"/>
                    <a:pt x="111" y="27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4" name="Freeform 12">
              <a:extLst>
                <a:ext uri="{FF2B5EF4-FFF2-40B4-BE49-F238E27FC236}">
                  <a16:creationId xmlns:a16="http://schemas.microsoft.com/office/drawing/2014/main" id="{949AC1AF-377F-0748-9B43-C080853DA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48070" y="7212279"/>
              <a:ext cx="51845" cy="40324"/>
            </a:xfrm>
            <a:custGeom>
              <a:avLst/>
              <a:gdLst>
                <a:gd name="T0" fmla="*/ 58 w 81"/>
                <a:gd name="T1" fmla="*/ 59 h 60"/>
                <a:gd name="T2" fmla="*/ 58 w 81"/>
                <a:gd name="T3" fmla="*/ 59 h 60"/>
                <a:gd name="T4" fmla="*/ 47 w 81"/>
                <a:gd name="T5" fmla="*/ 35 h 60"/>
                <a:gd name="T6" fmla="*/ 47 w 81"/>
                <a:gd name="T7" fmla="*/ 35 h 60"/>
                <a:gd name="T8" fmla="*/ 0 w 81"/>
                <a:gd name="T9" fmla="*/ 15 h 60"/>
                <a:gd name="T10" fmla="*/ 0 w 81"/>
                <a:gd name="T11" fmla="*/ 15 h 60"/>
                <a:gd name="T12" fmla="*/ 34 w 81"/>
                <a:gd name="T13" fmla="*/ 3 h 60"/>
                <a:gd name="T14" fmla="*/ 53 w 81"/>
                <a:gd name="T15" fmla="*/ 3 h 60"/>
                <a:gd name="T16" fmla="*/ 53 w 81"/>
                <a:gd name="T17" fmla="*/ 3 h 60"/>
                <a:gd name="T18" fmla="*/ 80 w 81"/>
                <a:gd name="T19" fmla="*/ 46 h 60"/>
                <a:gd name="T20" fmla="*/ 80 w 81"/>
                <a:gd name="T21" fmla="*/ 46 h 60"/>
                <a:gd name="T22" fmla="*/ 65 w 81"/>
                <a:gd name="T23" fmla="*/ 59 h 60"/>
                <a:gd name="T24" fmla="*/ 58 w 81"/>
                <a:gd name="T25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60">
                  <a:moveTo>
                    <a:pt x="58" y="59"/>
                  </a:moveTo>
                  <a:lnTo>
                    <a:pt x="58" y="59"/>
                  </a:lnTo>
                  <a:cubicBezTo>
                    <a:pt x="49" y="59"/>
                    <a:pt x="47" y="40"/>
                    <a:pt x="47" y="35"/>
                  </a:cubicBezTo>
                  <a:lnTo>
                    <a:pt x="47" y="35"/>
                  </a:lnTo>
                  <a:cubicBezTo>
                    <a:pt x="29" y="35"/>
                    <a:pt x="0" y="33"/>
                    <a:pt x="0" y="15"/>
                  </a:cubicBezTo>
                  <a:lnTo>
                    <a:pt x="0" y="15"/>
                  </a:lnTo>
                  <a:cubicBezTo>
                    <a:pt x="0" y="0"/>
                    <a:pt x="22" y="3"/>
                    <a:pt x="34" y="3"/>
                  </a:cubicBezTo>
                  <a:lnTo>
                    <a:pt x="53" y="3"/>
                  </a:lnTo>
                  <a:lnTo>
                    <a:pt x="53" y="3"/>
                  </a:lnTo>
                  <a:cubicBezTo>
                    <a:pt x="53" y="29"/>
                    <a:pt x="80" y="23"/>
                    <a:pt x="80" y="46"/>
                  </a:cubicBezTo>
                  <a:lnTo>
                    <a:pt x="80" y="46"/>
                  </a:lnTo>
                  <a:cubicBezTo>
                    <a:pt x="80" y="51"/>
                    <a:pt x="71" y="59"/>
                    <a:pt x="65" y="59"/>
                  </a:cubicBezTo>
                  <a:lnTo>
                    <a:pt x="58" y="59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5" name="Freeform 13">
              <a:extLst>
                <a:ext uri="{FF2B5EF4-FFF2-40B4-BE49-F238E27FC236}">
                  <a16:creationId xmlns:a16="http://schemas.microsoft.com/office/drawing/2014/main" id="{C5DF366D-4E0F-7749-B3D1-EAAA62A55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44378" y="7180596"/>
              <a:ext cx="23042" cy="20161"/>
            </a:xfrm>
            <a:custGeom>
              <a:avLst/>
              <a:gdLst>
                <a:gd name="T0" fmla="*/ 0 w 35"/>
                <a:gd name="T1" fmla="*/ 0 h 33"/>
                <a:gd name="T2" fmla="*/ 17 w 35"/>
                <a:gd name="T3" fmla="*/ 0 h 33"/>
                <a:gd name="T4" fmla="*/ 17 w 35"/>
                <a:gd name="T5" fmla="*/ 0 h 33"/>
                <a:gd name="T6" fmla="*/ 34 w 35"/>
                <a:gd name="T7" fmla="*/ 13 h 33"/>
                <a:gd name="T8" fmla="*/ 34 w 35"/>
                <a:gd name="T9" fmla="*/ 13 h 33"/>
                <a:gd name="T10" fmla="*/ 15 w 35"/>
                <a:gd name="T11" fmla="*/ 32 h 33"/>
                <a:gd name="T12" fmla="*/ 15 w 35"/>
                <a:gd name="T13" fmla="*/ 32 h 33"/>
                <a:gd name="T14" fmla="*/ 0 w 35"/>
                <a:gd name="T15" fmla="*/ 19 h 33"/>
                <a:gd name="T16" fmla="*/ 0 w 35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3">
                  <a:moveTo>
                    <a:pt x="0" y="0"/>
                  </a:moveTo>
                  <a:lnTo>
                    <a:pt x="17" y="0"/>
                  </a:lnTo>
                  <a:lnTo>
                    <a:pt x="17" y="0"/>
                  </a:lnTo>
                  <a:cubicBezTo>
                    <a:pt x="26" y="0"/>
                    <a:pt x="26" y="9"/>
                    <a:pt x="34" y="13"/>
                  </a:cubicBezTo>
                  <a:lnTo>
                    <a:pt x="34" y="13"/>
                  </a:lnTo>
                  <a:cubicBezTo>
                    <a:pt x="32" y="24"/>
                    <a:pt x="24" y="32"/>
                    <a:pt x="15" y="32"/>
                  </a:cubicBezTo>
                  <a:lnTo>
                    <a:pt x="15" y="32"/>
                  </a:lnTo>
                  <a:cubicBezTo>
                    <a:pt x="10" y="32"/>
                    <a:pt x="0" y="24"/>
                    <a:pt x="0" y="19"/>
                  </a:cubicBezTo>
                  <a:lnTo>
                    <a:pt x="0" y="0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6" name="Freeform 14">
              <a:extLst>
                <a:ext uri="{FF2B5EF4-FFF2-40B4-BE49-F238E27FC236}">
                  <a16:creationId xmlns:a16="http://schemas.microsoft.com/office/drawing/2014/main" id="{96381B2A-2B7A-0C41-B8FB-1451C46719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7846" y="7183475"/>
              <a:ext cx="123854" cy="72008"/>
            </a:xfrm>
            <a:custGeom>
              <a:avLst/>
              <a:gdLst>
                <a:gd name="T0" fmla="*/ 78 w 188"/>
                <a:gd name="T1" fmla="*/ 53 h 109"/>
                <a:gd name="T2" fmla="*/ 78 w 188"/>
                <a:gd name="T3" fmla="*/ 53 h 109"/>
                <a:gd name="T4" fmla="*/ 73 w 188"/>
                <a:gd name="T5" fmla="*/ 77 h 109"/>
                <a:gd name="T6" fmla="*/ 73 w 188"/>
                <a:gd name="T7" fmla="*/ 77 h 109"/>
                <a:gd name="T8" fmla="*/ 13 w 188"/>
                <a:gd name="T9" fmla="*/ 108 h 109"/>
                <a:gd name="T10" fmla="*/ 13 w 188"/>
                <a:gd name="T11" fmla="*/ 108 h 109"/>
                <a:gd name="T12" fmla="*/ 0 w 188"/>
                <a:gd name="T13" fmla="*/ 92 h 109"/>
                <a:gd name="T14" fmla="*/ 0 w 188"/>
                <a:gd name="T15" fmla="*/ 92 h 109"/>
                <a:gd name="T16" fmla="*/ 62 w 188"/>
                <a:gd name="T17" fmla="*/ 42 h 109"/>
                <a:gd name="T18" fmla="*/ 62 w 188"/>
                <a:gd name="T19" fmla="*/ 42 h 109"/>
                <a:gd name="T20" fmla="*/ 71 w 188"/>
                <a:gd name="T21" fmla="*/ 25 h 109"/>
                <a:gd name="T22" fmla="*/ 71 w 188"/>
                <a:gd name="T23" fmla="*/ 25 h 109"/>
                <a:gd name="T24" fmla="*/ 187 w 188"/>
                <a:gd name="T25" fmla="*/ 11 h 109"/>
                <a:gd name="T26" fmla="*/ 187 w 188"/>
                <a:gd name="T27" fmla="*/ 11 h 109"/>
                <a:gd name="T28" fmla="*/ 78 w 188"/>
                <a:gd name="T29" fmla="*/ 5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" h="109">
                  <a:moveTo>
                    <a:pt x="78" y="53"/>
                  </a:moveTo>
                  <a:lnTo>
                    <a:pt x="78" y="53"/>
                  </a:lnTo>
                  <a:cubicBezTo>
                    <a:pt x="70" y="53"/>
                    <a:pt x="78" y="71"/>
                    <a:pt x="73" y="77"/>
                  </a:cubicBezTo>
                  <a:lnTo>
                    <a:pt x="73" y="77"/>
                  </a:lnTo>
                  <a:cubicBezTo>
                    <a:pt x="64" y="86"/>
                    <a:pt x="33" y="108"/>
                    <a:pt x="13" y="108"/>
                  </a:cubicBezTo>
                  <a:lnTo>
                    <a:pt x="13" y="108"/>
                  </a:lnTo>
                  <a:cubicBezTo>
                    <a:pt x="6" y="108"/>
                    <a:pt x="0" y="99"/>
                    <a:pt x="0" y="92"/>
                  </a:cubicBezTo>
                  <a:lnTo>
                    <a:pt x="0" y="92"/>
                  </a:lnTo>
                  <a:cubicBezTo>
                    <a:pt x="0" y="51"/>
                    <a:pt x="35" y="51"/>
                    <a:pt x="62" y="42"/>
                  </a:cubicBezTo>
                  <a:lnTo>
                    <a:pt x="62" y="42"/>
                  </a:lnTo>
                  <a:cubicBezTo>
                    <a:pt x="67" y="40"/>
                    <a:pt x="67" y="29"/>
                    <a:pt x="71" y="25"/>
                  </a:cubicBezTo>
                  <a:lnTo>
                    <a:pt x="71" y="25"/>
                  </a:lnTo>
                  <a:cubicBezTo>
                    <a:pt x="90" y="7"/>
                    <a:pt x="170" y="0"/>
                    <a:pt x="187" y="11"/>
                  </a:cubicBezTo>
                  <a:lnTo>
                    <a:pt x="187" y="11"/>
                  </a:lnTo>
                  <a:cubicBezTo>
                    <a:pt x="168" y="38"/>
                    <a:pt x="108" y="53"/>
                    <a:pt x="78" y="5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7" name="Freeform 15">
              <a:extLst>
                <a:ext uri="{FF2B5EF4-FFF2-40B4-BE49-F238E27FC236}">
                  <a16:creationId xmlns:a16="http://schemas.microsoft.com/office/drawing/2014/main" id="{6FD85505-E44E-A84D-ADDA-A3BF90993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57884" y="7085546"/>
              <a:ext cx="23042" cy="51845"/>
            </a:xfrm>
            <a:custGeom>
              <a:avLst/>
              <a:gdLst>
                <a:gd name="T0" fmla="*/ 29 w 37"/>
                <a:gd name="T1" fmla="*/ 0 h 78"/>
                <a:gd name="T2" fmla="*/ 29 w 37"/>
                <a:gd name="T3" fmla="*/ 0 h 78"/>
                <a:gd name="T4" fmla="*/ 36 w 37"/>
                <a:gd name="T5" fmla="*/ 20 h 78"/>
                <a:gd name="T6" fmla="*/ 36 w 37"/>
                <a:gd name="T7" fmla="*/ 20 h 78"/>
                <a:gd name="T8" fmla="*/ 21 w 37"/>
                <a:gd name="T9" fmla="*/ 38 h 78"/>
                <a:gd name="T10" fmla="*/ 21 w 37"/>
                <a:gd name="T11" fmla="*/ 38 h 78"/>
                <a:gd name="T12" fmla="*/ 10 w 37"/>
                <a:gd name="T13" fmla="*/ 77 h 78"/>
                <a:gd name="T14" fmla="*/ 10 w 37"/>
                <a:gd name="T15" fmla="*/ 77 h 78"/>
                <a:gd name="T16" fmla="*/ 0 w 37"/>
                <a:gd name="T17" fmla="*/ 62 h 78"/>
                <a:gd name="T18" fmla="*/ 0 w 37"/>
                <a:gd name="T19" fmla="*/ 62 h 78"/>
                <a:gd name="T20" fmla="*/ 18 w 37"/>
                <a:gd name="T21" fmla="*/ 31 h 78"/>
                <a:gd name="T22" fmla="*/ 18 w 37"/>
                <a:gd name="T23" fmla="*/ 31 h 78"/>
                <a:gd name="T24" fmla="*/ 29 w 37"/>
                <a:gd name="T2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78">
                  <a:moveTo>
                    <a:pt x="29" y="0"/>
                  </a:moveTo>
                  <a:lnTo>
                    <a:pt x="29" y="0"/>
                  </a:lnTo>
                  <a:cubicBezTo>
                    <a:pt x="33" y="14"/>
                    <a:pt x="36" y="7"/>
                    <a:pt x="36" y="20"/>
                  </a:cubicBezTo>
                  <a:lnTo>
                    <a:pt x="36" y="20"/>
                  </a:lnTo>
                  <a:cubicBezTo>
                    <a:pt x="36" y="31"/>
                    <a:pt x="31" y="38"/>
                    <a:pt x="21" y="38"/>
                  </a:cubicBezTo>
                  <a:lnTo>
                    <a:pt x="21" y="38"/>
                  </a:lnTo>
                  <a:cubicBezTo>
                    <a:pt x="21" y="57"/>
                    <a:pt x="25" y="77"/>
                    <a:pt x="10" y="77"/>
                  </a:cubicBezTo>
                  <a:lnTo>
                    <a:pt x="10" y="77"/>
                  </a:lnTo>
                  <a:cubicBezTo>
                    <a:pt x="5" y="77"/>
                    <a:pt x="0" y="67"/>
                    <a:pt x="0" y="62"/>
                  </a:cubicBezTo>
                  <a:lnTo>
                    <a:pt x="0" y="62"/>
                  </a:lnTo>
                  <a:cubicBezTo>
                    <a:pt x="0" y="44"/>
                    <a:pt x="18" y="42"/>
                    <a:pt x="18" y="31"/>
                  </a:cubicBezTo>
                  <a:lnTo>
                    <a:pt x="18" y="31"/>
                  </a:lnTo>
                  <a:cubicBezTo>
                    <a:pt x="18" y="18"/>
                    <a:pt x="16" y="2"/>
                    <a:pt x="29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8" name="Freeform 16">
              <a:extLst>
                <a:ext uri="{FF2B5EF4-FFF2-40B4-BE49-F238E27FC236}">
                  <a16:creationId xmlns:a16="http://schemas.microsoft.com/office/drawing/2014/main" id="{311F1485-830D-F840-B6FB-DE4419BD7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84254" y="6993375"/>
              <a:ext cx="34564" cy="37445"/>
            </a:xfrm>
            <a:custGeom>
              <a:avLst/>
              <a:gdLst>
                <a:gd name="T0" fmla="*/ 51 w 52"/>
                <a:gd name="T1" fmla="*/ 33 h 57"/>
                <a:gd name="T2" fmla="*/ 51 w 52"/>
                <a:gd name="T3" fmla="*/ 33 h 57"/>
                <a:gd name="T4" fmla="*/ 33 w 52"/>
                <a:gd name="T5" fmla="*/ 56 h 57"/>
                <a:gd name="T6" fmla="*/ 33 w 52"/>
                <a:gd name="T7" fmla="*/ 56 h 57"/>
                <a:gd name="T8" fmla="*/ 0 w 52"/>
                <a:gd name="T9" fmla="*/ 22 h 57"/>
                <a:gd name="T10" fmla="*/ 0 w 52"/>
                <a:gd name="T11" fmla="*/ 22 h 57"/>
                <a:gd name="T12" fmla="*/ 51 w 52"/>
                <a:gd name="T13" fmla="*/ 3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57">
                  <a:moveTo>
                    <a:pt x="51" y="33"/>
                  </a:moveTo>
                  <a:lnTo>
                    <a:pt x="51" y="33"/>
                  </a:lnTo>
                  <a:cubicBezTo>
                    <a:pt x="51" y="36"/>
                    <a:pt x="38" y="56"/>
                    <a:pt x="33" y="56"/>
                  </a:cubicBezTo>
                  <a:lnTo>
                    <a:pt x="33" y="56"/>
                  </a:lnTo>
                  <a:cubicBezTo>
                    <a:pt x="22" y="56"/>
                    <a:pt x="0" y="36"/>
                    <a:pt x="0" y="22"/>
                  </a:cubicBezTo>
                  <a:lnTo>
                    <a:pt x="0" y="22"/>
                  </a:lnTo>
                  <a:cubicBezTo>
                    <a:pt x="0" y="0"/>
                    <a:pt x="51" y="14"/>
                    <a:pt x="51" y="3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89" name="Freeform 17">
              <a:extLst>
                <a:ext uri="{FF2B5EF4-FFF2-40B4-BE49-F238E27FC236}">
                  <a16:creationId xmlns:a16="http://schemas.microsoft.com/office/drawing/2014/main" id="{9A33ADA0-43B5-0E4C-916D-BC97FB50E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47622" y="6996257"/>
              <a:ext cx="97930" cy="28803"/>
            </a:xfrm>
            <a:custGeom>
              <a:avLst/>
              <a:gdLst>
                <a:gd name="T0" fmla="*/ 128 w 151"/>
                <a:gd name="T1" fmla="*/ 5 h 43"/>
                <a:gd name="T2" fmla="*/ 128 w 151"/>
                <a:gd name="T3" fmla="*/ 5 h 43"/>
                <a:gd name="T4" fmla="*/ 150 w 151"/>
                <a:gd name="T5" fmla="*/ 39 h 43"/>
                <a:gd name="T6" fmla="*/ 150 w 151"/>
                <a:gd name="T7" fmla="*/ 39 h 43"/>
                <a:gd name="T8" fmla="*/ 139 w 151"/>
                <a:gd name="T9" fmla="*/ 42 h 43"/>
                <a:gd name="T10" fmla="*/ 139 w 151"/>
                <a:gd name="T11" fmla="*/ 42 h 43"/>
                <a:gd name="T12" fmla="*/ 75 w 151"/>
                <a:gd name="T13" fmla="*/ 24 h 43"/>
                <a:gd name="T14" fmla="*/ 33 w 151"/>
                <a:gd name="T15" fmla="*/ 24 h 43"/>
                <a:gd name="T16" fmla="*/ 33 w 151"/>
                <a:gd name="T17" fmla="*/ 24 h 43"/>
                <a:gd name="T18" fmla="*/ 0 w 151"/>
                <a:gd name="T19" fmla="*/ 17 h 43"/>
                <a:gd name="T20" fmla="*/ 0 w 151"/>
                <a:gd name="T21" fmla="*/ 17 h 43"/>
                <a:gd name="T22" fmla="*/ 13 w 151"/>
                <a:gd name="T23" fmla="*/ 0 h 43"/>
                <a:gd name="T24" fmla="*/ 95 w 151"/>
                <a:gd name="T25" fmla="*/ 0 h 43"/>
                <a:gd name="T26" fmla="*/ 95 w 151"/>
                <a:gd name="T27" fmla="*/ 0 h 43"/>
                <a:gd name="T28" fmla="*/ 123 w 151"/>
                <a:gd name="T29" fmla="*/ 8 h 43"/>
                <a:gd name="T30" fmla="*/ 128 w 151"/>
                <a:gd name="T31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1" h="43">
                  <a:moveTo>
                    <a:pt x="128" y="5"/>
                  </a:moveTo>
                  <a:lnTo>
                    <a:pt x="128" y="5"/>
                  </a:lnTo>
                  <a:cubicBezTo>
                    <a:pt x="130" y="20"/>
                    <a:pt x="150" y="24"/>
                    <a:pt x="150" y="39"/>
                  </a:cubicBezTo>
                  <a:lnTo>
                    <a:pt x="150" y="39"/>
                  </a:lnTo>
                  <a:cubicBezTo>
                    <a:pt x="150" y="42"/>
                    <a:pt x="143" y="42"/>
                    <a:pt x="139" y="42"/>
                  </a:cubicBezTo>
                  <a:lnTo>
                    <a:pt x="139" y="42"/>
                  </a:lnTo>
                  <a:cubicBezTo>
                    <a:pt x="113" y="42"/>
                    <a:pt x="101" y="24"/>
                    <a:pt x="75" y="24"/>
                  </a:cubicBezTo>
                  <a:lnTo>
                    <a:pt x="33" y="24"/>
                  </a:lnTo>
                  <a:lnTo>
                    <a:pt x="33" y="24"/>
                  </a:lnTo>
                  <a:cubicBezTo>
                    <a:pt x="25" y="24"/>
                    <a:pt x="0" y="17"/>
                    <a:pt x="0" y="17"/>
                  </a:cubicBezTo>
                  <a:lnTo>
                    <a:pt x="0" y="17"/>
                  </a:lnTo>
                  <a:cubicBezTo>
                    <a:pt x="0" y="8"/>
                    <a:pt x="9" y="4"/>
                    <a:pt x="13" y="0"/>
                  </a:cubicBezTo>
                  <a:lnTo>
                    <a:pt x="95" y="0"/>
                  </a:lnTo>
                  <a:lnTo>
                    <a:pt x="95" y="0"/>
                  </a:lnTo>
                  <a:cubicBezTo>
                    <a:pt x="99" y="13"/>
                    <a:pt x="112" y="8"/>
                    <a:pt x="123" y="8"/>
                  </a:cubicBezTo>
                  <a:lnTo>
                    <a:pt x="128" y="5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0" name="Freeform 18">
              <a:extLst>
                <a:ext uri="{FF2B5EF4-FFF2-40B4-BE49-F238E27FC236}">
                  <a16:creationId xmlns:a16="http://schemas.microsoft.com/office/drawing/2014/main" id="{E0308D07-3D4A-634C-B739-64906C0CBD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0340" y="6817679"/>
              <a:ext cx="43205" cy="97930"/>
            </a:xfrm>
            <a:custGeom>
              <a:avLst/>
              <a:gdLst>
                <a:gd name="T0" fmla="*/ 18 w 65"/>
                <a:gd name="T1" fmla="*/ 116 h 148"/>
                <a:gd name="T2" fmla="*/ 18 w 65"/>
                <a:gd name="T3" fmla="*/ 103 h 148"/>
                <a:gd name="T4" fmla="*/ 18 w 65"/>
                <a:gd name="T5" fmla="*/ 103 h 148"/>
                <a:gd name="T6" fmla="*/ 60 w 65"/>
                <a:gd name="T7" fmla="*/ 99 h 148"/>
                <a:gd name="T8" fmla="*/ 60 w 65"/>
                <a:gd name="T9" fmla="*/ 99 h 148"/>
                <a:gd name="T10" fmla="*/ 46 w 65"/>
                <a:gd name="T11" fmla="*/ 72 h 148"/>
                <a:gd name="T12" fmla="*/ 46 w 65"/>
                <a:gd name="T13" fmla="*/ 72 h 148"/>
                <a:gd name="T14" fmla="*/ 64 w 65"/>
                <a:gd name="T15" fmla="*/ 48 h 148"/>
                <a:gd name="T16" fmla="*/ 64 w 65"/>
                <a:gd name="T17" fmla="*/ 48 h 148"/>
                <a:gd name="T18" fmla="*/ 16 w 65"/>
                <a:gd name="T19" fmla="*/ 0 h 148"/>
                <a:gd name="T20" fmla="*/ 16 w 65"/>
                <a:gd name="T21" fmla="*/ 0 h 148"/>
                <a:gd name="T22" fmla="*/ 0 w 65"/>
                <a:gd name="T23" fmla="*/ 37 h 148"/>
                <a:gd name="T24" fmla="*/ 0 w 65"/>
                <a:gd name="T25" fmla="*/ 37 h 148"/>
                <a:gd name="T26" fmla="*/ 15 w 65"/>
                <a:gd name="T27" fmla="*/ 88 h 148"/>
                <a:gd name="T28" fmla="*/ 15 w 65"/>
                <a:gd name="T29" fmla="*/ 112 h 148"/>
                <a:gd name="T30" fmla="*/ 15 w 65"/>
                <a:gd name="T31" fmla="*/ 112 h 148"/>
                <a:gd name="T32" fmla="*/ 39 w 65"/>
                <a:gd name="T33" fmla="*/ 147 h 148"/>
                <a:gd name="T34" fmla="*/ 39 w 65"/>
                <a:gd name="T35" fmla="*/ 147 h 148"/>
                <a:gd name="T36" fmla="*/ 18 w 65"/>
                <a:gd name="T37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5" h="148">
                  <a:moveTo>
                    <a:pt x="18" y="116"/>
                  </a:moveTo>
                  <a:lnTo>
                    <a:pt x="18" y="103"/>
                  </a:lnTo>
                  <a:lnTo>
                    <a:pt x="18" y="103"/>
                  </a:lnTo>
                  <a:cubicBezTo>
                    <a:pt x="33" y="103"/>
                    <a:pt x="53" y="101"/>
                    <a:pt x="60" y="99"/>
                  </a:cubicBezTo>
                  <a:lnTo>
                    <a:pt x="60" y="99"/>
                  </a:lnTo>
                  <a:cubicBezTo>
                    <a:pt x="59" y="85"/>
                    <a:pt x="46" y="81"/>
                    <a:pt x="46" y="72"/>
                  </a:cubicBezTo>
                  <a:lnTo>
                    <a:pt x="46" y="72"/>
                  </a:lnTo>
                  <a:cubicBezTo>
                    <a:pt x="46" y="61"/>
                    <a:pt x="64" y="59"/>
                    <a:pt x="64" y="48"/>
                  </a:cubicBezTo>
                  <a:lnTo>
                    <a:pt x="64" y="48"/>
                  </a:lnTo>
                  <a:cubicBezTo>
                    <a:pt x="33" y="41"/>
                    <a:pt x="20" y="26"/>
                    <a:pt x="16" y="0"/>
                  </a:cubicBezTo>
                  <a:lnTo>
                    <a:pt x="16" y="0"/>
                  </a:lnTo>
                  <a:cubicBezTo>
                    <a:pt x="2" y="8"/>
                    <a:pt x="0" y="22"/>
                    <a:pt x="0" y="37"/>
                  </a:cubicBezTo>
                  <a:lnTo>
                    <a:pt x="0" y="37"/>
                  </a:lnTo>
                  <a:cubicBezTo>
                    <a:pt x="0" y="61"/>
                    <a:pt x="15" y="68"/>
                    <a:pt x="15" y="88"/>
                  </a:cubicBezTo>
                  <a:lnTo>
                    <a:pt x="15" y="112"/>
                  </a:lnTo>
                  <a:lnTo>
                    <a:pt x="15" y="112"/>
                  </a:lnTo>
                  <a:cubicBezTo>
                    <a:pt x="15" y="123"/>
                    <a:pt x="20" y="147"/>
                    <a:pt x="39" y="147"/>
                  </a:cubicBezTo>
                  <a:lnTo>
                    <a:pt x="39" y="147"/>
                  </a:lnTo>
                  <a:cubicBezTo>
                    <a:pt x="29" y="134"/>
                    <a:pt x="26" y="127"/>
                    <a:pt x="18" y="116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1" name="Freeform 19">
              <a:extLst>
                <a:ext uri="{FF2B5EF4-FFF2-40B4-BE49-F238E27FC236}">
                  <a16:creationId xmlns:a16="http://schemas.microsoft.com/office/drawing/2014/main" id="{9C852C19-E40C-C343-BD2E-C0C709108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53296" y="7036581"/>
              <a:ext cx="132494" cy="77767"/>
            </a:xfrm>
            <a:custGeom>
              <a:avLst/>
              <a:gdLst>
                <a:gd name="T0" fmla="*/ 53 w 204"/>
                <a:gd name="T1" fmla="*/ 110 h 120"/>
                <a:gd name="T2" fmla="*/ 53 w 204"/>
                <a:gd name="T3" fmla="*/ 110 h 120"/>
                <a:gd name="T4" fmla="*/ 0 w 204"/>
                <a:gd name="T5" fmla="*/ 74 h 120"/>
                <a:gd name="T6" fmla="*/ 55 w 204"/>
                <a:gd name="T7" fmla="*/ 74 h 120"/>
                <a:gd name="T8" fmla="*/ 55 w 204"/>
                <a:gd name="T9" fmla="*/ 74 h 120"/>
                <a:gd name="T10" fmla="*/ 75 w 204"/>
                <a:gd name="T11" fmla="*/ 68 h 120"/>
                <a:gd name="T12" fmla="*/ 75 w 204"/>
                <a:gd name="T13" fmla="*/ 68 h 120"/>
                <a:gd name="T14" fmla="*/ 146 w 204"/>
                <a:gd name="T15" fmla="*/ 54 h 120"/>
                <a:gd name="T16" fmla="*/ 146 w 204"/>
                <a:gd name="T17" fmla="*/ 54 h 120"/>
                <a:gd name="T18" fmla="*/ 187 w 204"/>
                <a:gd name="T19" fmla="*/ 0 h 120"/>
                <a:gd name="T20" fmla="*/ 187 w 204"/>
                <a:gd name="T21" fmla="*/ 0 h 120"/>
                <a:gd name="T22" fmla="*/ 203 w 204"/>
                <a:gd name="T23" fmla="*/ 28 h 120"/>
                <a:gd name="T24" fmla="*/ 203 w 204"/>
                <a:gd name="T25" fmla="*/ 28 h 120"/>
                <a:gd name="T26" fmla="*/ 165 w 204"/>
                <a:gd name="T27" fmla="*/ 92 h 120"/>
                <a:gd name="T28" fmla="*/ 165 w 204"/>
                <a:gd name="T29" fmla="*/ 92 h 120"/>
                <a:gd name="T30" fmla="*/ 77 w 204"/>
                <a:gd name="T31" fmla="*/ 119 h 120"/>
                <a:gd name="T32" fmla="*/ 77 w 204"/>
                <a:gd name="T33" fmla="*/ 119 h 120"/>
                <a:gd name="T34" fmla="*/ 44 w 204"/>
                <a:gd name="T35" fmla="*/ 101 h 120"/>
                <a:gd name="T36" fmla="*/ 53 w 204"/>
                <a:gd name="T37" fmla="*/ 11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4" h="120">
                  <a:moveTo>
                    <a:pt x="53" y="110"/>
                  </a:moveTo>
                  <a:lnTo>
                    <a:pt x="53" y="110"/>
                  </a:lnTo>
                  <a:cubicBezTo>
                    <a:pt x="38" y="92"/>
                    <a:pt x="5" y="97"/>
                    <a:pt x="0" y="74"/>
                  </a:cubicBezTo>
                  <a:lnTo>
                    <a:pt x="55" y="74"/>
                  </a:lnTo>
                  <a:lnTo>
                    <a:pt x="55" y="74"/>
                  </a:lnTo>
                  <a:cubicBezTo>
                    <a:pt x="58" y="76"/>
                    <a:pt x="75" y="68"/>
                    <a:pt x="75" y="68"/>
                  </a:cubicBezTo>
                  <a:lnTo>
                    <a:pt x="75" y="68"/>
                  </a:lnTo>
                  <a:cubicBezTo>
                    <a:pt x="102" y="59"/>
                    <a:pt x="130" y="61"/>
                    <a:pt x="146" y="54"/>
                  </a:cubicBezTo>
                  <a:lnTo>
                    <a:pt x="146" y="54"/>
                  </a:lnTo>
                  <a:cubicBezTo>
                    <a:pt x="172" y="41"/>
                    <a:pt x="161" y="0"/>
                    <a:pt x="187" y="0"/>
                  </a:cubicBezTo>
                  <a:lnTo>
                    <a:pt x="187" y="0"/>
                  </a:lnTo>
                  <a:cubicBezTo>
                    <a:pt x="198" y="0"/>
                    <a:pt x="203" y="17"/>
                    <a:pt x="203" y="28"/>
                  </a:cubicBezTo>
                  <a:lnTo>
                    <a:pt x="203" y="28"/>
                  </a:lnTo>
                  <a:cubicBezTo>
                    <a:pt x="203" y="66"/>
                    <a:pt x="165" y="59"/>
                    <a:pt x="165" y="92"/>
                  </a:cubicBezTo>
                  <a:lnTo>
                    <a:pt x="165" y="92"/>
                  </a:lnTo>
                  <a:cubicBezTo>
                    <a:pt x="132" y="99"/>
                    <a:pt x="115" y="119"/>
                    <a:pt x="77" y="119"/>
                  </a:cubicBezTo>
                  <a:lnTo>
                    <a:pt x="77" y="119"/>
                  </a:lnTo>
                  <a:cubicBezTo>
                    <a:pt x="69" y="119"/>
                    <a:pt x="46" y="107"/>
                    <a:pt x="44" y="101"/>
                  </a:cubicBezTo>
                  <a:lnTo>
                    <a:pt x="53" y="11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2" name="Freeform 20">
              <a:extLst>
                <a:ext uri="{FF2B5EF4-FFF2-40B4-BE49-F238E27FC236}">
                  <a16:creationId xmlns:a16="http://schemas.microsoft.com/office/drawing/2014/main" id="{1C7D4980-3558-E14E-9FE6-197979543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2672" y="6904088"/>
              <a:ext cx="694152" cy="360037"/>
            </a:xfrm>
            <a:custGeom>
              <a:avLst/>
              <a:gdLst>
                <a:gd name="T0" fmla="*/ 530 w 1062"/>
                <a:gd name="T1" fmla="*/ 113 h 551"/>
                <a:gd name="T2" fmla="*/ 664 w 1062"/>
                <a:gd name="T3" fmla="*/ 159 h 551"/>
                <a:gd name="T4" fmla="*/ 718 w 1062"/>
                <a:gd name="T5" fmla="*/ 185 h 551"/>
                <a:gd name="T6" fmla="*/ 743 w 1062"/>
                <a:gd name="T7" fmla="*/ 203 h 551"/>
                <a:gd name="T8" fmla="*/ 844 w 1062"/>
                <a:gd name="T9" fmla="*/ 293 h 551"/>
                <a:gd name="T10" fmla="*/ 900 w 1062"/>
                <a:gd name="T11" fmla="*/ 322 h 551"/>
                <a:gd name="T12" fmla="*/ 865 w 1062"/>
                <a:gd name="T13" fmla="*/ 352 h 551"/>
                <a:gd name="T14" fmla="*/ 900 w 1062"/>
                <a:gd name="T15" fmla="*/ 396 h 551"/>
                <a:gd name="T16" fmla="*/ 929 w 1062"/>
                <a:gd name="T17" fmla="*/ 449 h 551"/>
                <a:gd name="T18" fmla="*/ 970 w 1062"/>
                <a:gd name="T19" fmla="*/ 467 h 551"/>
                <a:gd name="T20" fmla="*/ 984 w 1062"/>
                <a:gd name="T21" fmla="*/ 488 h 551"/>
                <a:gd name="T22" fmla="*/ 1006 w 1062"/>
                <a:gd name="T23" fmla="*/ 491 h 551"/>
                <a:gd name="T24" fmla="*/ 1024 w 1062"/>
                <a:gd name="T25" fmla="*/ 513 h 551"/>
                <a:gd name="T26" fmla="*/ 1061 w 1062"/>
                <a:gd name="T27" fmla="*/ 521 h 551"/>
                <a:gd name="T28" fmla="*/ 1026 w 1062"/>
                <a:gd name="T29" fmla="*/ 550 h 551"/>
                <a:gd name="T30" fmla="*/ 991 w 1062"/>
                <a:gd name="T31" fmla="*/ 527 h 551"/>
                <a:gd name="T32" fmla="*/ 944 w 1062"/>
                <a:gd name="T33" fmla="*/ 527 h 551"/>
                <a:gd name="T34" fmla="*/ 874 w 1062"/>
                <a:gd name="T35" fmla="*/ 482 h 551"/>
                <a:gd name="T36" fmla="*/ 856 w 1062"/>
                <a:gd name="T37" fmla="*/ 467 h 551"/>
                <a:gd name="T38" fmla="*/ 726 w 1062"/>
                <a:gd name="T39" fmla="*/ 380 h 551"/>
                <a:gd name="T40" fmla="*/ 658 w 1062"/>
                <a:gd name="T41" fmla="*/ 425 h 551"/>
                <a:gd name="T42" fmla="*/ 579 w 1062"/>
                <a:gd name="T43" fmla="*/ 469 h 551"/>
                <a:gd name="T44" fmla="*/ 471 w 1062"/>
                <a:gd name="T45" fmla="*/ 412 h 551"/>
                <a:gd name="T46" fmla="*/ 443 w 1062"/>
                <a:gd name="T47" fmla="*/ 423 h 551"/>
                <a:gd name="T48" fmla="*/ 405 w 1062"/>
                <a:gd name="T49" fmla="*/ 423 h 551"/>
                <a:gd name="T50" fmla="*/ 376 w 1062"/>
                <a:gd name="T51" fmla="*/ 409 h 551"/>
                <a:gd name="T52" fmla="*/ 422 w 1062"/>
                <a:gd name="T53" fmla="*/ 372 h 551"/>
                <a:gd name="T54" fmla="*/ 398 w 1062"/>
                <a:gd name="T55" fmla="*/ 293 h 551"/>
                <a:gd name="T56" fmla="*/ 321 w 1062"/>
                <a:gd name="T57" fmla="*/ 241 h 551"/>
                <a:gd name="T58" fmla="*/ 222 w 1062"/>
                <a:gd name="T59" fmla="*/ 224 h 551"/>
                <a:gd name="T60" fmla="*/ 155 w 1062"/>
                <a:gd name="T61" fmla="*/ 169 h 551"/>
                <a:gd name="T62" fmla="*/ 127 w 1062"/>
                <a:gd name="T63" fmla="*/ 201 h 551"/>
                <a:gd name="T64" fmla="*/ 108 w 1062"/>
                <a:gd name="T65" fmla="*/ 196 h 551"/>
                <a:gd name="T66" fmla="*/ 99 w 1062"/>
                <a:gd name="T67" fmla="*/ 156 h 551"/>
                <a:gd name="T68" fmla="*/ 66 w 1062"/>
                <a:gd name="T69" fmla="*/ 133 h 551"/>
                <a:gd name="T70" fmla="*/ 160 w 1062"/>
                <a:gd name="T71" fmla="*/ 103 h 551"/>
                <a:gd name="T72" fmla="*/ 147 w 1062"/>
                <a:gd name="T73" fmla="*/ 103 h 551"/>
                <a:gd name="T74" fmla="*/ 94 w 1062"/>
                <a:gd name="T75" fmla="*/ 110 h 551"/>
                <a:gd name="T76" fmla="*/ 68 w 1062"/>
                <a:gd name="T77" fmla="*/ 105 h 551"/>
                <a:gd name="T78" fmla="*/ 57 w 1062"/>
                <a:gd name="T79" fmla="*/ 88 h 551"/>
                <a:gd name="T80" fmla="*/ 0 w 1062"/>
                <a:gd name="T81" fmla="*/ 48 h 551"/>
                <a:gd name="T82" fmla="*/ 26 w 1062"/>
                <a:gd name="T83" fmla="*/ 31 h 551"/>
                <a:gd name="T84" fmla="*/ 94 w 1062"/>
                <a:gd name="T85" fmla="*/ 0 h 551"/>
                <a:gd name="T86" fmla="*/ 181 w 1062"/>
                <a:gd name="T87" fmla="*/ 103 h 551"/>
                <a:gd name="T88" fmla="*/ 209 w 1062"/>
                <a:gd name="T89" fmla="*/ 119 h 551"/>
                <a:gd name="T90" fmla="*/ 246 w 1062"/>
                <a:gd name="T91" fmla="*/ 156 h 551"/>
                <a:gd name="T92" fmla="*/ 279 w 1062"/>
                <a:gd name="T93" fmla="*/ 125 h 551"/>
                <a:gd name="T94" fmla="*/ 323 w 1062"/>
                <a:gd name="T95" fmla="*/ 100 h 551"/>
                <a:gd name="T96" fmla="*/ 383 w 1062"/>
                <a:gd name="T97" fmla="*/ 59 h 551"/>
                <a:gd name="T98" fmla="*/ 405 w 1062"/>
                <a:gd name="T99" fmla="*/ 68 h 551"/>
                <a:gd name="T100" fmla="*/ 453 w 1062"/>
                <a:gd name="T101" fmla="*/ 103 h 551"/>
                <a:gd name="T102" fmla="*/ 502 w 1062"/>
                <a:gd name="T103" fmla="*/ 103 h 551"/>
                <a:gd name="T104" fmla="*/ 539 w 1062"/>
                <a:gd name="T105" fmla="*/ 123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2" h="551">
                  <a:moveTo>
                    <a:pt x="530" y="113"/>
                  </a:moveTo>
                  <a:lnTo>
                    <a:pt x="530" y="113"/>
                  </a:lnTo>
                  <a:cubicBezTo>
                    <a:pt x="552" y="136"/>
                    <a:pt x="618" y="159"/>
                    <a:pt x="664" y="159"/>
                  </a:cubicBezTo>
                  <a:lnTo>
                    <a:pt x="664" y="159"/>
                  </a:lnTo>
                  <a:cubicBezTo>
                    <a:pt x="685" y="159"/>
                    <a:pt x="697" y="185"/>
                    <a:pt x="718" y="185"/>
                  </a:cubicBezTo>
                  <a:lnTo>
                    <a:pt x="718" y="185"/>
                  </a:lnTo>
                  <a:cubicBezTo>
                    <a:pt x="718" y="200"/>
                    <a:pt x="733" y="201"/>
                    <a:pt x="743" y="203"/>
                  </a:cubicBezTo>
                  <a:lnTo>
                    <a:pt x="743" y="203"/>
                  </a:lnTo>
                  <a:cubicBezTo>
                    <a:pt x="801" y="221"/>
                    <a:pt x="799" y="271"/>
                    <a:pt x="844" y="293"/>
                  </a:cubicBezTo>
                  <a:lnTo>
                    <a:pt x="844" y="293"/>
                  </a:lnTo>
                  <a:cubicBezTo>
                    <a:pt x="862" y="302"/>
                    <a:pt x="900" y="282"/>
                    <a:pt x="900" y="322"/>
                  </a:cubicBezTo>
                  <a:lnTo>
                    <a:pt x="900" y="322"/>
                  </a:lnTo>
                  <a:cubicBezTo>
                    <a:pt x="900" y="342"/>
                    <a:pt x="865" y="335"/>
                    <a:pt x="865" y="352"/>
                  </a:cubicBezTo>
                  <a:lnTo>
                    <a:pt x="865" y="352"/>
                  </a:lnTo>
                  <a:cubicBezTo>
                    <a:pt x="865" y="361"/>
                    <a:pt x="896" y="392"/>
                    <a:pt x="900" y="396"/>
                  </a:cubicBezTo>
                  <a:lnTo>
                    <a:pt x="900" y="396"/>
                  </a:lnTo>
                  <a:cubicBezTo>
                    <a:pt x="918" y="414"/>
                    <a:pt x="915" y="427"/>
                    <a:pt x="929" y="449"/>
                  </a:cubicBezTo>
                  <a:lnTo>
                    <a:pt x="929" y="449"/>
                  </a:lnTo>
                  <a:cubicBezTo>
                    <a:pt x="935" y="458"/>
                    <a:pt x="957" y="467"/>
                    <a:pt x="970" y="467"/>
                  </a:cubicBezTo>
                  <a:lnTo>
                    <a:pt x="970" y="467"/>
                  </a:lnTo>
                  <a:cubicBezTo>
                    <a:pt x="975" y="467"/>
                    <a:pt x="981" y="480"/>
                    <a:pt x="984" y="488"/>
                  </a:cubicBezTo>
                  <a:lnTo>
                    <a:pt x="984" y="488"/>
                  </a:lnTo>
                  <a:cubicBezTo>
                    <a:pt x="988" y="496"/>
                    <a:pt x="999" y="489"/>
                    <a:pt x="1006" y="491"/>
                  </a:cubicBezTo>
                  <a:lnTo>
                    <a:pt x="1006" y="491"/>
                  </a:lnTo>
                  <a:cubicBezTo>
                    <a:pt x="1017" y="495"/>
                    <a:pt x="1021" y="506"/>
                    <a:pt x="1024" y="513"/>
                  </a:cubicBezTo>
                  <a:lnTo>
                    <a:pt x="1024" y="513"/>
                  </a:lnTo>
                  <a:cubicBezTo>
                    <a:pt x="1028" y="522"/>
                    <a:pt x="1056" y="519"/>
                    <a:pt x="1061" y="521"/>
                  </a:cubicBezTo>
                  <a:lnTo>
                    <a:pt x="1061" y="521"/>
                  </a:lnTo>
                  <a:cubicBezTo>
                    <a:pt x="1050" y="527"/>
                    <a:pt x="1037" y="537"/>
                    <a:pt x="1037" y="550"/>
                  </a:cubicBezTo>
                  <a:lnTo>
                    <a:pt x="1026" y="550"/>
                  </a:lnTo>
                  <a:lnTo>
                    <a:pt x="1026" y="550"/>
                  </a:lnTo>
                  <a:cubicBezTo>
                    <a:pt x="1022" y="550"/>
                    <a:pt x="996" y="532"/>
                    <a:pt x="991" y="527"/>
                  </a:cubicBezTo>
                  <a:lnTo>
                    <a:pt x="944" y="527"/>
                  </a:lnTo>
                  <a:lnTo>
                    <a:pt x="944" y="527"/>
                  </a:lnTo>
                  <a:cubicBezTo>
                    <a:pt x="916" y="522"/>
                    <a:pt x="874" y="502"/>
                    <a:pt x="874" y="482"/>
                  </a:cubicBezTo>
                  <a:lnTo>
                    <a:pt x="874" y="482"/>
                  </a:lnTo>
                  <a:cubicBezTo>
                    <a:pt x="874" y="475"/>
                    <a:pt x="860" y="471"/>
                    <a:pt x="856" y="467"/>
                  </a:cubicBezTo>
                  <a:lnTo>
                    <a:pt x="856" y="467"/>
                  </a:lnTo>
                  <a:cubicBezTo>
                    <a:pt x="819" y="431"/>
                    <a:pt x="786" y="380"/>
                    <a:pt x="726" y="380"/>
                  </a:cubicBezTo>
                  <a:lnTo>
                    <a:pt x="726" y="380"/>
                  </a:lnTo>
                  <a:cubicBezTo>
                    <a:pt x="680" y="380"/>
                    <a:pt x="684" y="412"/>
                    <a:pt x="658" y="425"/>
                  </a:cubicBezTo>
                  <a:lnTo>
                    <a:pt x="658" y="425"/>
                  </a:lnTo>
                  <a:cubicBezTo>
                    <a:pt x="665" y="449"/>
                    <a:pt x="649" y="456"/>
                    <a:pt x="649" y="469"/>
                  </a:cubicBezTo>
                  <a:lnTo>
                    <a:pt x="579" y="469"/>
                  </a:lnTo>
                  <a:lnTo>
                    <a:pt x="579" y="469"/>
                  </a:lnTo>
                  <a:cubicBezTo>
                    <a:pt x="532" y="469"/>
                    <a:pt x="519" y="412"/>
                    <a:pt x="471" y="412"/>
                  </a:cubicBezTo>
                  <a:lnTo>
                    <a:pt x="471" y="412"/>
                  </a:lnTo>
                  <a:cubicBezTo>
                    <a:pt x="464" y="412"/>
                    <a:pt x="443" y="414"/>
                    <a:pt x="443" y="423"/>
                  </a:cubicBezTo>
                  <a:lnTo>
                    <a:pt x="405" y="423"/>
                  </a:lnTo>
                  <a:lnTo>
                    <a:pt x="405" y="423"/>
                  </a:lnTo>
                  <a:cubicBezTo>
                    <a:pt x="392" y="423"/>
                    <a:pt x="376" y="423"/>
                    <a:pt x="376" y="409"/>
                  </a:cubicBezTo>
                  <a:lnTo>
                    <a:pt x="376" y="409"/>
                  </a:lnTo>
                  <a:cubicBezTo>
                    <a:pt x="376" y="387"/>
                    <a:pt x="411" y="377"/>
                    <a:pt x="422" y="372"/>
                  </a:cubicBezTo>
                  <a:lnTo>
                    <a:pt x="422" y="372"/>
                  </a:lnTo>
                  <a:cubicBezTo>
                    <a:pt x="396" y="346"/>
                    <a:pt x="407" y="321"/>
                    <a:pt x="398" y="293"/>
                  </a:cubicBezTo>
                  <a:lnTo>
                    <a:pt x="398" y="293"/>
                  </a:lnTo>
                  <a:cubicBezTo>
                    <a:pt x="391" y="271"/>
                    <a:pt x="340" y="251"/>
                    <a:pt x="321" y="241"/>
                  </a:cubicBezTo>
                  <a:lnTo>
                    <a:pt x="321" y="241"/>
                  </a:lnTo>
                  <a:cubicBezTo>
                    <a:pt x="301" y="233"/>
                    <a:pt x="251" y="224"/>
                    <a:pt x="222" y="224"/>
                  </a:cubicBezTo>
                  <a:lnTo>
                    <a:pt x="222" y="224"/>
                  </a:lnTo>
                  <a:cubicBezTo>
                    <a:pt x="194" y="224"/>
                    <a:pt x="183" y="176"/>
                    <a:pt x="155" y="185"/>
                  </a:cubicBezTo>
                  <a:lnTo>
                    <a:pt x="155" y="169"/>
                  </a:lnTo>
                  <a:lnTo>
                    <a:pt x="155" y="169"/>
                  </a:lnTo>
                  <a:cubicBezTo>
                    <a:pt x="149" y="183"/>
                    <a:pt x="141" y="201"/>
                    <a:pt x="127" y="201"/>
                  </a:cubicBezTo>
                  <a:lnTo>
                    <a:pt x="127" y="201"/>
                  </a:lnTo>
                  <a:cubicBezTo>
                    <a:pt x="121" y="201"/>
                    <a:pt x="110" y="201"/>
                    <a:pt x="108" y="196"/>
                  </a:cubicBezTo>
                  <a:lnTo>
                    <a:pt x="108" y="196"/>
                  </a:lnTo>
                  <a:cubicBezTo>
                    <a:pt x="99" y="178"/>
                    <a:pt x="108" y="170"/>
                    <a:pt x="99" y="156"/>
                  </a:cubicBezTo>
                  <a:lnTo>
                    <a:pt x="99" y="156"/>
                  </a:lnTo>
                  <a:cubicBezTo>
                    <a:pt x="90" y="141"/>
                    <a:pt x="70" y="149"/>
                    <a:pt x="66" y="133"/>
                  </a:cubicBezTo>
                  <a:lnTo>
                    <a:pt x="66" y="133"/>
                  </a:lnTo>
                  <a:cubicBezTo>
                    <a:pt x="92" y="121"/>
                    <a:pt x="147" y="125"/>
                    <a:pt x="160" y="103"/>
                  </a:cubicBezTo>
                  <a:lnTo>
                    <a:pt x="147" y="103"/>
                  </a:lnTo>
                  <a:lnTo>
                    <a:pt x="147" y="103"/>
                  </a:lnTo>
                  <a:cubicBezTo>
                    <a:pt x="127" y="108"/>
                    <a:pt x="114" y="110"/>
                    <a:pt x="94" y="110"/>
                  </a:cubicBezTo>
                  <a:lnTo>
                    <a:pt x="94" y="110"/>
                  </a:lnTo>
                  <a:cubicBezTo>
                    <a:pt x="85" y="110"/>
                    <a:pt x="78" y="106"/>
                    <a:pt x="68" y="105"/>
                  </a:cubicBezTo>
                  <a:lnTo>
                    <a:pt x="68" y="105"/>
                  </a:lnTo>
                  <a:cubicBezTo>
                    <a:pt x="63" y="103"/>
                    <a:pt x="59" y="94"/>
                    <a:pt x="57" y="88"/>
                  </a:cubicBezTo>
                  <a:lnTo>
                    <a:pt x="57" y="88"/>
                  </a:lnTo>
                  <a:cubicBezTo>
                    <a:pt x="44" y="62"/>
                    <a:pt x="0" y="74"/>
                    <a:pt x="0" y="48"/>
                  </a:cubicBezTo>
                  <a:lnTo>
                    <a:pt x="0" y="48"/>
                  </a:lnTo>
                  <a:cubicBezTo>
                    <a:pt x="0" y="37"/>
                    <a:pt x="15" y="31"/>
                    <a:pt x="26" y="31"/>
                  </a:cubicBezTo>
                  <a:lnTo>
                    <a:pt x="26" y="31"/>
                  </a:lnTo>
                  <a:cubicBezTo>
                    <a:pt x="48" y="31"/>
                    <a:pt x="60" y="0"/>
                    <a:pt x="94" y="0"/>
                  </a:cubicBezTo>
                  <a:lnTo>
                    <a:pt x="94" y="0"/>
                  </a:lnTo>
                  <a:cubicBezTo>
                    <a:pt x="125" y="0"/>
                    <a:pt x="149" y="29"/>
                    <a:pt x="181" y="37"/>
                  </a:cubicBezTo>
                  <a:lnTo>
                    <a:pt x="181" y="103"/>
                  </a:lnTo>
                  <a:lnTo>
                    <a:pt x="181" y="103"/>
                  </a:lnTo>
                  <a:cubicBezTo>
                    <a:pt x="181" y="112"/>
                    <a:pt x="193" y="119"/>
                    <a:pt x="209" y="119"/>
                  </a:cubicBezTo>
                  <a:lnTo>
                    <a:pt x="209" y="119"/>
                  </a:lnTo>
                  <a:cubicBezTo>
                    <a:pt x="209" y="126"/>
                    <a:pt x="235" y="156"/>
                    <a:pt x="246" y="156"/>
                  </a:cubicBezTo>
                  <a:lnTo>
                    <a:pt x="246" y="156"/>
                  </a:lnTo>
                  <a:cubicBezTo>
                    <a:pt x="259" y="156"/>
                    <a:pt x="275" y="128"/>
                    <a:pt x="279" y="125"/>
                  </a:cubicBezTo>
                  <a:lnTo>
                    <a:pt x="279" y="125"/>
                  </a:lnTo>
                  <a:cubicBezTo>
                    <a:pt x="294" y="110"/>
                    <a:pt x="297" y="108"/>
                    <a:pt x="323" y="100"/>
                  </a:cubicBezTo>
                  <a:lnTo>
                    <a:pt x="323" y="100"/>
                  </a:lnTo>
                  <a:cubicBezTo>
                    <a:pt x="340" y="95"/>
                    <a:pt x="361" y="62"/>
                    <a:pt x="383" y="59"/>
                  </a:cubicBezTo>
                  <a:lnTo>
                    <a:pt x="383" y="59"/>
                  </a:lnTo>
                  <a:cubicBezTo>
                    <a:pt x="385" y="68"/>
                    <a:pt x="400" y="66"/>
                    <a:pt x="405" y="68"/>
                  </a:cubicBezTo>
                  <a:lnTo>
                    <a:pt x="405" y="68"/>
                  </a:lnTo>
                  <a:cubicBezTo>
                    <a:pt x="427" y="75"/>
                    <a:pt x="442" y="97"/>
                    <a:pt x="453" y="103"/>
                  </a:cubicBezTo>
                  <a:lnTo>
                    <a:pt x="502" y="103"/>
                  </a:lnTo>
                  <a:lnTo>
                    <a:pt x="502" y="103"/>
                  </a:lnTo>
                  <a:cubicBezTo>
                    <a:pt x="512" y="112"/>
                    <a:pt x="532" y="117"/>
                    <a:pt x="539" y="119"/>
                  </a:cubicBezTo>
                  <a:lnTo>
                    <a:pt x="539" y="123"/>
                  </a:lnTo>
                  <a:lnTo>
                    <a:pt x="530" y="1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3" name="Freeform 21">
              <a:extLst>
                <a:ext uri="{FF2B5EF4-FFF2-40B4-BE49-F238E27FC236}">
                  <a16:creationId xmlns:a16="http://schemas.microsoft.com/office/drawing/2014/main" id="{4B0199AF-E208-2143-8668-EC7E507A5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8345" y="6984735"/>
              <a:ext cx="69127" cy="69127"/>
            </a:xfrm>
            <a:custGeom>
              <a:avLst/>
              <a:gdLst>
                <a:gd name="T0" fmla="*/ 95 w 107"/>
                <a:gd name="T1" fmla="*/ 103 h 107"/>
                <a:gd name="T2" fmla="*/ 95 w 107"/>
                <a:gd name="T3" fmla="*/ 103 h 107"/>
                <a:gd name="T4" fmla="*/ 77 w 107"/>
                <a:gd name="T5" fmla="*/ 68 h 107"/>
                <a:gd name="T6" fmla="*/ 77 w 107"/>
                <a:gd name="T7" fmla="*/ 68 h 107"/>
                <a:gd name="T8" fmla="*/ 33 w 107"/>
                <a:gd name="T9" fmla="*/ 22 h 107"/>
                <a:gd name="T10" fmla="*/ 33 w 107"/>
                <a:gd name="T11" fmla="*/ 22 h 107"/>
                <a:gd name="T12" fmla="*/ 0 w 107"/>
                <a:gd name="T13" fmla="*/ 0 h 107"/>
                <a:gd name="T14" fmla="*/ 0 w 107"/>
                <a:gd name="T15" fmla="*/ 0 h 107"/>
                <a:gd name="T16" fmla="*/ 71 w 107"/>
                <a:gd name="T17" fmla="*/ 53 h 107"/>
                <a:gd name="T18" fmla="*/ 71 w 107"/>
                <a:gd name="T19" fmla="*/ 53 h 107"/>
                <a:gd name="T20" fmla="*/ 106 w 107"/>
                <a:gd name="T21" fmla="*/ 90 h 107"/>
                <a:gd name="T22" fmla="*/ 106 w 107"/>
                <a:gd name="T23" fmla="*/ 90 h 107"/>
                <a:gd name="T24" fmla="*/ 106 w 107"/>
                <a:gd name="T25" fmla="*/ 103 h 107"/>
                <a:gd name="T26" fmla="*/ 106 w 107"/>
                <a:gd name="T27" fmla="*/ 103 h 107"/>
                <a:gd name="T28" fmla="*/ 95 w 107"/>
                <a:gd name="T29" fmla="*/ 10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7" h="107">
                  <a:moveTo>
                    <a:pt x="95" y="103"/>
                  </a:moveTo>
                  <a:lnTo>
                    <a:pt x="95" y="103"/>
                  </a:lnTo>
                  <a:cubicBezTo>
                    <a:pt x="73" y="99"/>
                    <a:pt x="73" y="86"/>
                    <a:pt x="77" y="68"/>
                  </a:cubicBezTo>
                  <a:lnTo>
                    <a:pt x="77" y="68"/>
                  </a:lnTo>
                  <a:cubicBezTo>
                    <a:pt x="53" y="57"/>
                    <a:pt x="56" y="37"/>
                    <a:pt x="33" y="22"/>
                  </a:cubicBezTo>
                  <a:lnTo>
                    <a:pt x="33" y="22"/>
                  </a:lnTo>
                  <a:cubicBezTo>
                    <a:pt x="18" y="12"/>
                    <a:pt x="5" y="15"/>
                    <a:pt x="0" y="0"/>
                  </a:cubicBezTo>
                  <a:lnTo>
                    <a:pt x="0" y="0"/>
                  </a:lnTo>
                  <a:cubicBezTo>
                    <a:pt x="34" y="11"/>
                    <a:pt x="51" y="33"/>
                    <a:pt x="71" y="53"/>
                  </a:cubicBezTo>
                  <a:lnTo>
                    <a:pt x="71" y="53"/>
                  </a:lnTo>
                  <a:cubicBezTo>
                    <a:pt x="86" y="68"/>
                    <a:pt x="106" y="64"/>
                    <a:pt x="106" y="90"/>
                  </a:cubicBezTo>
                  <a:lnTo>
                    <a:pt x="106" y="90"/>
                  </a:lnTo>
                  <a:cubicBezTo>
                    <a:pt x="106" y="93"/>
                    <a:pt x="104" y="99"/>
                    <a:pt x="106" y="103"/>
                  </a:cubicBezTo>
                  <a:lnTo>
                    <a:pt x="106" y="103"/>
                  </a:lnTo>
                  <a:cubicBezTo>
                    <a:pt x="103" y="103"/>
                    <a:pt x="98" y="106"/>
                    <a:pt x="95" y="103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4" name="Freeform 22">
              <a:extLst>
                <a:ext uri="{FF2B5EF4-FFF2-40B4-BE49-F238E27FC236}">
                  <a16:creationId xmlns:a16="http://schemas.microsoft.com/office/drawing/2014/main" id="{853F4C71-2033-A74F-9689-98B7D00D3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69317" y="7082665"/>
              <a:ext cx="34564" cy="46085"/>
            </a:xfrm>
            <a:custGeom>
              <a:avLst/>
              <a:gdLst>
                <a:gd name="T0" fmla="*/ 30 w 55"/>
                <a:gd name="T1" fmla="*/ 40 h 69"/>
                <a:gd name="T2" fmla="*/ 30 w 55"/>
                <a:gd name="T3" fmla="*/ 40 h 69"/>
                <a:gd name="T4" fmla="*/ 4 w 55"/>
                <a:gd name="T5" fmla="*/ 0 h 69"/>
                <a:gd name="T6" fmla="*/ 4 w 55"/>
                <a:gd name="T7" fmla="*/ 0 h 69"/>
                <a:gd name="T8" fmla="*/ 54 w 55"/>
                <a:gd name="T9" fmla="*/ 53 h 69"/>
                <a:gd name="T10" fmla="*/ 54 w 55"/>
                <a:gd name="T11" fmla="*/ 53 h 69"/>
                <a:gd name="T12" fmla="*/ 41 w 55"/>
                <a:gd name="T13" fmla="*/ 68 h 69"/>
                <a:gd name="T14" fmla="*/ 41 w 55"/>
                <a:gd name="T15" fmla="*/ 68 h 69"/>
                <a:gd name="T16" fmla="*/ 30 w 55"/>
                <a:gd name="T17" fmla="*/ 55 h 69"/>
                <a:gd name="T18" fmla="*/ 30 w 55"/>
                <a:gd name="T19" fmla="*/ 4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9">
                  <a:moveTo>
                    <a:pt x="30" y="40"/>
                  </a:moveTo>
                  <a:lnTo>
                    <a:pt x="30" y="40"/>
                  </a:lnTo>
                  <a:cubicBezTo>
                    <a:pt x="8" y="37"/>
                    <a:pt x="0" y="19"/>
                    <a:pt x="4" y="0"/>
                  </a:cubicBezTo>
                  <a:lnTo>
                    <a:pt x="4" y="0"/>
                  </a:lnTo>
                  <a:cubicBezTo>
                    <a:pt x="15" y="8"/>
                    <a:pt x="54" y="48"/>
                    <a:pt x="54" y="53"/>
                  </a:cubicBezTo>
                  <a:lnTo>
                    <a:pt x="54" y="53"/>
                  </a:lnTo>
                  <a:cubicBezTo>
                    <a:pt x="54" y="59"/>
                    <a:pt x="46" y="68"/>
                    <a:pt x="41" y="68"/>
                  </a:cubicBezTo>
                  <a:lnTo>
                    <a:pt x="41" y="68"/>
                  </a:lnTo>
                  <a:cubicBezTo>
                    <a:pt x="35" y="68"/>
                    <a:pt x="30" y="61"/>
                    <a:pt x="30" y="55"/>
                  </a:cubicBezTo>
                  <a:lnTo>
                    <a:pt x="30" y="4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5" name="Freeform 23">
              <a:extLst>
                <a:ext uri="{FF2B5EF4-FFF2-40B4-BE49-F238E27FC236}">
                  <a16:creationId xmlns:a16="http://schemas.microsoft.com/office/drawing/2014/main" id="{C53EA63A-11F2-AD4C-A260-67C66DAC0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02623" y="7241081"/>
              <a:ext cx="20161" cy="25924"/>
            </a:xfrm>
            <a:custGeom>
              <a:avLst/>
              <a:gdLst>
                <a:gd name="T0" fmla="*/ 31 w 32"/>
                <a:gd name="T1" fmla="*/ 28 h 40"/>
                <a:gd name="T2" fmla="*/ 31 w 32"/>
                <a:gd name="T3" fmla="*/ 28 h 40"/>
                <a:gd name="T4" fmla="*/ 31 w 32"/>
                <a:gd name="T5" fmla="*/ 39 h 40"/>
                <a:gd name="T6" fmla="*/ 31 w 32"/>
                <a:gd name="T7" fmla="*/ 39 h 40"/>
                <a:gd name="T8" fmla="*/ 2 w 32"/>
                <a:gd name="T9" fmla="*/ 0 h 40"/>
                <a:gd name="T10" fmla="*/ 2 w 32"/>
                <a:gd name="T11" fmla="*/ 0 h 40"/>
                <a:gd name="T12" fmla="*/ 31 w 32"/>
                <a:gd name="T13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31" y="28"/>
                  </a:moveTo>
                  <a:lnTo>
                    <a:pt x="31" y="28"/>
                  </a:lnTo>
                  <a:cubicBezTo>
                    <a:pt x="31" y="32"/>
                    <a:pt x="29" y="36"/>
                    <a:pt x="31" y="39"/>
                  </a:cubicBezTo>
                  <a:lnTo>
                    <a:pt x="31" y="39"/>
                  </a:lnTo>
                  <a:cubicBezTo>
                    <a:pt x="13" y="39"/>
                    <a:pt x="0" y="11"/>
                    <a:pt x="2" y="0"/>
                  </a:cubicBezTo>
                  <a:lnTo>
                    <a:pt x="2" y="0"/>
                  </a:lnTo>
                  <a:cubicBezTo>
                    <a:pt x="16" y="10"/>
                    <a:pt x="31" y="13"/>
                    <a:pt x="31" y="28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6" name="Freeform 24">
              <a:extLst>
                <a:ext uri="{FF2B5EF4-FFF2-40B4-BE49-F238E27FC236}">
                  <a16:creationId xmlns:a16="http://schemas.microsoft.com/office/drawing/2014/main" id="{5D28651F-BF31-8A49-BC44-DCEDEA224F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0778" y="7223800"/>
              <a:ext cx="40324" cy="20163"/>
            </a:xfrm>
            <a:custGeom>
              <a:avLst/>
              <a:gdLst>
                <a:gd name="T0" fmla="*/ 61 w 62"/>
                <a:gd name="T1" fmla="*/ 25 h 29"/>
                <a:gd name="T2" fmla="*/ 61 w 62"/>
                <a:gd name="T3" fmla="*/ 25 h 29"/>
                <a:gd name="T4" fmla="*/ 52 w 62"/>
                <a:gd name="T5" fmla="*/ 28 h 29"/>
                <a:gd name="T6" fmla="*/ 52 w 62"/>
                <a:gd name="T7" fmla="*/ 28 h 29"/>
                <a:gd name="T8" fmla="*/ 0 w 62"/>
                <a:gd name="T9" fmla="*/ 0 h 29"/>
                <a:gd name="T10" fmla="*/ 0 w 62"/>
                <a:gd name="T11" fmla="*/ 0 h 29"/>
                <a:gd name="T12" fmla="*/ 61 w 62"/>
                <a:gd name="T13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29">
                  <a:moveTo>
                    <a:pt x="61" y="25"/>
                  </a:moveTo>
                  <a:lnTo>
                    <a:pt x="61" y="25"/>
                  </a:lnTo>
                  <a:cubicBezTo>
                    <a:pt x="59" y="25"/>
                    <a:pt x="54" y="28"/>
                    <a:pt x="52" y="28"/>
                  </a:cubicBezTo>
                  <a:lnTo>
                    <a:pt x="52" y="28"/>
                  </a:lnTo>
                  <a:cubicBezTo>
                    <a:pt x="30" y="28"/>
                    <a:pt x="0" y="21"/>
                    <a:pt x="0" y="0"/>
                  </a:cubicBezTo>
                  <a:lnTo>
                    <a:pt x="0" y="0"/>
                  </a:lnTo>
                  <a:cubicBezTo>
                    <a:pt x="30" y="0"/>
                    <a:pt x="48" y="7"/>
                    <a:pt x="61" y="25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7" name="Freeform 25">
              <a:extLst>
                <a:ext uri="{FF2B5EF4-FFF2-40B4-BE49-F238E27FC236}">
                  <a16:creationId xmlns:a16="http://schemas.microsoft.com/office/drawing/2014/main" id="{622E9EE2-A8B7-9E48-8EF4-E42A5F076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6538" y="7177715"/>
              <a:ext cx="34564" cy="40324"/>
            </a:xfrm>
            <a:custGeom>
              <a:avLst/>
              <a:gdLst>
                <a:gd name="T0" fmla="*/ 53 w 54"/>
                <a:gd name="T1" fmla="*/ 59 h 60"/>
                <a:gd name="T2" fmla="*/ 53 w 54"/>
                <a:gd name="T3" fmla="*/ 59 h 60"/>
                <a:gd name="T4" fmla="*/ 0 w 54"/>
                <a:gd name="T5" fmla="*/ 0 h 60"/>
                <a:gd name="T6" fmla="*/ 0 w 54"/>
                <a:gd name="T7" fmla="*/ 0 h 60"/>
                <a:gd name="T8" fmla="*/ 53 w 54"/>
                <a:gd name="T9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60">
                  <a:moveTo>
                    <a:pt x="53" y="59"/>
                  </a:moveTo>
                  <a:lnTo>
                    <a:pt x="53" y="59"/>
                  </a:lnTo>
                  <a:cubicBezTo>
                    <a:pt x="34" y="59"/>
                    <a:pt x="1" y="15"/>
                    <a:pt x="0" y="0"/>
                  </a:cubicBezTo>
                  <a:lnTo>
                    <a:pt x="0" y="0"/>
                  </a:lnTo>
                  <a:cubicBezTo>
                    <a:pt x="25" y="15"/>
                    <a:pt x="44" y="31"/>
                    <a:pt x="53" y="59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8" name="Freeform 26">
              <a:extLst>
                <a:ext uri="{FF2B5EF4-FFF2-40B4-BE49-F238E27FC236}">
                  <a16:creationId xmlns:a16="http://schemas.microsoft.com/office/drawing/2014/main" id="{81F61477-3E0D-4A45-9A3F-FAE86152F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84529" y="7148911"/>
              <a:ext cx="48966" cy="25924"/>
            </a:xfrm>
            <a:custGeom>
              <a:avLst/>
              <a:gdLst>
                <a:gd name="T0" fmla="*/ 8 w 73"/>
                <a:gd name="T1" fmla="*/ 0 h 41"/>
                <a:gd name="T2" fmla="*/ 8 w 73"/>
                <a:gd name="T3" fmla="*/ 0 h 41"/>
                <a:gd name="T4" fmla="*/ 72 w 73"/>
                <a:gd name="T5" fmla="*/ 36 h 41"/>
                <a:gd name="T6" fmla="*/ 72 w 73"/>
                <a:gd name="T7" fmla="*/ 36 h 41"/>
                <a:gd name="T8" fmla="*/ 57 w 73"/>
                <a:gd name="T9" fmla="*/ 40 h 41"/>
                <a:gd name="T10" fmla="*/ 57 w 73"/>
                <a:gd name="T11" fmla="*/ 40 h 41"/>
                <a:gd name="T12" fmla="*/ 0 w 73"/>
                <a:gd name="T13" fmla="*/ 5 h 41"/>
                <a:gd name="T14" fmla="*/ 5 w 73"/>
                <a:gd name="T15" fmla="*/ 5 h 41"/>
                <a:gd name="T16" fmla="*/ 8 w 73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41">
                  <a:moveTo>
                    <a:pt x="8" y="0"/>
                  </a:moveTo>
                  <a:lnTo>
                    <a:pt x="8" y="0"/>
                  </a:lnTo>
                  <a:cubicBezTo>
                    <a:pt x="25" y="9"/>
                    <a:pt x="61" y="20"/>
                    <a:pt x="72" y="36"/>
                  </a:cubicBezTo>
                  <a:lnTo>
                    <a:pt x="72" y="36"/>
                  </a:lnTo>
                  <a:cubicBezTo>
                    <a:pt x="68" y="39"/>
                    <a:pt x="63" y="40"/>
                    <a:pt x="57" y="40"/>
                  </a:cubicBezTo>
                  <a:lnTo>
                    <a:pt x="57" y="40"/>
                  </a:lnTo>
                  <a:cubicBezTo>
                    <a:pt x="43" y="40"/>
                    <a:pt x="0" y="26"/>
                    <a:pt x="0" y="5"/>
                  </a:cubicBezTo>
                  <a:lnTo>
                    <a:pt x="5" y="5"/>
                  </a:lnTo>
                  <a:lnTo>
                    <a:pt x="8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099" name="Freeform 27">
              <a:extLst>
                <a:ext uri="{FF2B5EF4-FFF2-40B4-BE49-F238E27FC236}">
                  <a16:creationId xmlns:a16="http://schemas.microsoft.com/office/drawing/2014/main" id="{E8FF060B-50E6-F143-BD72-B119BDA8E5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9805" y="7117230"/>
              <a:ext cx="28803" cy="17282"/>
            </a:xfrm>
            <a:custGeom>
              <a:avLst/>
              <a:gdLst>
                <a:gd name="T0" fmla="*/ 0 w 45"/>
                <a:gd name="T1" fmla="*/ 0 h 27"/>
                <a:gd name="T2" fmla="*/ 0 w 45"/>
                <a:gd name="T3" fmla="*/ 0 h 27"/>
                <a:gd name="T4" fmla="*/ 44 w 45"/>
                <a:gd name="T5" fmla="*/ 26 h 27"/>
                <a:gd name="T6" fmla="*/ 28 w 45"/>
                <a:gd name="T7" fmla="*/ 26 h 27"/>
                <a:gd name="T8" fmla="*/ 0 w 45"/>
                <a:gd name="T9" fmla="*/ 8 h 27"/>
                <a:gd name="T10" fmla="*/ 0 w 45"/>
                <a:gd name="T11" fmla="*/ 8 h 27"/>
                <a:gd name="T12" fmla="*/ 9 w 45"/>
                <a:gd name="T13" fmla="*/ 6 h 27"/>
                <a:gd name="T14" fmla="*/ 0 w 45"/>
                <a:gd name="T1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7">
                  <a:moveTo>
                    <a:pt x="0" y="0"/>
                  </a:moveTo>
                  <a:lnTo>
                    <a:pt x="0" y="0"/>
                  </a:lnTo>
                  <a:cubicBezTo>
                    <a:pt x="20" y="15"/>
                    <a:pt x="33" y="9"/>
                    <a:pt x="44" y="26"/>
                  </a:cubicBezTo>
                  <a:lnTo>
                    <a:pt x="28" y="26"/>
                  </a:lnTo>
                  <a:lnTo>
                    <a:pt x="0" y="8"/>
                  </a:lnTo>
                  <a:lnTo>
                    <a:pt x="0" y="8"/>
                  </a:lnTo>
                  <a:cubicBezTo>
                    <a:pt x="2" y="8"/>
                    <a:pt x="9" y="8"/>
                    <a:pt x="9" y="6"/>
                  </a:cubicBez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0" name="Freeform 28">
              <a:extLst>
                <a:ext uri="{FF2B5EF4-FFF2-40B4-BE49-F238E27FC236}">
                  <a16:creationId xmlns:a16="http://schemas.microsoft.com/office/drawing/2014/main" id="{C31A168A-7CFB-4940-AE2B-7D6FA5C75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17921" y="8361521"/>
              <a:ext cx="132494" cy="132494"/>
            </a:xfrm>
            <a:custGeom>
              <a:avLst/>
              <a:gdLst>
                <a:gd name="T0" fmla="*/ 101 w 202"/>
                <a:gd name="T1" fmla="*/ 29 h 204"/>
                <a:gd name="T2" fmla="*/ 101 w 202"/>
                <a:gd name="T3" fmla="*/ 29 h 204"/>
                <a:gd name="T4" fmla="*/ 181 w 202"/>
                <a:gd name="T5" fmla="*/ 11 h 204"/>
                <a:gd name="T6" fmla="*/ 181 w 202"/>
                <a:gd name="T7" fmla="*/ 11 h 204"/>
                <a:gd name="T8" fmla="*/ 201 w 202"/>
                <a:gd name="T9" fmla="*/ 66 h 204"/>
                <a:gd name="T10" fmla="*/ 201 w 202"/>
                <a:gd name="T11" fmla="*/ 66 h 204"/>
                <a:gd name="T12" fmla="*/ 115 w 202"/>
                <a:gd name="T13" fmla="*/ 203 h 204"/>
                <a:gd name="T14" fmla="*/ 115 w 202"/>
                <a:gd name="T15" fmla="*/ 203 h 204"/>
                <a:gd name="T16" fmla="*/ 0 w 202"/>
                <a:gd name="T17" fmla="*/ 29 h 204"/>
                <a:gd name="T18" fmla="*/ 0 w 202"/>
                <a:gd name="T19" fmla="*/ 29 h 204"/>
                <a:gd name="T20" fmla="*/ 101 w 202"/>
                <a:gd name="T21" fmla="*/ 2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2" h="204">
                  <a:moveTo>
                    <a:pt x="101" y="29"/>
                  </a:moveTo>
                  <a:lnTo>
                    <a:pt x="101" y="29"/>
                  </a:lnTo>
                  <a:cubicBezTo>
                    <a:pt x="124" y="29"/>
                    <a:pt x="156" y="18"/>
                    <a:pt x="181" y="11"/>
                  </a:cubicBezTo>
                  <a:lnTo>
                    <a:pt x="181" y="11"/>
                  </a:lnTo>
                  <a:cubicBezTo>
                    <a:pt x="187" y="33"/>
                    <a:pt x="201" y="44"/>
                    <a:pt x="201" y="66"/>
                  </a:cubicBezTo>
                  <a:lnTo>
                    <a:pt x="201" y="66"/>
                  </a:lnTo>
                  <a:cubicBezTo>
                    <a:pt x="201" y="106"/>
                    <a:pt x="152" y="203"/>
                    <a:pt x="115" y="203"/>
                  </a:cubicBezTo>
                  <a:lnTo>
                    <a:pt x="115" y="203"/>
                  </a:lnTo>
                  <a:cubicBezTo>
                    <a:pt x="60" y="203"/>
                    <a:pt x="0" y="68"/>
                    <a:pt x="0" y="29"/>
                  </a:cubicBezTo>
                  <a:lnTo>
                    <a:pt x="0" y="29"/>
                  </a:lnTo>
                  <a:cubicBezTo>
                    <a:pt x="0" y="0"/>
                    <a:pt x="99" y="29"/>
                    <a:pt x="101" y="29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1" name="Freeform 29">
              <a:extLst>
                <a:ext uri="{FF2B5EF4-FFF2-40B4-BE49-F238E27FC236}">
                  <a16:creationId xmlns:a16="http://schemas.microsoft.com/office/drawing/2014/main" id="{E2A331AC-3BA1-2E46-8756-B55BE6613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33133" y="8335597"/>
              <a:ext cx="17282" cy="20163"/>
            </a:xfrm>
            <a:custGeom>
              <a:avLst/>
              <a:gdLst>
                <a:gd name="T0" fmla="*/ 24 w 25"/>
                <a:gd name="T1" fmla="*/ 0 h 32"/>
                <a:gd name="T2" fmla="*/ 24 w 25"/>
                <a:gd name="T3" fmla="*/ 0 h 32"/>
                <a:gd name="T4" fmla="*/ 18 w 25"/>
                <a:gd name="T5" fmla="*/ 31 h 32"/>
                <a:gd name="T6" fmla="*/ 18 w 25"/>
                <a:gd name="T7" fmla="*/ 31 h 32"/>
                <a:gd name="T8" fmla="*/ 0 w 25"/>
                <a:gd name="T9" fmla="*/ 0 h 32"/>
                <a:gd name="T10" fmla="*/ 0 w 25"/>
                <a:gd name="T11" fmla="*/ 0 h 32"/>
                <a:gd name="T12" fmla="*/ 24 w 25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2">
                  <a:moveTo>
                    <a:pt x="24" y="0"/>
                  </a:moveTo>
                  <a:lnTo>
                    <a:pt x="24" y="0"/>
                  </a:lnTo>
                  <a:cubicBezTo>
                    <a:pt x="24" y="18"/>
                    <a:pt x="20" y="21"/>
                    <a:pt x="18" y="31"/>
                  </a:cubicBezTo>
                  <a:lnTo>
                    <a:pt x="18" y="31"/>
                  </a:lnTo>
                  <a:cubicBezTo>
                    <a:pt x="2" y="25"/>
                    <a:pt x="0" y="14"/>
                    <a:pt x="0" y="0"/>
                  </a:cubicBezTo>
                  <a:lnTo>
                    <a:pt x="0" y="0"/>
                  </a:lnTo>
                  <a:cubicBezTo>
                    <a:pt x="9" y="1"/>
                    <a:pt x="18" y="1"/>
                    <a:pt x="24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2" name="Freeform 30">
              <a:extLst>
                <a:ext uri="{FF2B5EF4-FFF2-40B4-BE49-F238E27FC236}">
                  <a16:creationId xmlns:a16="http://schemas.microsoft.com/office/drawing/2014/main" id="{ABFD5288-992D-7B42-919A-E3E9F7CDD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1413" y="8168539"/>
              <a:ext cx="43205" cy="23042"/>
            </a:xfrm>
            <a:custGeom>
              <a:avLst/>
              <a:gdLst>
                <a:gd name="T0" fmla="*/ 65 w 66"/>
                <a:gd name="T1" fmla="*/ 16 h 34"/>
                <a:gd name="T2" fmla="*/ 65 w 66"/>
                <a:gd name="T3" fmla="*/ 16 h 34"/>
                <a:gd name="T4" fmla="*/ 0 w 66"/>
                <a:gd name="T5" fmla="*/ 16 h 34"/>
                <a:gd name="T6" fmla="*/ 0 w 66"/>
                <a:gd name="T7" fmla="*/ 16 h 34"/>
                <a:gd name="T8" fmla="*/ 65 w 66"/>
                <a:gd name="T9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4">
                  <a:moveTo>
                    <a:pt x="65" y="16"/>
                  </a:moveTo>
                  <a:lnTo>
                    <a:pt x="65" y="16"/>
                  </a:lnTo>
                  <a:cubicBezTo>
                    <a:pt x="44" y="29"/>
                    <a:pt x="17" y="33"/>
                    <a:pt x="0" y="16"/>
                  </a:cubicBezTo>
                  <a:lnTo>
                    <a:pt x="0" y="16"/>
                  </a:lnTo>
                  <a:cubicBezTo>
                    <a:pt x="36" y="0"/>
                    <a:pt x="39" y="4"/>
                    <a:pt x="65" y="16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3" name="Freeform 31">
              <a:extLst>
                <a:ext uri="{FF2B5EF4-FFF2-40B4-BE49-F238E27FC236}">
                  <a16:creationId xmlns:a16="http://schemas.microsoft.com/office/drawing/2014/main" id="{14F634A3-AAE7-B345-B4A2-0115B67CF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9630" y="7284287"/>
              <a:ext cx="48964" cy="20161"/>
            </a:xfrm>
            <a:custGeom>
              <a:avLst/>
              <a:gdLst>
                <a:gd name="T0" fmla="*/ 73 w 74"/>
                <a:gd name="T1" fmla="*/ 2 h 30"/>
                <a:gd name="T2" fmla="*/ 73 w 74"/>
                <a:gd name="T3" fmla="*/ 29 h 30"/>
                <a:gd name="T4" fmla="*/ 55 w 74"/>
                <a:gd name="T5" fmla="*/ 29 h 30"/>
                <a:gd name="T6" fmla="*/ 55 w 74"/>
                <a:gd name="T7" fmla="*/ 29 h 30"/>
                <a:gd name="T8" fmla="*/ 0 w 74"/>
                <a:gd name="T9" fmla="*/ 11 h 30"/>
                <a:gd name="T10" fmla="*/ 0 w 74"/>
                <a:gd name="T11" fmla="*/ 11 h 30"/>
                <a:gd name="T12" fmla="*/ 73 w 74"/>
                <a:gd name="T13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30">
                  <a:moveTo>
                    <a:pt x="73" y="2"/>
                  </a:moveTo>
                  <a:lnTo>
                    <a:pt x="73" y="29"/>
                  </a:lnTo>
                  <a:lnTo>
                    <a:pt x="55" y="29"/>
                  </a:lnTo>
                  <a:lnTo>
                    <a:pt x="55" y="29"/>
                  </a:lnTo>
                  <a:cubicBezTo>
                    <a:pt x="33" y="29"/>
                    <a:pt x="7" y="18"/>
                    <a:pt x="0" y="11"/>
                  </a:cubicBezTo>
                  <a:lnTo>
                    <a:pt x="0" y="11"/>
                  </a:lnTo>
                  <a:cubicBezTo>
                    <a:pt x="33" y="3"/>
                    <a:pt x="46" y="0"/>
                    <a:pt x="73" y="2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4" name="Freeform 32">
              <a:extLst>
                <a:ext uri="{FF2B5EF4-FFF2-40B4-BE49-F238E27FC236}">
                  <a16:creationId xmlns:a16="http://schemas.microsoft.com/office/drawing/2014/main" id="{107C6D9A-BDC9-3348-A95E-3611A3657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46449" y="7267006"/>
              <a:ext cx="1376785" cy="1039788"/>
            </a:xfrm>
            <a:custGeom>
              <a:avLst/>
              <a:gdLst>
                <a:gd name="T0" fmla="*/ 2109 w 2110"/>
                <a:gd name="T1" fmla="*/ 968 h 1594"/>
                <a:gd name="T2" fmla="*/ 2082 w 2110"/>
                <a:gd name="T3" fmla="*/ 1133 h 1594"/>
                <a:gd name="T4" fmla="*/ 2069 w 2110"/>
                <a:gd name="T5" fmla="*/ 1169 h 1594"/>
                <a:gd name="T6" fmla="*/ 1931 w 2110"/>
                <a:gd name="T7" fmla="*/ 1462 h 1594"/>
                <a:gd name="T8" fmla="*/ 1746 w 2110"/>
                <a:gd name="T9" fmla="*/ 1593 h 1594"/>
                <a:gd name="T10" fmla="*/ 1655 w 2110"/>
                <a:gd name="T11" fmla="*/ 1538 h 1594"/>
                <a:gd name="T12" fmla="*/ 1393 w 2110"/>
                <a:gd name="T13" fmla="*/ 1455 h 1594"/>
                <a:gd name="T14" fmla="*/ 1367 w 2110"/>
                <a:gd name="T15" fmla="*/ 1382 h 1594"/>
                <a:gd name="T16" fmla="*/ 1328 w 2110"/>
                <a:gd name="T17" fmla="*/ 1386 h 1594"/>
                <a:gd name="T18" fmla="*/ 1319 w 2110"/>
                <a:gd name="T19" fmla="*/ 1345 h 1594"/>
                <a:gd name="T20" fmla="*/ 1301 w 2110"/>
                <a:gd name="T21" fmla="*/ 1309 h 1594"/>
                <a:gd name="T22" fmla="*/ 1252 w 2110"/>
                <a:gd name="T23" fmla="*/ 1367 h 1594"/>
                <a:gd name="T24" fmla="*/ 1233 w 2110"/>
                <a:gd name="T25" fmla="*/ 1349 h 1594"/>
                <a:gd name="T26" fmla="*/ 1169 w 2110"/>
                <a:gd name="T27" fmla="*/ 1345 h 1594"/>
                <a:gd name="T28" fmla="*/ 1154 w 2110"/>
                <a:gd name="T29" fmla="*/ 1312 h 1594"/>
                <a:gd name="T30" fmla="*/ 889 w 2110"/>
                <a:gd name="T31" fmla="*/ 1147 h 1594"/>
                <a:gd name="T32" fmla="*/ 770 w 2110"/>
                <a:gd name="T33" fmla="*/ 1190 h 1594"/>
                <a:gd name="T34" fmla="*/ 436 w 2110"/>
                <a:gd name="T35" fmla="*/ 1294 h 1594"/>
                <a:gd name="T36" fmla="*/ 385 w 2110"/>
                <a:gd name="T37" fmla="*/ 1294 h 1594"/>
                <a:gd name="T38" fmla="*/ 92 w 2110"/>
                <a:gd name="T39" fmla="*/ 1290 h 1594"/>
                <a:gd name="T40" fmla="*/ 133 w 2110"/>
                <a:gd name="T41" fmla="*/ 1208 h 1594"/>
                <a:gd name="T42" fmla="*/ 46 w 2110"/>
                <a:gd name="T43" fmla="*/ 915 h 1594"/>
                <a:gd name="T44" fmla="*/ 9 w 2110"/>
                <a:gd name="T45" fmla="*/ 850 h 1594"/>
                <a:gd name="T46" fmla="*/ 37 w 2110"/>
                <a:gd name="T47" fmla="*/ 850 h 1594"/>
                <a:gd name="T48" fmla="*/ 37 w 2110"/>
                <a:gd name="T49" fmla="*/ 827 h 1594"/>
                <a:gd name="T50" fmla="*/ 15 w 2110"/>
                <a:gd name="T51" fmla="*/ 625 h 1594"/>
                <a:gd name="T52" fmla="*/ 37 w 2110"/>
                <a:gd name="T53" fmla="*/ 622 h 1594"/>
                <a:gd name="T54" fmla="*/ 133 w 2110"/>
                <a:gd name="T55" fmla="*/ 552 h 1594"/>
                <a:gd name="T56" fmla="*/ 473 w 2110"/>
                <a:gd name="T57" fmla="*/ 396 h 1594"/>
                <a:gd name="T58" fmla="*/ 496 w 2110"/>
                <a:gd name="T59" fmla="*/ 319 h 1594"/>
                <a:gd name="T60" fmla="*/ 524 w 2110"/>
                <a:gd name="T61" fmla="*/ 356 h 1594"/>
                <a:gd name="T62" fmla="*/ 583 w 2110"/>
                <a:gd name="T63" fmla="*/ 310 h 1594"/>
                <a:gd name="T64" fmla="*/ 623 w 2110"/>
                <a:gd name="T65" fmla="*/ 210 h 1594"/>
                <a:gd name="T66" fmla="*/ 775 w 2110"/>
                <a:gd name="T67" fmla="*/ 242 h 1594"/>
                <a:gd name="T68" fmla="*/ 815 w 2110"/>
                <a:gd name="T69" fmla="*/ 222 h 1594"/>
                <a:gd name="T70" fmla="*/ 848 w 2110"/>
                <a:gd name="T71" fmla="*/ 191 h 1594"/>
                <a:gd name="T72" fmla="*/ 876 w 2110"/>
                <a:gd name="T73" fmla="*/ 127 h 1594"/>
                <a:gd name="T74" fmla="*/ 1013 w 2110"/>
                <a:gd name="T75" fmla="*/ 72 h 1594"/>
                <a:gd name="T76" fmla="*/ 980 w 2110"/>
                <a:gd name="T77" fmla="*/ 30 h 1594"/>
                <a:gd name="T78" fmla="*/ 1196 w 2110"/>
                <a:gd name="T79" fmla="*/ 66 h 1594"/>
                <a:gd name="T80" fmla="*/ 1233 w 2110"/>
                <a:gd name="T81" fmla="*/ 100 h 1594"/>
                <a:gd name="T82" fmla="*/ 1169 w 2110"/>
                <a:gd name="T83" fmla="*/ 228 h 1594"/>
                <a:gd name="T84" fmla="*/ 1224 w 2110"/>
                <a:gd name="T85" fmla="*/ 282 h 1594"/>
                <a:gd name="T86" fmla="*/ 1347 w 2110"/>
                <a:gd name="T87" fmla="*/ 328 h 1594"/>
                <a:gd name="T88" fmla="*/ 1493 w 2110"/>
                <a:gd name="T89" fmla="*/ 228 h 1594"/>
                <a:gd name="T90" fmla="*/ 1545 w 2110"/>
                <a:gd name="T91" fmla="*/ 0 h 1594"/>
                <a:gd name="T92" fmla="*/ 1585 w 2110"/>
                <a:gd name="T93" fmla="*/ 118 h 1594"/>
                <a:gd name="T94" fmla="*/ 1663 w 2110"/>
                <a:gd name="T95" fmla="*/ 211 h 1594"/>
                <a:gd name="T96" fmla="*/ 1695 w 2110"/>
                <a:gd name="T97" fmla="*/ 313 h 1594"/>
                <a:gd name="T98" fmla="*/ 1865 w 2110"/>
                <a:gd name="T99" fmla="*/ 524 h 1594"/>
                <a:gd name="T100" fmla="*/ 1898 w 2110"/>
                <a:gd name="T101" fmla="*/ 607 h 1594"/>
                <a:gd name="T102" fmla="*/ 2063 w 2110"/>
                <a:gd name="T103" fmla="*/ 770 h 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0" h="1594">
                  <a:moveTo>
                    <a:pt x="2061" y="776"/>
                  </a:moveTo>
                  <a:lnTo>
                    <a:pt x="2061" y="776"/>
                  </a:lnTo>
                  <a:cubicBezTo>
                    <a:pt x="2090" y="814"/>
                    <a:pt x="2109" y="913"/>
                    <a:pt x="2109" y="968"/>
                  </a:cubicBezTo>
                  <a:lnTo>
                    <a:pt x="2109" y="968"/>
                  </a:lnTo>
                  <a:cubicBezTo>
                    <a:pt x="2109" y="1008"/>
                    <a:pt x="2098" y="1065"/>
                    <a:pt x="2082" y="1082"/>
                  </a:cubicBezTo>
                  <a:lnTo>
                    <a:pt x="2082" y="1133"/>
                  </a:lnTo>
                  <a:lnTo>
                    <a:pt x="2082" y="1133"/>
                  </a:lnTo>
                  <a:cubicBezTo>
                    <a:pt x="2072" y="1147"/>
                    <a:pt x="2078" y="1155"/>
                    <a:pt x="2069" y="1169"/>
                  </a:cubicBezTo>
                  <a:lnTo>
                    <a:pt x="2069" y="1169"/>
                  </a:lnTo>
                  <a:cubicBezTo>
                    <a:pt x="2036" y="1221"/>
                    <a:pt x="2003" y="1239"/>
                    <a:pt x="1984" y="1298"/>
                  </a:cubicBezTo>
                  <a:lnTo>
                    <a:pt x="1984" y="1298"/>
                  </a:lnTo>
                  <a:cubicBezTo>
                    <a:pt x="1970" y="1341"/>
                    <a:pt x="1931" y="1398"/>
                    <a:pt x="1931" y="1462"/>
                  </a:cubicBezTo>
                  <a:lnTo>
                    <a:pt x="1931" y="1459"/>
                  </a:lnTo>
                  <a:lnTo>
                    <a:pt x="1931" y="1459"/>
                  </a:lnTo>
                  <a:cubicBezTo>
                    <a:pt x="1911" y="1543"/>
                    <a:pt x="1761" y="1505"/>
                    <a:pt x="1746" y="1593"/>
                  </a:cubicBezTo>
                  <a:lnTo>
                    <a:pt x="1746" y="1593"/>
                  </a:lnTo>
                  <a:cubicBezTo>
                    <a:pt x="1732" y="1591"/>
                    <a:pt x="1657" y="1549"/>
                    <a:pt x="1655" y="1538"/>
                  </a:cubicBezTo>
                  <a:lnTo>
                    <a:pt x="1655" y="1538"/>
                  </a:lnTo>
                  <a:cubicBezTo>
                    <a:pt x="1612" y="1541"/>
                    <a:pt x="1627" y="1578"/>
                    <a:pt x="1581" y="1578"/>
                  </a:cubicBezTo>
                  <a:lnTo>
                    <a:pt x="1581" y="1578"/>
                  </a:lnTo>
                  <a:cubicBezTo>
                    <a:pt x="1510" y="1578"/>
                    <a:pt x="1393" y="1530"/>
                    <a:pt x="1393" y="1455"/>
                  </a:cubicBezTo>
                  <a:lnTo>
                    <a:pt x="1393" y="1455"/>
                  </a:lnTo>
                  <a:cubicBezTo>
                    <a:pt x="1393" y="1428"/>
                    <a:pt x="1369" y="1406"/>
                    <a:pt x="1367" y="1382"/>
                  </a:cubicBezTo>
                  <a:lnTo>
                    <a:pt x="1367" y="1382"/>
                  </a:lnTo>
                  <a:cubicBezTo>
                    <a:pt x="1367" y="1382"/>
                    <a:pt x="1365" y="1375"/>
                    <a:pt x="1365" y="1373"/>
                  </a:cubicBezTo>
                  <a:lnTo>
                    <a:pt x="1365" y="1373"/>
                  </a:lnTo>
                  <a:cubicBezTo>
                    <a:pt x="1352" y="1380"/>
                    <a:pt x="1343" y="1382"/>
                    <a:pt x="1328" y="1386"/>
                  </a:cubicBezTo>
                  <a:lnTo>
                    <a:pt x="1306" y="1386"/>
                  </a:lnTo>
                  <a:lnTo>
                    <a:pt x="1306" y="1386"/>
                  </a:lnTo>
                  <a:cubicBezTo>
                    <a:pt x="1312" y="1375"/>
                    <a:pt x="1319" y="1364"/>
                    <a:pt x="1319" y="1345"/>
                  </a:cubicBezTo>
                  <a:lnTo>
                    <a:pt x="1319" y="1345"/>
                  </a:lnTo>
                  <a:cubicBezTo>
                    <a:pt x="1319" y="1323"/>
                    <a:pt x="1308" y="1316"/>
                    <a:pt x="1301" y="1309"/>
                  </a:cubicBezTo>
                  <a:lnTo>
                    <a:pt x="1301" y="1309"/>
                  </a:lnTo>
                  <a:cubicBezTo>
                    <a:pt x="1301" y="1314"/>
                    <a:pt x="1297" y="1321"/>
                    <a:pt x="1297" y="1327"/>
                  </a:cubicBezTo>
                  <a:lnTo>
                    <a:pt x="1297" y="1327"/>
                  </a:lnTo>
                  <a:cubicBezTo>
                    <a:pt x="1281" y="1334"/>
                    <a:pt x="1279" y="1367"/>
                    <a:pt x="1252" y="1367"/>
                  </a:cubicBezTo>
                  <a:lnTo>
                    <a:pt x="1252" y="1367"/>
                  </a:lnTo>
                  <a:cubicBezTo>
                    <a:pt x="1242" y="1367"/>
                    <a:pt x="1233" y="1358"/>
                    <a:pt x="1233" y="1349"/>
                  </a:cubicBezTo>
                  <a:lnTo>
                    <a:pt x="1233" y="1349"/>
                  </a:lnTo>
                  <a:cubicBezTo>
                    <a:pt x="1279" y="1339"/>
                    <a:pt x="1288" y="1244"/>
                    <a:pt x="1286" y="1217"/>
                  </a:cubicBezTo>
                  <a:lnTo>
                    <a:pt x="1286" y="1217"/>
                  </a:lnTo>
                  <a:cubicBezTo>
                    <a:pt x="1254" y="1250"/>
                    <a:pt x="1208" y="1345"/>
                    <a:pt x="1169" y="1345"/>
                  </a:cubicBezTo>
                  <a:lnTo>
                    <a:pt x="1169" y="1345"/>
                  </a:lnTo>
                  <a:cubicBezTo>
                    <a:pt x="1147" y="1345"/>
                    <a:pt x="1154" y="1312"/>
                    <a:pt x="1154" y="1312"/>
                  </a:cubicBezTo>
                  <a:lnTo>
                    <a:pt x="1154" y="1312"/>
                  </a:lnTo>
                  <a:cubicBezTo>
                    <a:pt x="1142" y="1312"/>
                    <a:pt x="1101" y="1223"/>
                    <a:pt x="1087" y="1203"/>
                  </a:cubicBezTo>
                  <a:lnTo>
                    <a:pt x="1087" y="1203"/>
                  </a:lnTo>
                  <a:cubicBezTo>
                    <a:pt x="1057" y="1166"/>
                    <a:pt x="949" y="1147"/>
                    <a:pt x="889" y="1147"/>
                  </a:cubicBezTo>
                  <a:lnTo>
                    <a:pt x="889" y="1147"/>
                  </a:lnTo>
                  <a:cubicBezTo>
                    <a:pt x="822" y="1147"/>
                    <a:pt x="810" y="1177"/>
                    <a:pt x="770" y="1190"/>
                  </a:cubicBezTo>
                  <a:lnTo>
                    <a:pt x="770" y="1190"/>
                  </a:lnTo>
                  <a:cubicBezTo>
                    <a:pt x="676" y="1221"/>
                    <a:pt x="560" y="1188"/>
                    <a:pt x="546" y="1281"/>
                  </a:cubicBezTo>
                  <a:lnTo>
                    <a:pt x="546" y="1281"/>
                  </a:lnTo>
                  <a:cubicBezTo>
                    <a:pt x="508" y="1285"/>
                    <a:pt x="476" y="1294"/>
                    <a:pt x="436" y="1294"/>
                  </a:cubicBezTo>
                  <a:lnTo>
                    <a:pt x="436" y="1294"/>
                  </a:lnTo>
                  <a:cubicBezTo>
                    <a:pt x="407" y="1279"/>
                    <a:pt x="407" y="1294"/>
                    <a:pt x="385" y="1294"/>
                  </a:cubicBezTo>
                  <a:lnTo>
                    <a:pt x="385" y="1294"/>
                  </a:lnTo>
                  <a:cubicBezTo>
                    <a:pt x="321" y="1294"/>
                    <a:pt x="293" y="1354"/>
                    <a:pt x="211" y="1354"/>
                  </a:cubicBezTo>
                  <a:lnTo>
                    <a:pt x="211" y="1354"/>
                  </a:lnTo>
                  <a:cubicBezTo>
                    <a:pt x="180" y="1354"/>
                    <a:pt x="92" y="1316"/>
                    <a:pt x="92" y="1290"/>
                  </a:cubicBezTo>
                  <a:lnTo>
                    <a:pt x="92" y="1290"/>
                  </a:lnTo>
                  <a:cubicBezTo>
                    <a:pt x="92" y="1263"/>
                    <a:pt x="133" y="1250"/>
                    <a:pt x="133" y="1208"/>
                  </a:cubicBezTo>
                  <a:lnTo>
                    <a:pt x="133" y="1208"/>
                  </a:lnTo>
                  <a:cubicBezTo>
                    <a:pt x="133" y="1155"/>
                    <a:pt x="107" y="1125"/>
                    <a:pt x="97" y="1092"/>
                  </a:cubicBezTo>
                  <a:lnTo>
                    <a:pt x="97" y="1092"/>
                  </a:lnTo>
                  <a:cubicBezTo>
                    <a:pt x="75" y="1012"/>
                    <a:pt x="70" y="986"/>
                    <a:pt x="46" y="915"/>
                  </a:cubicBezTo>
                  <a:lnTo>
                    <a:pt x="46" y="915"/>
                  </a:lnTo>
                  <a:cubicBezTo>
                    <a:pt x="37" y="887"/>
                    <a:pt x="0" y="878"/>
                    <a:pt x="9" y="850"/>
                  </a:cubicBezTo>
                  <a:lnTo>
                    <a:pt x="9" y="850"/>
                  </a:lnTo>
                  <a:cubicBezTo>
                    <a:pt x="13" y="843"/>
                    <a:pt x="15" y="836"/>
                    <a:pt x="20" y="827"/>
                  </a:cubicBezTo>
                  <a:lnTo>
                    <a:pt x="20" y="827"/>
                  </a:lnTo>
                  <a:cubicBezTo>
                    <a:pt x="24" y="836"/>
                    <a:pt x="31" y="845"/>
                    <a:pt x="37" y="850"/>
                  </a:cubicBezTo>
                  <a:lnTo>
                    <a:pt x="37" y="850"/>
                  </a:lnTo>
                  <a:cubicBezTo>
                    <a:pt x="42" y="843"/>
                    <a:pt x="37" y="836"/>
                    <a:pt x="37" y="827"/>
                  </a:cubicBezTo>
                  <a:lnTo>
                    <a:pt x="37" y="827"/>
                  </a:lnTo>
                  <a:cubicBezTo>
                    <a:pt x="37" y="799"/>
                    <a:pt x="15" y="778"/>
                    <a:pt x="15" y="732"/>
                  </a:cubicBezTo>
                  <a:lnTo>
                    <a:pt x="15" y="625"/>
                  </a:lnTo>
                  <a:lnTo>
                    <a:pt x="15" y="625"/>
                  </a:lnTo>
                  <a:cubicBezTo>
                    <a:pt x="15" y="610"/>
                    <a:pt x="27" y="607"/>
                    <a:pt x="35" y="603"/>
                  </a:cubicBezTo>
                  <a:lnTo>
                    <a:pt x="35" y="603"/>
                  </a:lnTo>
                  <a:cubicBezTo>
                    <a:pt x="37" y="609"/>
                    <a:pt x="37" y="616"/>
                    <a:pt x="37" y="622"/>
                  </a:cubicBezTo>
                  <a:lnTo>
                    <a:pt x="37" y="622"/>
                  </a:lnTo>
                  <a:cubicBezTo>
                    <a:pt x="71" y="618"/>
                    <a:pt x="113" y="572"/>
                    <a:pt x="133" y="552"/>
                  </a:cubicBezTo>
                  <a:lnTo>
                    <a:pt x="133" y="552"/>
                  </a:lnTo>
                  <a:cubicBezTo>
                    <a:pt x="156" y="530"/>
                    <a:pt x="222" y="526"/>
                    <a:pt x="257" y="521"/>
                  </a:cubicBezTo>
                  <a:lnTo>
                    <a:pt x="257" y="521"/>
                  </a:lnTo>
                  <a:cubicBezTo>
                    <a:pt x="323" y="509"/>
                    <a:pt x="473" y="458"/>
                    <a:pt x="473" y="396"/>
                  </a:cubicBezTo>
                  <a:lnTo>
                    <a:pt x="473" y="365"/>
                  </a:lnTo>
                  <a:lnTo>
                    <a:pt x="473" y="365"/>
                  </a:lnTo>
                  <a:cubicBezTo>
                    <a:pt x="473" y="346"/>
                    <a:pt x="478" y="328"/>
                    <a:pt x="496" y="319"/>
                  </a:cubicBezTo>
                  <a:lnTo>
                    <a:pt x="496" y="319"/>
                  </a:lnTo>
                  <a:cubicBezTo>
                    <a:pt x="506" y="336"/>
                    <a:pt x="516" y="343"/>
                    <a:pt x="524" y="356"/>
                  </a:cubicBezTo>
                  <a:lnTo>
                    <a:pt x="524" y="356"/>
                  </a:lnTo>
                  <a:cubicBezTo>
                    <a:pt x="545" y="343"/>
                    <a:pt x="535" y="316"/>
                    <a:pt x="545" y="295"/>
                  </a:cubicBezTo>
                  <a:lnTo>
                    <a:pt x="545" y="295"/>
                  </a:lnTo>
                  <a:cubicBezTo>
                    <a:pt x="559" y="303"/>
                    <a:pt x="568" y="310"/>
                    <a:pt x="583" y="310"/>
                  </a:cubicBezTo>
                  <a:lnTo>
                    <a:pt x="583" y="310"/>
                  </a:lnTo>
                  <a:cubicBezTo>
                    <a:pt x="583" y="259"/>
                    <a:pt x="619" y="251"/>
                    <a:pt x="623" y="210"/>
                  </a:cubicBezTo>
                  <a:lnTo>
                    <a:pt x="623" y="210"/>
                  </a:lnTo>
                  <a:cubicBezTo>
                    <a:pt x="673" y="210"/>
                    <a:pt x="681" y="172"/>
                    <a:pt x="720" y="172"/>
                  </a:cubicBezTo>
                  <a:lnTo>
                    <a:pt x="720" y="172"/>
                  </a:lnTo>
                  <a:cubicBezTo>
                    <a:pt x="753" y="172"/>
                    <a:pt x="771" y="210"/>
                    <a:pt x="775" y="242"/>
                  </a:cubicBezTo>
                  <a:lnTo>
                    <a:pt x="775" y="242"/>
                  </a:lnTo>
                  <a:cubicBezTo>
                    <a:pt x="784" y="229"/>
                    <a:pt x="799" y="222"/>
                    <a:pt x="815" y="222"/>
                  </a:cubicBezTo>
                  <a:lnTo>
                    <a:pt x="815" y="222"/>
                  </a:lnTo>
                  <a:cubicBezTo>
                    <a:pt x="825" y="222"/>
                    <a:pt x="839" y="235"/>
                    <a:pt x="843" y="236"/>
                  </a:cubicBezTo>
                  <a:lnTo>
                    <a:pt x="843" y="236"/>
                  </a:lnTo>
                  <a:cubicBezTo>
                    <a:pt x="854" y="220"/>
                    <a:pt x="848" y="208"/>
                    <a:pt x="848" y="191"/>
                  </a:cubicBezTo>
                  <a:lnTo>
                    <a:pt x="848" y="191"/>
                  </a:lnTo>
                  <a:cubicBezTo>
                    <a:pt x="848" y="165"/>
                    <a:pt x="876" y="152"/>
                    <a:pt x="876" y="127"/>
                  </a:cubicBezTo>
                  <a:lnTo>
                    <a:pt x="876" y="127"/>
                  </a:lnTo>
                  <a:cubicBezTo>
                    <a:pt x="876" y="101"/>
                    <a:pt x="949" y="85"/>
                    <a:pt x="980" y="85"/>
                  </a:cubicBezTo>
                  <a:lnTo>
                    <a:pt x="980" y="85"/>
                  </a:lnTo>
                  <a:cubicBezTo>
                    <a:pt x="993" y="85"/>
                    <a:pt x="1008" y="74"/>
                    <a:pt x="1013" y="72"/>
                  </a:cubicBezTo>
                  <a:lnTo>
                    <a:pt x="1013" y="72"/>
                  </a:lnTo>
                  <a:cubicBezTo>
                    <a:pt x="1002" y="56"/>
                    <a:pt x="984" y="50"/>
                    <a:pt x="980" y="30"/>
                  </a:cubicBezTo>
                  <a:lnTo>
                    <a:pt x="980" y="30"/>
                  </a:lnTo>
                  <a:cubicBezTo>
                    <a:pt x="1043" y="56"/>
                    <a:pt x="1079" y="81"/>
                    <a:pt x="1145" y="81"/>
                  </a:cubicBezTo>
                  <a:lnTo>
                    <a:pt x="1145" y="81"/>
                  </a:lnTo>
                  <a:cubicBezTo>
                    <a:pt x="1169" y="81"/>
                    <a:pt x="1176" y="66"/>
                    <a:pt x="1196" y="66"/>
                  </a:cubicBezTo>
                  <a:lnTo>
                    <a:pt x="1196" y="66"/>
                  </a:lnTo>
                  <a:cubicBezTo>
                    <a:pt x="1208" y="66"/>
                    <a:pt x="1233" y="85"/>
                    <a:pt x="1233" y="100"/>
                  </a:cubicBezTo>
                  <a:lnTo>
                    <a:pt x="1233" y="100"/>
                  </a:lnTo>
                  <a:cubicBezTo>
                    <a:pt x="1233" y="123"/>
                    <a:pt x="1205" y="125"/>
                    <a:pt x="1191" y="136"/>
                  </a:cubicBezTo>
                  <a:lnTo>
                    <a:pt x="1169" y="228"/>
                  </a:lnTo>
                  <a:lnTo>
                    <a:pt x="1169" y="228"/>
                  </a:lnTo>
                  <a:cubicBezTo>
                    <a:pt x="1169" y="242"/>
                    <a:pt x="1195" y="239"/>
                    <a:pt x="1205" y="246"/>
                  </a:cubicBezTo>
                  <a:lnTo>
                    <a:pt x="1205" y="246"/>
                  </a:lnTo>
                  <a:cubicBezTo>
                    <a:pt x="1216" y="253"/>
                    <a:pt x="1216" y="281"/>
                    <a:pt x="1224" y="282"/>
                  </a:cubicBezTo>
                  <a:lnTo>
                    <a:pt x="1224" y="282"/>
                  </a:lnTo>
                  <a:cubicBezTo>
                    <a:pt x="1274" y="301"/>
                    <a:pt x="1301" y="310"/>
                    <a:pt x="1347" y="328"/>
                  </a:cubicBezTo>
                  <a:lnTo>
                    <a:pt x="1347" y="328"/>
                  </a:lnTo>
                  <a:cubicBezTo>
                    <a:pt x="1372" y="337"/>
                    <a:pt x="1382" y="377"/>
                    <a:pt x="1416" y="377"/>
                  </a:cubicBezTo>
                  <a:lnTo>
                    <a:pt x="1416" y="377"/>
                  </a:lnTo>
                  <a:cubicBezTo>
                    <a:pt x="1473" y="377"/>
                    <a:pt x="1484" y="269"/>
                    <a:pt x="1493" y="228"/>
                  </a:cubicBezTo>
                  <a:lnTo>
                    <a:pt x="1493" y="63"/>
                  </a:lnTo>
                  <a:lnTo>
                    <a:pt x="1493" y="63"/>
                  </a:lnTo>
                  <a:cubicBezTo>
                    <a:pt x="1522" y="41"/>
                    <a:pt x="1514" y="17"/>
                    <a:pt x="1545" y="0"/>
                  </a:cubicBezTo>
                  <a:lnTo>
                    <a:pt x="1545" y="0"/>
                  </a:lnTo>
                  <a:cubicBezTo>
                    <a:pt x="1550" y="50"/>
                    <a:pt x="1574" y="83"/>
                    <a:pt x="1585" y="118"/>
                  </a:cubicBezTo>
                  <a:lnTo>
                    <a:pt x="1585" y="118"/>
                  </a:lnTo>
                  <a:cubicBezTo>
                    <a:pt x="1592" y="143"/>
                    <a:pt x="1583" y="176"/>
                    <a:pt x="1603" y="191"/>
                  </a:cubicBezTo>
                  <a:lnTo>
                    <a:pt x="1603" y="191"/>
                  </a:lnTo>
                  <a:cubicBezTo>
                    <a:pt x="1622" y="196"/>
                    <a:pt x="1657" y="208"/>
                    <a:pt x="1663" y="211"/>
                  </a:cubicBezTo>
                  <a:lnTo>
                    <a:pt x="1663" y="211"/>
                  </a:lnTo>
                  <a:cubicBezTo>
                    <a:pt x="1686" y="226"/>
                    <a:pt x="1686" y="284"/>
                    <a:pt x="1695" y="313"/>
                  </a:cubicBezTo>
                  <a:lnTo>
                    <a:pt x="1695" y="313"/>
                  </a:lnTo>
                  <a:cubicBezTo>
                    <a:pt x="1711" y="363"/>
                    <a:pt x="1726" y="387"/>
                    <a:pt x="1741" y="433"/>
                  </a:cubicBezTo>
                  <a:lnTo>
                    <a:pt x="1741" y="433"/>
                  </a:lnTo>
                  <a:cubicBezTo>
                    <a:pt x="1755" y="477"/>
                    <a:pt x="1834" y="493"/>
                    <a:pt x="1865" y="524"/>
                  </a:cubicBezTo>
                  <a:lnTo>
                    <a:pt x="1865" y="524"/>
                  </a:lnTo>
                  <a:cubicBezTo>
                    <a:pt x="1887" y="547"/>
                    <a:pt x="1891" y="581"/>
                    <a:pt x="1898" y="607"/>
                  </a:cubicBezTo>
                  <a:lnTo>
                    <a:pt x="1898" y="607"/>
                  </a:lnTo>
                  <a:cubicBezTo>
                    <a:pt x="1905" y="630"/>
                    <a:pt x="1935" y="630"/>
                    <a:pt x="1959" y="630"/>
                  </a:cubicBezTo>
                  <a:lnTo>
                    <a:pt x="1959" y="630"/>
                  </a:lnTo>
                  <a:cubicBezTo>
                    <a:pt x="1959" y="704"/>
                    <a:pt x="2028" y="735"/>
                    <a:pt x="2063" y="770"/>
                  </a:cubicBezTo>
                  <a:lnTo>
                    <a:pt x="2061" y="77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5" name="Freeform 33">
              <a:extLst>
                <a:ext uri="{FF2B5EF4-FFF2-40B4-BE49-F238E27FC236}">
                  <a16:creationId xmlns:a16="http://schemas.microsoft.com/office/drawing/2014/main" id="{8286E500-45D0-5648-B3FB-D97CBBBE9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63921" y="8367281"/>
              <a:ext cx="259227" cy="256346"/>
            </a:xfrm>
            <a:custGeom>
              <a:avLst/>
              <a:gdLst>
                <a:gd name="T0" fmla="*/ 240 w 399"/>
                <a:gd name="T1" fmla="*/ 110 h 393"/>
                <a:gd name="T2" fmla="*/ 240 w 399"/>
                <a:gd name="T3" fmla="*/ 110 h 393"/>
                <a:gd name="T4" fmla="*/ 242 w 399"/>
                <a:gd name="T5" fmla="*/ 91 h 393"/>
                <a:gd name="T6" fmla="*/ 242 w 399"/>
                <a:gd name="T7" fmla="*/ 91 h 393"/>
                <a:gd name="T8" fmla="*/ 275 w 399"/>
                <a:gd name="T9" fmla="*/ 72 h 393"/>
                <a:gd name="T10" fmla="*/ 275 w 399"/>
                <a:gd name="T11" fmla="*/ 72 h 393"/>
                <a:gd name="T12" fmla="*/ 277 w 399"/>
                <a:gd name="T13" fmla="*/ 60 h 393"/>
                <a:gd name="T14" fmla="*/ 277 w 399"/>
                <a:gd name="T15" fmla="*/ 60 h 393"/>
                <a:gd name="T16" fmla="*/ 321 w 399"/>
                <a:gd name="T17" fmla="*/ 0 h 393"/>
                <a:gd name="T18" fmla="*/ 321 w 399"/>
                <a:gd name="T19" fmla="*/ 0 h 393"/>
                <a:gd name="T20" fmla="*/ 334 w 399"/>
                <a:gd name="T21" fmla="*/ 18 h 393"/>
                <a:gd name="T22" fmla="*/ 334 w 399"/>
                <a:gd name="T23" fmla="*/ 18 h 393"/>
                <a:gd name="T24" fmla="*/ 343 w 399"/>
                <a:gd name="T25" fmla="*/ 44 h 393"/>
                <a:gd name="T26" fmla="*/ 343 w 399"/>
                <a:gd name="T27" fmla="*/ 44 h 393"/>
                <a:gd name="T28" fmla="*/ 374 w 399"/>
                <a:gd name="T29" fmla="*/ 27 h 393"/>
                <a:gd name="T30" fmla="*/ 374 w 399"/>
                <a:gd name="T31" fmla="*/ 27 h 393"/>
                <a:gd name="T32" fmla="*/ 387 w 399"/>
                <a:gd name="T33" fmla="*/ 34 h 393"/>
                <a:gd name="T34" fmla="*/ 387 w 399"/>
                <a:gd name="T35" fmla="*/ 34 h 393"/>
                <a:gd name="T36" fmla="*/ 398 w 399"/>
                <a:gd name="T37" fmla="*/ 62 h 393"/>
                <a:gd name="T38" fmla="*/ 398 w 399"/>
                <a:gd name="T39" fmla="*/ 62 h 393"/>
                <a:gd name="T40" fmla="*/ 327 w 399"/>
                <a:gd name="T41" fmla="*/ 154 h 393"/>
                <a:gd name="T42" fmla="*/ 327 w 399"/>
                <a:gd name="T43" fmla="*/ 154 h 393"/>
                <a:gd name="T44" fmla="*/ 327 w 399"/>
                <a:gd name="T45" fmla="*/ 211 h 393"/>
                <a:gd name="T46" fmla="*/ 327 w 399"/>
                <a:gd name="T47" fmla="*/ 211 h 393"/>
                <a:gd name="T48" fmla="*/ 258 w 399"/>
                <a:gd name="T49" fmla="*/ 220 h 393"/>
                <a:gd name="T50" fmla="*/ 258 w 399"/>
                <a:gd name="T51" fmla="*/ 220 h 393"/>
                <a:gd name="T52" fmla="*/ 202 w 399"/>
                <a:gd name="T53" fmla="*/ 348 h 393"/>
                <a:gd name="T54" fmla="*/ 202 w 399"/>
                <a:gd name="T55" fmla="*/ 348 h 393"/>
                <a:gd name="T56" fmla="*/ 132 w 399"/>
                <a:gd name="T57" fmla="*/ 392 h 393"/>
                <a:gd name="T58" fmla="*/ 132 w 399"/>
                <a:gd name="T59" fmla="*/ 392 h 393"/>
                <a:gd name="T60" fmla="*/ 92 w 399"/>
                <a:gd name="T61" fmla="*/ 383 h 393"/>
                <a:gd name="T62" fmla="*/ 92 w 399"/>
                <a:gd name="T63" fmla="*/ 383 h 393"/>
                <a:gd name="T64" fmla="*/ 10 w 399"/>
                <a:gd name="T65" fmla="*/ 346 h 393"/>
                <a:gd name="T66" fmla="*/ 10 w 399"/>
                <a:gd name="T67" fmla="*/ 346 h 393"/>
                <a:gd name="T68" fmla="*/ 0 w 399"/>
                <a:gd name="T69" fmla="*/ 339 h 393"/>
                <a:gd name="T70" fmla="*/ 0 w 399"/>
                <a:gd name="T71" fmla="*/ 339 h 393"/>
                <a:gd name="T72" fmla="*/ 74 w 399"/>
                <a:gd name="T73" fmla="*/ 238 h 393"/>
                <a:gd name="T74" fmla="*/ 74 w 399"/>
                <a:gd name="T75" fmla="*/ 238 h 393"/>
                <a:gd name="T76" fmla="*/ 103 w 399"/>
                <a:gd name="T77" fmla="*/ 214 h 393"/>
                <a:gd name="T78" fmla="*/ 103 w 399"/>
                <a:gd name="T79" fmla="*/ 214 h 393"/>
                <a:gd name="T80" fmla="*/ 206 w 399"/>
                <a:gd name="T81" fmla="*/ 154 h 393"/>
                <a:gd name="T82" fmla="*/ 206 w 399"/>
                <a:gd name="T83" fmla="*/ 154 h 393"/>
                <a:gd name="T84" fmla="*/ 240 w 399"/>
                <a:gd name="T85" fmla="*/ 11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9" h="393">
                  <a:moveTo>
                    <a:pt x="240" y="110"/>
                  </a:moveTo>
                  <a:lnTo>
                    <a:pt x="240" y="110"/>
                  </a:lnTo>
                  <a:cubicBezTo>
                    <a:pt x="240" y="110"/>
                    <a:pt x="240" y="97"/>
                    <a:pt x="242" y="91"/>
                  </a:cubicBezTo>
                  <a:lnTo>
                    <a:pt x="242" y="91"/>
                  </a:lnTo>
                  <a:cubicBezTo>
                    <a:pt x="250" y="77"/>
                    <a:pt x="261" y="73"/>
                    <a:pt x="275" y="72"/>
                  </a:cubicBezTo>
                  <a:lnTo>
                    <a:pt x="275" y="72"/>
                  </a:lnTo>
                  <a:cubicBezTo>
                    <a:pt x="275" y="68"/>
                    <a:pt x="277" y="64"/>
                    <a:pt x="277" y="60"/>
                  </a:cubicBezTo>
                  <a:lnTo>
                    <a:pt x="277" y="60"/>
                  </a:lnTo>
                  <a:cubicBezTo>
                    <a:pt x="277" y="33"/>
                    <a:pt x="304" y="7"/>
                    <a:pt x="321" y="0"/>
                  </a:cubicBezTo>
                  <a:lnTo>
                    <a:pt x="321" y="0"/>
                  </a:lnTo>
                  <a:cubicBezTo>
                    <a:pt x="321" y="13"/>
                    <a:pt x="328" y="18"/>
                    <a:pt x="334" y="18"/>
                  </a:cubicBezTo>
                  <a:lnTo>
                    <a:pt x="334" y="18"/>
                  </a:lnTo>
                  <a:cubicBezTo>
                    <a:pt x="334" y="31"/>
                    <a:pt x="332" y="44"/>
                    <a:pt x="343" y="44"/>
                  </a:cubicBezTo>
                  <a:lnTo>
                    <a:pt x="343" y="44"/>
                  </a:lnTo>
                  <a:cubicBezTo>
                    <a:pt x="356" y="44"/>
                    <a:pt x="365" y="31"/>
                    <a:pt x="374" y="27"/>
                  </a:cubicBezTo>
                  <a:lnTo>
                    <a:pt x="374" y="27"/>
                  </a:lnTo>
                  <a:cubicBezTo>
                    <a:pt x="376" y="33"/>
                    <a:pt x="381" y="34"/>
                    <a:pt x="387" y="34"/>
                  </a:cubicBezTo>
                  <a:lnTo>
                    <a:pt x="387" y="34"/>
                  </a:lnTo>
                  <a:cubicBezTo>
                    <a:pt x="387" y="49"/>
                    <a:pt x="391" y="58"/>
                    <a:pt x="398" y="62"/>
                  </a:cubicBezTo>
                  <a:lnTo>
                    <a:pt x="398" y="62"/>
                  </a:lnTo>
                  <a:cubicBezTo>
                    <a:pt x="392" y="86"/>
                    <a:pt x="356" y="154"/>
                    <a:pt x="327" y="154"/>
                  </a:cubicBezTo>
                  <a:lnTo>
                    <a:pt x="327" y="154"/>
                  </a:lnTo>
                  <a:cubicBezTo>
                    <a:pt x="321" y="181"/>
                    <a:pt x="330" y="189"/>
                    <a:pt x="327" y="211"/>
                  </a:cubicBezTo>
                  <a:lnTo>
                    <a:pt x="327" y="211"/>
                  </a:lnTo>
                  <a:cubicBezTo>
                    <a:pt x="317" y="211"/>
                    <a:pt x="273" y="220"/>
                    <a:pt x="258" y="220"/>
                  </a:cubicBezTo>
                  <a:lnTo>
                    <a:pt x="258" y="220"/>
                  </a:lnTo>
                  <a:cubicBezTo>
                    <a:pt x="253" y="242"/>
                    <a:pt x="202" y="348"/>
                    <a:pt x="202" y="348"/>
                  </a:cubicBezTo>
                  <a:lnTo>
                    <a:pt x="202" y="348"/>
                  </a:lnTo>
                  <a:cubicBezTo>
                    <a:pt x="185" y="365"/>
                    <a:pt x="152" y="392"/>
                    <a:pt x="132" y="392"/>
                  </a:cubicBezTo>
                  <a:lnTo>
                    <a:pt x="132" y="392"/>
                  </a:lnTo>
                  <a:cubicBezTo>
                    <a:pt x="125" y="392"/>
                    <a:pt x="103" y="383"/>
                    <a:pt x="92" y="383"/>
                  </a:cubicBezTo>
                  <a:lnTo>
                    <a:pt x="92" y="383"/>
                  </a:lnTo>
                  <a:cubicBezTo>
                    <a:pt x="81" y="383"/>
                    <a:pt x="10" y="355"/>
                    <a:pt x="10" y="346"/>
                  </a:cubicBezTo>
                  <a:lnTo>
                    <a:pt x="10" y="346"/>
                  </a:lnTo>
                  <a:cubicBezTo>
                    <a:pt x="6" y="346"/>
                    <a:pt x="0" y="343"/>
                    <a:pt x="0" y="339"/>
                  </a:cubicBezTo>
                  <a:lnTo>
                    <a:pt x="0" y="339"/>
                  </a:lnTo>
                  <a:cubicBezTo>
                    <a:pt x="0" y="291"/>
                    <a:pt x="55" y="265"/>
                    <a:pt x="74" y="238"/>
                  </a:cubicBezTo>
                  <a:lnTo>
                    <a:pt x="74" y="238"/>
                  </a:lnTo>
                  <a:cubicBezTo>
                    <a:pt x="81" y="225"/>
                    <a:pt x="90" y="214"/>
                    <a:pt x="103" y="214"/>
                  </a:cubicBezTo>
                  <a:lnTo>
                    <a:pt x="103" y="214"/>
                  </a:lnTo>
                  <a:cubicBezTo>
                    <a:pt x="147" y="214"/>
                    <a:pt x="175" y="168"/>
                    <a:pt x="206" y="154"/>
                  </a:cubicBezTo>
                  <a:lnTo>
                    <a:pt x="206" y="154"/>
                  </a:lnTo>
                  <a:cubicBezTo>
                    <a:pt x="215" y="150"/>
                    <a:pt x="240" y="110"/>
                    <a:pt x="240" y="11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6" name="Freeform 34">
              <a:extLst>
                <a:ext uri="{FF2B5EF4-FFF2-40B4-BE49-F238E27FC236}">
                  <a16:creationId xmlns:a16="http://schemas.microsoft.com/office/drawing/2014/main" id="{19B1765C-2C74-7842-8E80-84685A17B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77062" y="8122454"/>
              <a:ext cx="195861" cy="282270"/>
            </a:xfrm>
            <a:custGeom>
              <a:avLst/>
              <a:gdLst>
                <a:gd name="T0" fmla="*/ 93 w 299"/>
                <a:gd name="T1" fmla="*/ 164 h 433"/>
                <a:gd name="T2" fmla="*/ 93 w 299"/>
                <a:gd name="T3" fmla="*/ 164 h 433"/>
                <a:gd name="T4" fmla="*/ 73 w 299"/>
                <a:gd name="T5" fmla="*/ 129 h 433"/>
                <a:gd name="T6" fmla="*/ 73 w 299"/>
                <a:gd name="T7" fmla="*/ 129 h 433"/>
                <a:gd name="T8" fmla="*/ 79 w 299"/>
                <a:gd name="T9" fmla="*/ 111 h 433"/>
                <a:gd name="T10" fmla="*/ 79 w 299"/>
                <a:gd name="T11" fmla="*/ 111 h 433"/>
                <a:gd name="T12" fmla="*/ 0 w 299"/>
                <a:gd name="T13" fmla="*/ 0 h 433"/>
                <a:gd name="T14" fmla="*/ 0 w 299"/>
                <a:gd name="T15" fmla="*/ 0 h 433"/>
                <a:gd name="T16" fmla="*/ 69 w 299"/>
                <a:gd name="T17" fmla="*/ 51 h 433"/>
                <a:gd name="T18" fmla="*/ 69 w 299"/>
                <a:gd name="T19" fmla="*/ 51 h 433"/>
                <a:gd name="T20" fmla="*/ 92 w 299"/>
                <a:gd name="T21" fmla="*/ 80 h 433"/>
                <a:gd name="T22" fmla="*/ 92 w 299"/>
                <a:gd name="T23" fmla="*/ 80 h 433"/>
                <a:gd name="T24" fmla="*/ 84 w 299"/>
                <a:gd name="T25" fmla="*/ 93 h 433"/>
                <a:gd name="T26" fmla="*/ 84 w 299"/>
                <a:gd name="T27" fmla="*/ 93 h 433"/>
                <a:gd name="T28" fmla="*/ 115 w 299"/>
                <a:gd name="T29" fmla="*/ 151 h 433"/>
                <a:gd name="T30" fmla="*/ 126 w 299"/>
                <a:gd name="T31" fmla="*/ 151 h 433"/>
                <a:gd name="T32" fmla="*/ 126 w 299"/>
                <a:gd name="T33" fmla="*/ 151 h 433"/>
                <a:gd name="T34" fmla="*/ 143 w 299"/>
                <a:gd name="T35" fmla="*/ 133 h 433"/>
                <a:gd name="T36" fmla="*/ 154 w 299"/>
                <a:gd name="T37" fmla="*/ 133 h 433"/>
                <a:gd name="T38" fmla="*/ 154 w 299"/>
                <a:gd name="T39" fmla="*/ 133 h 433"/>
                <a:gd name="T40" fmla="*/ 221 w 299"/>
                <a:gd name="T41" fmla="*/ 208 h 433"/>
                <a:gd name="T42" fmla="*/ 221 w 299"/>
                <a:gd name="T43" fmla="*/ 208 h 433"/>
                <a:gd name="T44" fmla="*/ 284 w 299"/>
                <a:gd name="T45" fmla="*/ 190 h 433"/>
                <a:gd name="T46" fmla="*/ 284 w 299"/>
                <a:gd name="T47" fmla="*/ 190 h 433"/>
                <a:gd name="T48" fmla="*/ 298 w 299"/>
                <a:gd name="T49" fmla="*/ 201 h 433"/>
                <a:gd name="T50" fmla="*/ 298 w 299"/>
                <a:gd name="T51" fmla="*/ 201 h 433"/>
                <a:gd name="T52" fmla="*/ 262 w 299"/>
                <a:gd name="T53" fmla="*/ 293 h 433"/>
                <a:gd name="T54" fmla="*/ 254 w 299"/>
                <a:gd name="T55" fmla="*/ 283 h 433"/>
                <a:gd name="T56" fmla="*/ 254 w 299"/>
                <a:gd name="T57" fmla="*/ 283 h 433"/>
                <a:gd name="T58" fmla="*/ 249 w 299"/>
                <a:gd name="T59" fmla="*/ 289 h 433"/>
                <a:gd name="T60" fmla="*/ 249 w 299"/>
                <a:gd name="T61" fmla="*/ 289 h 433"/>
                <a:gd name="T62" fmla="*/ 212 w 299"/>
                <a:gd name="T63" fmla="*/ 313 h 433"/>
                <a:gd name="T64" fmla="*/ 212 w 299"/>
                <a:gd name="T65" fmla="*/ 313 h 433"/>
                <a:gd name="T66" fmla="*/ 220 w 299"/>
                <a:gd name="T67" fmla="*/ 331 h 433"/>
                <a:gd name="T68" fmla="*/ 220 w 299"/>
                <a:gd name="T69" fmla="*/ 331 h 433"/>
                <a:gd name="T70" fmla="*/ 194 w 299"/>
                <a:gd name="T71" fmla="*/ 368 h 433"/>
                <a:gd name="T72" fmla="*/ 194 w 299"/>
                <a:gd name="T73" fmla="*/ 368 h 433"/>
                <a:gd name="T74" fmla="*/ 126 w 299"/>
                <a:gd name="T75" fmla="*/ 432 h 433"/>
                <a:gd name="T76" fmla="*/ 126 w 299"/>
                <a:gd name="T77" fmla="*/ 432 h 433"/>
                <a:gd name="T78" fmla="*/ 99 w 299"/>
                <a:gd name="T79" fmla="*/ 408 h 433"/>
                <a:gd name="T80" fmla="*/ 99 w 299"/>
                <a:gd name="T81" fmla="*/ 408 h 433"/>
                <a:gd name="T82" fmla="*/ 120 w 299"/>
                <a:gd name="T83" fmla="*/ 355 h 433"/>
                <a:gd name="T84" fmla="*/ 120 w 299"/>
                <a:gd name="T85" fmla="*/ 355 h 433"/>
                <a:gd name="T86" fmla="*/ 53 w 299"/>
                <a:gd name="T87" fmla="*/ 300 h 433"/>
                <a:gd name="T88" fmla="*/ 53 w 299"/>
                <a:gd name="T89" fmla="*/ 300 h 433"/>
                <a:gd name="T90" fmla="*/ 79 w 299"/>
                <a:gd name="T91" fmla="*/ 270 h 433"/>
                <a:gd name="T92" fmla="*/ 79 w 299"/>
                <a:gd name="T93" fmla="*/ 270 h 433"/>
                <a:gd name="T94" fmla="*/ 100 w 299"/>
                <a:gd name="T95" fmla="*/ 199 h 433"/>
                <a:gd name="T96" fmla="*/ 100 w 299"/>
                <a:gd name="T97" fmla="*/ 199 h 433"/>
                <a:gd name="T98" fmla="*/ 92 w 299"/>
                <a:gd name="T99" fmla="*/ 157 h 433"/>
                <a:gd name="T100" fmla="*/ 93 w 299"/>
                <a:gd name="T101" fmla="*/ 157 h 433"/>
                <a:gd name="T102" fmla="*/ 93 w 299"/>
                <a:gd name="T103" fmla="*/ 16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9" h="433">
                  <a:moveTo>
                    <a:pt x="93" y="164"/>
                  </a:moveTo>
                  <a:lnTo>
                    <a:pt x="93" y="164"/>
                  </a:lnTo>
                  <a:cubicBezTo>
                    <a:pt x="87" y="149"/>
                    <a:pt x="73" y="144"/>
                    <a:pt x="73" y="129"/>
                  </a:cubicBezTo>
                  <a:lnTo>
                    <a:pt x="73" y="129"/>
                  </a:lnTo>
                  <a:cubicBezTo>
                    <a:pt x="73" y="124"/>
                    <a:pt x="77" y="117"/>
                    <a:pt x="79" y="111"/>
                  </a:cubicBezTo>
                  <a:lnTo>
                    <a:pt x="79" y="111"/>
                  </a:lnTo>
                  <a:cubicBezTo>
                    <a:pt x="36" y="104"/>
                    <a:pt x="11" y="43"/>
                    <a:pt x="0" y="0"/>
                  </a:cubicBezTo>
                  <a:lnTo>
                    <a:pt x="0" y="0"/>
                  </a:lnTo>
                  <a:cubicBezTo>
                    <a:pt x="20" y="30"/>
                    <a:pt x="51" y="33"/>
                    <a:pt x="69" y="51"/>
                  </a:cubicBezTo>
                  <a:lnTo>
                    <a:pt x="69" y="51"/>
                  </a:lnTo>
                  <a:cubicBezTo>
                    <a:pt x="80" y="62"/>
                    <a:pt x="80" y="75"/>
                    <a:pt x="92" y="80"/>
                  </a:cubicBezTo>
                  <a:lnTo>
                    <a:pt x="92" y="80"/>
                  </a:lnTo>
                  <a:cubicBezTo>
                    <a:pt x="89" y="86"/>
                    <a:pt x="84" y="87"/>
                    <a:pt x="84" y="93"/>
                  </a:cubicBezTo>
                  <a:lnTo>
                    <a:pt x="84" y="93"/>
                  </a:lnTo>
                  <a:cubicBezTo>
                    <a:pt x="84" y="102"/>
                    <a:pt x="106" y="142"/>
                    <a:pt x="115" y="151"/>
                  </a:cubicBezTo>
                  <a:lnTo>
                    <a:pt x="126" y="151"/>
                  </a:lnTo>
                  <a:lnTo>
                    <a:pt x="126" y="151"/>
                  </a:lnTo>
                  <a:cubicBezTo>
                    <a:pt x="126" y="141"/>
                    <a:pt x="133" y="133"/>
                    <a:pt x="143" y="133"/>
                  </a:cubicBezTo>
                  <a:lnTo>
                    <a:pt x="154" y="133"/>
                  </a:lnTo>
                  <a:lnTo>
                    <a:pt x="154" y="133"/>
                  </a:lnTo>
                  <a:cubicBezTo>
                    <a:pt x="154" y="180"/>
                    <a:pt x="177" y="208"/>
                    <a:pt x="221" y="208"/>
                  </a:cubicBezTo>
                  <a:lnTo>
                    <a:pt x="221" y="208"/>
                  </a:lnTo>
                  <a:cubicBezTo>
                    <a:pt x="256" y="208"/>
                    <a:pt x="254" y="190"/>
                    <a:pt x="284" y="190"/>
                  </a:cubicBezTo>
                  <a:lnTo>
                    <a:pt x="284" y="190"/>
                  </a:lnTo>
                  <a:cubicBezTo>
                    <a:pt x="289" y="190"/>
                    <a:pt x="295" y="195"/>
                    <a:pt x="298" y="201"/>
                  </a:cubicBezTo>
                  <a:lnTo>
                    <a:pt x="298" y="201"/>
                  </a:lnTo>
                  <a:cubicBezTo>
                    <a:pt x="273" y="227"/>
                    <a:pt x="280" y="265"/>
                    <a:pt x="262" y="293"/>
                  </a:cubicBezTo>
                  <a:lnTo>
                    <a:pt x="254" y="283"/>
                  </a:lnTo>
                  <a:lnTo>
                    <a:pt x="254" y="283"/>
                  </a:lnTo>
                  <a:cubicBezTo>
                    <a:pt x="253" y="283"/>
                    <a:pt x="251" y="289"/>
                    <a:pt x="249" y="289"/>
                  </a:cubicBezTo>
                  <a:lnTo>
                    <a:pt x="249" y="289"/>
                  </a:lnTo>
                  <a:cubicBezTo>
                    <a:pt x="231" y="293"/>
                    <a:pt x="212" y="298"/>
                    <a:pt x="212" y="313"/>
                  </a:cubicBezTo>
                  <a:lnTo>
                    <a:pt x="212" y="313"/>
                  </a:lnTo>
                  <a:cubicBezTo>
                    <a:pt x="212" y="318"/>
                    <a:pt x="220" y="326"/>
                    <a:pt x="220" y="331"/>
                  </a:cubicBezTo>
                  <a:lnTo>
                    <a:pt x="220" y="331"/>
                  </a:lnTo>
                  <a:cubicBezTo>
                    <a:pt x="220" y="344"/>
                    <a:pt x="197" y="362"/>
                    <a:pt x="194" y="368"/>
                  </a:cubicBezTo>
                  <a:lnTo>
                    <a:pt x="194" y="368"/>
                  </a:lnTo>
                  <a:cubicBezTo>
                    <a:pt x="175" y="395"/>
                    <a:pt x="164" y="432"/>
                    <a:pt x="126" y="432"/>
                  </a:cubicBezTo>
                  <a:lnTo>
                    <a:pt x="126" y="432"/>
                  </a:lnTo>
                  <a:cubicBezTo>
                    <a:pt x="110" y="432"/>
                    <a:pt x="99" y="423"/>
                    <a:pt x="99" y="408"/>
                  </a:cubicBezTo>
                  <a:lnTo>
                    <a:pt x="99" y="408"/>
                  </a:lnTo>
                  <a:cubicBezTo>
                    <a:pt x="99" y="386"/>
                    <a:pt x="120" y="377"/>
                    <a:pt x="120" y="355"/>
                  </a:cubicBezTo>
                  <a:lnTo>
                    <a:pt x="120" y="355"/>
                  </a:lnTo>
                  <a:cubicBezTo>
                    <a:pt x="120" y="318"/>
                    <a:pt x="53" y="333"/>
                    <a:pt x="53" y="300"/>
                  </a:cubicBezTo>
                  <a:lnTo>
                    <a:pt x="53" y="300"/>
                  </a:lnTo>
                  <a:cubicBezTo>
                    <a:pt x="53" y="282"/>
                    <a:pt x="69" y="280"/>
                    <a:pt x="79" y="270"/>
                  </a:cubicBezTo>
                  <a:lnTo>
                    <a:pt x="79" y="270"/>
                  </a:lnTo>
                  <a:cubicBezTo>
                    <a:pt x="97" y="252"/>
                    <a:pt x="100" y="227"/>
                    <a:pt x="100" y="199"/>
                  </a:cubicBezTo>
                  <a:lnTo>
                    <a:pt x="100" y="199"/>
                  </a:lnTo>
                  <a:cubicBezTo>
                    <a:pt x="100" y="185"/>
                    <a:pt x="93" y="164"/>
                    <a:pt x="92" y="157"/>
                  </a:cubicBezTo>
                  <a:lnTo>
                    <a:pt x="93" y="157"/>
                  </a:lnTo>
                  <a:lnTo>
                    <a:pt x="93" y="16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7" name="Freeform 35">
              <a:extLst>
                <a:ext uri="{FF2B5EF4-FFF2-40B4-BE49-F238E27FC236}">
                  <a16:creationId xmlns:a16="http://schemas.microsoft.com/office/drawing/2014/main" id="{C9E567D7-5CB5-D746-A622-21E5D70776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23958" y="7494549"/>
              <a:ext cx="43205" cy="31684"/>
            </a:xfrm>
            <a:custGeom>
              <a:avLst/>
              <a:gdLst>
                <a:gd name="T0" fmla="*/ 42 w 65"/>
                <a:gd name="T1" fmla="*/ 0 h 50"/>
                <a:gd name="T2" fmla="*/ 42 w 65"/>
                <a:gd name="T3" fmla="*/ 0 h 50"/>
                <a:gd name="T4" fmla="*/ 64 w 65"/>
                <a:gd name="T5" fmla="*/ 16 h 50"/>
                <a:gd name="T6" fmla="*/ 64 w 65"/>
                <a:gd name="T7" fmla="*/ 38 h 50"/>
                <a:gd name="T8" fmla="*/ 64 w 65"/>
                <a:gd name="T9" fmla="*/ 38 h 50"/>
                <a:gd name="T10" fmla="*/ 39 w 65"/>
                <a:gd name="T11" fmla="*/ 46 h 50"/>
                <a:gd name="T12" fmla="*/ 39 w 65"/>
                <a:gd name="T13" fmla="*/ 46 h 50"/>
                <a:gd name="T14" fmla="*/ 0 w 65"/>
                <a:gd name="T15" fmla="*/ 34 h 50"/>
                <a:gd name="T16" fmla="*/ 0 w 65"/>
                <a:gd name="T17" fmla="*/ 34 h 50"/>
                <a:gd name="T18" fmla="*/ 42 w 65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50">
                  <a:moveTo>
                    <a:pt x="42" y="0"/>
                  </a:moveTo>
                  <a:lnTo>
                    <a:pt x="42" y="0"/>
                  </a:lnTo>
                  <a:cubicBezTo>
                    <a:pt x="48" y="8"/>
                    <a:pt x="55" y="14"/>
                    <a:pt x="64" y="16"/>
                  </a:cubicBezTo>
                  <a:lnTo>
                    <a:pt x="64" y="38"/>
                  </a:lnTo>
                  <a:lnTo>
                    <a:pt x="64" y="38"/>
                  </a:lnTo>
                  <a:cubicBezTo>
                    <a:pt x="53" y="49"/>
                    <a:pt x="53" y="46"/>
                    <a:pt x="39" y="46"/>
                  </a:cubicBezTo>
                  <a:lnTo>
                    <a:pt x="39" y="46"/>
                  </a:lnTo>
                  <a:cubicBezTo>
                    <a:pt x="24" y="46"/>
                    <a:pt x="0" y="42"/>
                    <a:pt x="0" y="34"/>
                  </a:cubicBezTo>
                  <a:lnTo>
                    <a:pt x="0" y="34"/>
                  </a:lnTo>
                  <a:cubicBezTo>
                    <a:pt x="0" y="10"/>
                    <a:pt x="26" y="5"/>
                    <a:pt x="42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8" name="Freeform 36">
              <a:extLst>
                <a:ext uri="{FF2B5EF4-FFF2-40B4-BE49-F238E27FC236}">
                  <a16:creationId xmlns:a16="http://schemas.microsoft.com/office/drawing/2014/main" id="{22CF7A2A-1380-3042-AB7B-9D3C09B944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0041" y="7459985"/>
              <a:ext cx="37445" cy="28803"/>
            </a:xfrm>
            <a:custGeom>
              <a:avLst/>
              <a:gdLst>
                <a:gd name="T0" fmla="*/ 57 w 58"/>
                <a:gd name="T1" fmla="*/ 0 h 42"/>
                <a:gd name="T2" fmla="*/ 57 w 58"/>
                <a:gd name="T3" fmla="*/ 17 h 42"/>
                <a:gd name="T4" fmla="*/ 57 w 58"/>
                <a:gd name="T5" fmla="*/ 17 h 42"/>
                <a:gd name="T6" fmla="*/ 11 w 58"/>
                <a:gd name="T7" fmla="*/ 41 h 42"/>
                <a:gd name="T8" fmla="*/ 11 w 58"/>
                <a:gd name="T9" fmla="*/ 41 h 42"/>
                <a:gd name="T10" fmla="*/ 0 w 58"/>
                <a:gd name="T11" fmla="*/ 24 h 42"/>
                <a:gd name="T12" fmla="*/ 0 w 58"/>
                <a:gd name="T13" fmla="*/ 24 h 42"/>
                <a:gd name="T14" fmla="*/ 57 w 58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2">
                  <a:moveTo>
                    <a:pt x="57" y="0"/>
                  </a:moveTo>
                  <a:lnTo>
                    <a:pt x="57" y="17"/>
                  </a:lnTo>
                  <a:lnTo>
                    <a:pt x="57" y="17"/>
                  </a:lnTo>
                  <a:cubicBezTo>
                    <a:pt x="35" y="22"/>
                    <a:pt x="30" y="41"/>
                    <a:pt x="11" y="41"/>
                  </a:cubicBezTo>
                  <a:lnTo>
                    <a:pt x="11" y="41"/>
                  </a:lnTo>
                  <a:cubicBezTo>
                    <a:pt x="6" y="41"/>
                    <a:pt x="0" y="30"/>
                    <a:pt x="0" y="24"/>
                  </a:cubicBezTo>
                  <a:lnTo>
                    <a:pt x="0" y="24"/>
                  </a:lnTo>
                  <a:cubicBezTo>
                    <a:pt x="0" y="2"/>
                    <a:pt x="46" y="0"/>
                    <a:pt x="57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09" name="Freeform 37">
              <a:extLst>
                <a:ext uri="{FF2B5EF4-FFF2-40B4-BE49-F238E27FC236}">
                  <a16:creationId xmlns:a16="http://schemas.microsoft.com/office/drawing/2014/main" id="{1171052B-7966-9C41-88DF-61FB2CF8C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1761" y="6558450"/>
              <a:ext cx="155536" cy="146895"/>
            </a:xfrm>
            <a:custGeom>
              <a:avLst/>
              <a:gdLst>
                <a:gd name="T0" fmla="*/ 197 w 239"/>
                <a:gd name="T1" fmla="*/ 157 h 223"/>
                <a:gd name="T2" fmla="*/ 197 w 239"/>
                <a:gd name="T3" fmla="*/ 157 h 223"/>
                <a:gd name="T4" fmla="*/ 188 w 239"/>
                <a:gd name="T5" fmla="*/ 144 h 223"/>
                <a:gd name="T6" fmla="*/ 188 w 239"/>
                <a:gd name="T7" fmla="*/ 144 h 223"/>
                <a:gd name="T8" fmla="*/ 172 w 239"/>
                <a:gd name="T9" fmla="*/ 166 h 223"/>
                <a:gd name="T10" fmla="*/ 172 w 239"/>
                <a:gd name="T11" fmla="*/ 166 h 223"/>
                <a:gd name="T12" fmla="*/ 192 w 239"/>
                <a:gd name="T13" fmla="*/ 200 h 223"/>
                <a:gd name="T14" fmla="*/ 192 w 239"/>
                <a:gd name="T15" fmla="*/ 200 h 223"/>
                <a:gd name="T16" fmla="*/ 173 w 239"/>
                <a:gd name="T17" fmla="*/ 222 h 223"/>
                <a:gd name="T18" fmla="*/ 173 w 239"/>
                <a:gd name="T19" fmla="*/ 222 h 223"/>
                <a:gd name="T20" fmla="*/ 165 w 239"/>
                <a:gd name="T21" fmla="*/ 209 h 223"/>
                <a:gd name="T22" fmla="*/ 165 w 239"/>
                <a:gd name="T23" fmla="*/ 209 h 223"/>
                <a:gd name="T24" fmla="*/ 148 w 239"/>
                <a:gd name="T25" fmla="*/ 210 h 223"/>
                <a:gd name="T26" fmla="*/ 148 w 239"/>
                <a:gd name="T27" fmla="*/ 210 h 223"/>
                <a:gd name="T28" fmla="*/ 106 w 239"/>
                <a:gd name="T29" fmla="*/ 154 h 223"/>
                <a:gd name="T30" fmla="*/ 106 w 239"/>
                <a:gd name="T31" fmla="*/ 154 h 223"/>
                <a:gd name="T32" fmla="*/ 114 w 239"/>
                <a:gd name="T33" fmla="*/ 134 h 223"/>
                <a:gd name="T34" fmla="*/ 114 w 239"/>
                <a:gd name="T35" fmla="*/ 134 h 223"/>
                <a:gd name="T36" fmla="*/ 108 w 239"/>
                <a:gd name="T37" fmla="*/ 119 h 223"/>
                <a:gd name="T38" fmla="*/ 84 w 239"/>
                <a:gd name="T39" fmla="*/ 118 h 223"/>
                <a:gd name="T40" fmla="*/ 84 w 239"/>
                <a:gd name="T41" fmla="*/ 118 h 223"/>
                <a:gd name="T42" fmla="*/ 84 w 239"/>
                <a:gd name="T43" fmla="*/ 133 h 223"/>
                <a:gd name="T44" fmla="*/ 84 w 239"/>
                <a:gd name="T45" fmla="*/ 133 h 223"/>
                <a:gd name="T46" fmla="*/ 68 w 239"/>
                <a:gd name="T47" fmla="*/ 124 h 223"/>
                <a:gd name="T48" fmla="*/ 68 w 239"/>
                <a:gd name="T49" fmla="*/ 124 h 223"/>
                <a:gd name="T50" fmla="*/ 63 w 239"/>
                <a:gd name="T51" fmla="*/ 132 h 223"/>
                <a:gd name="T52" fmla="*/ 63 w 239"/>
                <a:gd name="T53" fmla="*/ 132 h 223"/>
                <a:gd name="T54" fmla="*/ 46 w 239"/>
                <a:gd name="T55" fmla="*/ 118 h 223"/>
                <a:gd name="T56" fmla="*/ 46 w 239"/>
                <a:gd name="T57" fmla="*/ 118 h 223"/>
                <a:gd name="T58" fmla="*/ 13 w 239"/>
                <a:gd name="T59" fmla="*/ 185 h 223"/>
                <a:gd name="T60" fmla="*/ 13 w 239"/>
                <a:gd name="T61" fmla="*/ 185 h 223"/>
                <a:gd name="T62" fmla="*/ 14 w 239"/>
                <a:gd name="T63" fmla="*/ 149 h 223"/>
                <a:gd name="T64" fmla="*/ 14 w 239"/>
                <a:gd name="T65" fmla="*/ 149 h 223"/>
                <a:gd name="T66" fmla="*/ 7 w 239"/>
                <a:gd name="T67" fmla="*/ 133 h 223"/>
                <a:gd name="T68" fmla="*/ 7 w 239"/>
                <a:gd name="T69" fmla="*/ 133 h 223"/>
                <a:gd name="T70" fmla="*/ 18 w 239"/>
                <a:gd name="T71" fmla="*/ 91 h 223"/>
                <a:gd name="T72" fmla="*/ 18 w 239"/>
                <a:gd name="T73" fmla="*/ 91 h 223"/>
                <a:gd name="T74" fmla="*/ 76 w 239"/>
                <a:gd name="T75" fmla="*/ 58 h 223"/>
                <a:gd name="T76" fmla="*/ 76 w 239"/>
                <a:gd name="T77" fmla="*/ 58 h 223"/>
                <a:gd name="T78" fmla="*/ 105 w 239"/>
                <a:gd name="T79" fmla="*/ 83 h 223"/>
                <a:gd name="T80" fmla="*/ 105 w 239"/>
                <a:gd name="T81" fmla="*/ 83 h 223"/>
                <a:gd name="T82" fmla="*/ 115 w 239"/>
                <a:gd name="T83" fmla="*/ 84 h 223"/>
                <a:gd name="T84" fmla="*/ 115 w 239"/>
                <a:gd name="T85" fmla="*/ 84 h 223"/>
                <a:gd name="T86" fmla="*/ 131 w 239"/>
                <a:gd name="T87" fmla="*/ 63 h 223"/>
                <a:gd name="T88" fmla="*/ 131 w 239"/>
                <a:gd name="T89" fmla="*/ 63 h 223"/>
                <a:gd name="T90" fmla="*/ 166 w 239"/>
                <a:gd name="T91" fmla="*/ 38 h 223"/>
                <a:gd name="T92" fmla="*/ 166 w 239"/>
                <a:gd name="T93" fmla="*/ 38 h 223"/>
                <a:gd name="T94" fmla="*/ 172 w 239"/>
                <a:gd name="T95" fmla="*/ 0 h 223"/>
                <a:gd name="T96" fmla="*/ 172 w 239"/>
                <a:gd name="T97" fmla="*/ 0 h 223"/>
                <a:gd name="T98" fmla="*/ 198 w 239"/>
                <a:gd name="T99" fmla="*/ 15 h 223"/>
                <a:gd name="T100" fmla="*/ 198 w 239"/>
                <a:gd name="T101" fmla="*/ 15 h 223"/>
                <a:gd name="T102" fmla="*/ 238 w 239"/>
                <a:gd name="T103" fmla="*/ 137 h 223"/>
                <a:gd name="T104" fmla="*/ 238 w 239"/>
                <a:gd name="T105" fmla="*/ 137 h 223"/>
                <a:gd name="T106" fmla="*/ 217 w 239"/>
                <a:gd name="T107" fmla="*/ 191 h 223"/>
                <a:gd name="T108" fmla="*/ 217 w 239"/>
                <a:gd name="T109" fmla="*/ 191 h 223"/>
                <a:gd name="T110" fmla="*/ 196 w 239"/>
                <a:gd name="T111" fmla="*/ 150 h 223"/>
                <a:gd name="T112" fmla="*/ 197 w 239"/>
                <a:gd name="T113" fmla="*/ 15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9" h="223">
                  <a:moveTo>
                    <a:pt x="197" y="157"/>
                  </a:moveTo>
                  <a:lnTo>
                    <a:pt x="197" y="157"/>
                  </a:lnTo>
                  <a:cubicBezTo>
                    <a:pt x="196" y="152"/>
                    <a:pt x="191" y="149"/>
                    <a:pt x="188" y="144"/>
                  </a:cubicBezTo>
                  <a:lnTo>
                    <a:pt x="188" y="144"/>
                  </a:lnTo>
                  <a:cubicBezTo>
                    <a:pt x="181" y="153"/>
                    <a:pt x="172" y="157"/>
                    <a:pt x="172" y="166"/>
                  </a:cubicBezTo>
                  <a:lnTo>
                    <a:pt x="172" y="166"/>
                  </a:lnTo>
                  <a:cubicBezTo>
                    <a:pt x="172" y="177"/>
                    <a:pt x="192" y="182"/>
                    <a:pt x="192" y="200"/>
                  </a:cubicBezTo>
                  <a:lnTo>
                    <a:pt x="192" y="200"/>
                  </a:lnTo>
                  <a:cubicBezTo>
                    <a:pt x="191" y="212"/>
                    <a:pt x="185" y="222"/>
                    <a:pt x="173" y="222"/>
                  </a:cubicBezTo>
                  <a:lnTo>
                    <a:pt x="173" y="222"/>
                  </a:lnTo>
                  <a:cubicBezTo>
                    <a:pt x="168" y="222"/>
                    <a:pt x="165" y="214"/>
                    <a:pt x="165" y="209"/>
                  </a:cubicBezTo>
                  <a:lnTo>
                    <a:pt x="165" y="209"/>
                  </a:lnTo>
                  <a:cubicBezTo>
                    <a:pt x="159" y="212"/>
                    <a:pt x="153" y="210"/>
                    <a:pt x="148" y="210"/>
                  </a:cubicBezTo>
                  <a:lnTo>
                    <a:pt x="148" y="210"/>
                  </a:lnTo>
                  <a:cubicBezTo>
                    <a:pt x="125" y="210"/>
                    <a:pt x="105" y="184"/>
                    <a:pt x="106" y="154"/>
                  </a:cubicBezTo>
                  <a:lnTo>
                    <a:pt x="106" y="154"/>
                  </a:lnTo>
                  <a:cubicBezTo>
                    <a:pt x="106" y="143"/>
                    <a:pt x="109" y="138"/>
                    <a:pt x="114" y="134"/>
                  </a:cubicBezTo>
                  <a:lnTo>
                    <a:pt x="114" y="134"/>
                  </a:lnTo>
                  <a:cubicBezTo>
                    <a:pt x="112" y="130"/>
                    <a:pt x="109" y="123"/>
                    <a:pt x="108" y="119"/>
                  </a:cubicBezTo>
                  <a:lnTo>
                    <a:pt x="84" y="118"/>
                  </a:lnTo>
                  <a:lnTo>
                    <a:pt x="84" y="118"/>
                  </a:lnTo>
                  <a:cubicBezTo>
                    <a:pt x="84" y="123"/>
                    <a:pt x="82" y="128"/>
                    <a:pt x="84" y="133"/>
                  </a:cubicBezTo>
                  <a:lnTo>
                    <a:pt x="84" y="133"/>
                  </a:lnTo>
                  <a:cubicBezTo>
                    <a:pt x="74" y="133"/>
                    <a:pt x="71" y="127"/>
                    <a:pt x="68" y="124"/>
                  </a:cubicBezTo>
                  <a:lnTo>
                    <a:pt x="68" y="124"/>
                  </a:lnTo>
                  <a:cubicBezTo>
                    <a:pt x="68" y="124"/>
                    <a:pt x="64" y="131"/>
                    <a:pt x="63" y="132"/>
                  </a:cubicBezTo>
                  <a:lnTo>
                    <a:pt x="63" y="132"/>
                  </a:lnTo>
                  <a:cubicBezTo>
                    <a:pt x="57" y="130"/>
                    <a:pt x="46" y="118"/>
                    <a:pt x="46" y="118"/>
                  </a:cubicBezTo>
                  <a:lnTo>
                    <a:pt x="46" y="118"/>
                  </a:lnTo>
                  <a:cubicBezTo>
                    <a:pt x="29" y="133"/>
                    <a:pt x="31" y="186"/>
                    <a:pt x="13" y="185"/>
                  </a:cubicBezTo>
                  <a:lnTo>
                    <a:pt x="13" y="185"/>
                  </a:lnTo>
                  <a:cubicBezTo>
                    <a:pt x="0" y="185"/>
                    <a:pt x="14" y="156"/>
                    <a:pt x="14" y="149"/>
                  </a:cubicBezTo>
                  <a:lnTo>
                    <a:pt x="14" y="149"/>
                  </a:lnTo>
                  <a:cubicBezTo>
                    <a:pt x="14" y="144"/>
                    <a:pt x="7" y="137"/>
                    <a:pt x="7" y="133"/>
                  </a:cubicBezTo>
                  <a:lnTo>
                    <a:pt x="7" y="133"/>
                  </a:lnTo>
                  <a:cubicBezTo>
                    <a:pt x="7" y="117"/>
                    <a:pt x="14" y="108"/>
                    <a:pt x="18" y="91"/>
                  </a:cubicBezTo>
                  <a:lnTo>
                    <a:pt x="18" y="91"/>
                  </a:lnTo>
                  <a:cubicBezTo>
                    <a:pt x="53" y="92"/>
                    <a:pt x="46" y="57"/>
                    <a:pt x="76" y="58"/>
                  </a:cubicBezTo>
                  <a:lnTo>
                    <a:pt x="76" y="58"/>
                  </a:lnTo>
                  <a:cubicBezTo>
                    <a:pt x="97" y="58"/>
                    <a:pt x="93" y="83"/>
                    <a:pt x="105" y="83"/>
                  </a:cubicBezTo>
                  <a:lnTo>
                    <a:pt x="105" y="83"/>
                  </a:lnTo>
                  <a:cubicBezTo>
                    <a:pt x="108" y="83"/>
                    <a:pt x="112" y="84"/>
                    <a:pt x="115" y="84"/>
                  </a:cubicBezTo>
                  <a:lnTo>
                    <a:pt x="115" y="84"/>
                  </a:lnTo>
                  <a:cubicBezTo>
                    <a:pt x="116" y="73"/>
                    <a:pt x="120" y="65"/>
                    <a:pt x="131" y="63"/>
                  </a:cubicBezTo>
                  <a:lnTo>
                    <a:pt x="131" y="63"/>
                  </a:lnTo>
                  <a:cubicBezTo>
                    <a:pt x="131" y="41"/>
                    <a:pt x="161" y="48"/>
                    <a:pt x="166" y="38"/>
                  </a:cubicBezTo>
                  <a:lnTo>
                    <a:pt x="166" y="38"/>
                  </a:lnTo>
                  <a:cubicBezTo>
                    <a:pt x="171" y="27"/>
                    <a:pt x="170" y="5"/>
                    <a:pt x="172" y="0"/>
                  </a:cubicBezTo>
                  <a:lnTo>
                    <a:pt x="172" y="0"/>
                  </a:lnTo>
                  <a:cubicBezTo>
                    <a:pt x="183" y="0"/>
                    <a:pt x="192" y="9"/>
                    <a:pt x="198" y="15"/>
                  </a:cubicBezTo>
                  <a:lnTo>
                    <a:pt x="198" y="15"/>
                  </a:lnTo>
                  <a:cubicBezTo>
                    <a:pt x="211" y="28"/>
                    <a:pt x="238" y="123"/>
                    <a:pt x="238" y="137"/>
                  </a:cubicBezTo>
                  <a:lnTo>
                    <a:pt x="238" y="137"/>
                  </a:lnTo>
                  <a:cubicBezTo>
                    <a:pt x="238" y="154"/>
                    <a:pt x="218" y="164"/>
                    <a:pt x="217" y="191"/>
                  </a:cubicBezTo>
                  <a:lnTo>
                    <a:pt x="217" y="191"/>
                  </a:lnTo>
                  <a:cubicBezTo>
                    <a:pt x="210" y="189"/>
                    <a:pt x="196" y="154"/>
                    <a:pt x="196" y="150"/>
                  </a:cubicBezTo>
                  <a:lnTo>
                    <a:pt x="197" y="157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0" name="Freeform 38">
              <a:extLst>
                <a:ext uri="{FF2B5EF4-FFF2-40B4-BE49-F238E27FC236}">
                  <a16:creationId xmlns:a16="http://schemas.microsoft.com/office/drawing/2014/main" id="{38C1DAB9-C007-2E4F-BB4E-D581D205E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10626" y="6521006"/>
              <a:ext cx="77767" cy="80648"/>
            </a:xfrm>
            <a:custGeom>
              <a:avLst/>
              <a:gdLst>
                <a:gd name="T0" fmla="*/ 12 w 118"/>
                <a:gd name="T1" fmla="*/ 122 h 123"/>
                <a:gd name="T2" fmla="*/ 0 w 118"/>
                <a:gd name="T3" fmla="*/ 121 h 123"/>
                <a:gd name="T4" fmla="*/ 0 w 118"/>
                <a:gd name="T5" fmla="*/ 121 h 123"/>
                <a:gd name="T6" fmla="*/ 94 w 118"/>
                <a:gd name="T7" fmla="*/ 21 h 123"/>
                <a:gd name="T8" fmla="*/ 94 w 118"/>
                <a:gd name="T9" fmla="*/ 21 h 123"/>
                <a:gd name="T10" fmla="*/ 103 w 118"/>
                <a:gd name="T11" fmla="*/ 0 h 123"/>
                <a:gd name="T12" fmla="*/ 103 w 118"/>
                <a:gd name="T13" fmla="*/ 0 h 123"/>
                <a:gd name="T14" fmla="*/ 117 w 118"/>
                <a:gd name="T15" fmla="*/ 26 h 123"/>
                <a:gd name="T16" fmla="*/ 117 w 118"/>
                <a:gd name="T17" fmla="*/ 26 h 123"/>
                <a:gd name="T18" fmla="*/ 100 w 118"/>
                <a:gd name="T19" fmla="*/ 36 h 123"/>
                <a:gd name="T20" fmla="*/ 100 w 118"/>
                <a:gd name="T21" fmla="*/ 36 h 123"/>
                <a:gd name="T22" fmla="*/ 71 w 118"/>
                <a:gd name="T23" fmla="*/ 53 h 123"/>
                <a:gd name="T24" fmla="*/ 71 w 118"/>
                <a:gd name="T25" fmla="*/ 53 h 123"/>
                <a:gd name="T26" fmla="*/ 12 w 118"/>
                <a:gd name="T27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8" h="123">
                  <a:moveTo>
                    <a:pt x="12" y="122"/>
                  </a:moveTo>
                  <a:lnTo>
                    <a:pt x="0" y="121"/>
                  </a:lnTo>
                  <a:lnTo>
                    <a:pt x="0" y="121"/>
                  </a:lnTo>
                  <a:cubicBezTo>
                    <a:pt x="18" y="74"/>
                    <a:pt x="75" y="56"/>
                    <a:pt x="94" y="21"/>
                  </a:cubicBezTo>
                  <a:lnTo>
                    <a:pt x="94" y="21"/>
                  </a:lnTo>
                  <a:cubicBezTo>
                    <a:pt x="97" y="13"/>
                    <a:pt x="98" y="5"/>
                    <a:pt x="103" y="0"/>
                  </a:cubicBezTo>
                  <a:lnTo>
                    <a:pt x="103" y="0"/>
                  </a:lnTo>
                  <a:cubicBezTo>
                    <a:pt x="103" y="16"/>
                    <a:pt x="111" y="20"/>
                    <a:pt x="117" y="26"/>
                  </a:cubicBezTo>
                  <a:lnTo>
                    <a:pt x="117" y="26"/>
                  </a:lnTo>
                  <a:cubicBezTo>
                    <a:pt x="110" y="31"/>
                    <a:pt x="108" y="36"/>
                    <a:pt x="100" y="36"/>
                  </a:cubicBezTo>
                  <a:lnTo>
                    <a:pt x="100" y="36"/>
                  </a:lnTo>
                  <a:cubicBezTo>
                    <a:pt x="96" y="50"/>
                    <a:pt x="85" y="53"/>
                    <a:pt x="71" y="53"/>
                  </a:cubicBezTo>
                  <a:lnTo>
                    <a:pt x="71" y="53"/>
                  </a:lnTo>
                  <a:cubicBezTo>
                    <a:pt x="64" y="89"/>
                    <a:pt x="32" y="109"/>
                    <a:pt x="12" y="122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1" name="Freeform 39">
              <a:extLst>
                <a:ext uri="{FF2B5EF4-FFF2-40B4-BE49-F238E27FC236}">
                  <a16:creationId xmlns:a16="http://schemas.microsoft.com/office/drawing/2014/main" id="{A5790D55-A817-724F-A6C0-9A88EB8B8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65352" y="6258900"/>
              <a:ext cx="146896" cy="210261"/>
            </a:xfrm>
            <a:custGeom>
              <a:avLst/>
              <a:gdLst>
                <a:gd name="T0" fmla="*/ 17 w 227"/>
                <a:gd name="T1" fmla="*/ 131 h 320"/>
                <a:gd name="T2" fmla="*/ 17 w 227"/>
                <a:gd name="T3" fmla="*/ 131 h 320"/>
                <a:gd name="T4" fmla="*/ 28 w 227"/>
                <a:gd name="T5" fmla="*/ 83 h 320"/>
                <a:gd name="T6" fmla="*/ 28 w 227"/>
                <a:gd name="T7" fmla="*/ 83 h 320"/>
                <a:gd name="T8" fmla="*/ 20 w 227"/>
                <a:gd name="T9" fmla="*/ 32 h 320"/>
                <a:gd name="T10" fmla="*/ 20 w 227"/>
                <a:gd name="T11" fmla="*/ 32 h 320"/>
                <a:gd name="T12" fmla="*/ 38 w 227"/>
                <a:gd name="T13" fmla="*/ 0 h 320"/>
                <a:gd name="T14" fmla="*/ 38 w 227"/>
                <a:gd name="T15" fmla="*/ 0 h 320"/>
                <a:gd name="T16" fmla="*/ 67 w 227"/>
                <a:gd name="T17" fmla="*/ 30 h 320"/>
                <a:gd name="T18" fmla="*/ 67 w 227"/>
                <a:gd name="T19" fmla="*/ 30 h 320"/>
                <a:gd name="T20" fmla="*/ 89 w 227"/>
                <a:gd name="T21" fmla="*/ 14 h 320"/>
                <a:gd name="T22" fmla="*/ 89 w 227"/>
                <a:gd name="T23" fmla="*/ 14 h 320"/>
                <a:gd name="T24" fmla="*/ 92 w 227"/>
                <a:gd name="T25" fmla="*/ 22 h 320"/>
                <a:gd name="T26" fmla="*/ 92 w 227"/>
                <a:gd name="T27" fmla="*/ 22 h 320"/>
                <a:gd name="T28" fmla="*/ 95 w 227"/>
                <a:gd name="T29" fmla="*/ 33 h 320"/>
                <a:gd name="T30" fmla="*/ 95 w 227"/>
                <a:gd name="T31" fmla="*/ 33 h 320"/>
                <a:gd name="T32" fmla="*/ 116 w 227"/>
                <a:gd name="T33" fmla="*/ 105 h 320"/>
                <a:gd name="T34" fmla="*/ 116 w 227"/>
                <a:gd name="T35" fmla="*/ 105 h 320"/>
                <a:gd name="T36" fmla="*/ 85 w 227"/>
                <a:gd name="T37" fmla="*/ 176 h 320"/>
                <a:gd name="T38" fmla="*/ 85 w 227"/>
                <a:gd name="T39" fmla="*/ 176 h 320"/>
                <a:gd name="T40" fmla="*/ 125 w 227"/>
                <a:gd name="T41" fmla="*/ 249 h 320"/>
                <a:gd name="T42" fmla="*/ 125 w 227"/>
                <a:gd name="T43" fmla="*/ 249 h 320"/>
                <a:gd name="T44" fmla="*/ 125 w 227"/>
                <a:gd name="T45" fmla="*/ 241 h 320"/>
                <a:gd name="T46" fmla="*/ 125 w 227"/>
                <a:gd name="T47" fmla="*/ 241 h 320"/>
                <a:gd name="T48" fmla="*/ 144 w 227"/>
                <a:gd name="T49" fmla="*/ 229 h 320"/>
                <a:gd name="T50" fmla="*/ 144 w 227"/>
                <a:gd name="T51" fmla="*/ 229 h 320"/>
                <a:gd name="T52" fmla="*/ 178 w 227"/>
                <a:gd name="T53" fmla="*/ 266 h 320"/>
                <a:gd name="T54" fmla="*/ 178 w 227"/>
                <a:gd name="T55" fmla="*/ 266 h 320"/>
                <a:gd name="T56" fmla="*/ 193 w 227"/>
                <a:gd name="T57" fmla="*/ 255 h 320"/>
                <a:gd name="T58" fmla="*/ 193 w 227"/>
                <a:gd name="T59" fmla="*/ 255 h 320"/>
                <a:gd name="T60" fmla="*/ 203 w 227"/>
                <a:gd name="T61" fmla="*/ 258 h 320"/>
                <a:gd name="T62" fmla="*/ 203 w 227"/>
                <a:gd name="T63" fmla="*/ 258 h 320"/>
                <a:gd name="T64" fmla="*/ 193 w 227"/>
                <a:gd name="T65" fmla="*/ 277 h 320"/>
                <a:gd name="T66" fmla="*/ 193 w 227"/>
                <a:gd name="T67" fmla="*/ 277 h 320"/>
                <a:gd name="T68" fmla="*/ 205 w 227"/>
                <a:gd name="T69" fmla="*/ 277 h 320"/>
                <a:gd name="T70" fmla="*/ 205 w 227"/>
                <a:gd name="T71" fmla="*/ 277 h 320"/>
                <a:gd name="T72" fmla="*/ 226 w 227"/>
                <a:gd name="T73" fmla="*/ 297 h 320"/>
                <a:gd name="T74" fmla="*/ 226 w 227"/>
                <a:gd name="T75" fmla="*/ 297 h 320"/>
                <a:gd name="T76" fmla="*/ 226 w 227"/>
                <a:gd name="T77" fmla="*/ 310 h 320"/>
                <a:gd name="T78" fmla="*/ 226 w 227"/>
                <a:gd name="T79" fmla="*/ 310 h 320"/>
                <a:gd name="T80" fmla="*/ 219 w 227"/>
                <a:gd name="T81" fmla="*/ 319 h 320"/>
                <a:gd name="T82" fmla="*/ 219 w 227"/>
                <a:gd name="T83" fmla="*/ 319 h 320"/>
                <a:gd name="T84" fmla="*/ 211 w 227"/>
                <a:gd name="T85" fmla="*/ 306 h 320"/>
                <a:gd name="T86" fmla="*/ 211 w 227"/>
                <a:gd name="T87" fmla="*/ 306 h 320"/>
                <a:gd name="T88" fmla="*/ 152 w 227"/>
                <a:gd name="T89" fmla="*/ 257 h 320"/>
                <a:gd name="T90" fmla="*/ 152 w 227"/>
                <a:gd name="T91" fmla="*/ 257 h 320"/>
                <a:gd name="T92" fmla="*/ 153 w 227"/>
                <a:gd name="T93" fmla="*/ 287 h 320"/>
                <a:gd name="T94" fmla="*/ 153 w 227"/>
                <a:gd name="T95" fmla="*/ 287 h 320"/>
                <a:gd name="T96" fmla="*/ 105 w 227"/>
                <a:gd name="T97" fmla="*/ 252 h 320"/>
                <a:gd name="T98" fmla="*/ 105 w 227"/>
                <a:gd name="T99" fmla="*/ 252 h 320"/>
                <a:gd name="T100" fmla="*/ 78 w 227"/>
                <a:gd name="T101" fmla="*/ 261 h 320"/>
                <a:gd name="T102" fmla="*/ 78 w 227"/>
                <a:gd name="T103" fmla="*/ 261 h 320"/>
                <a:gd name="T104" fmla="*/ 54 w 227"/>
                <a:gd name="T105" fmla="*/ 238 h 320"/>
                <a:gd name="T106" fmla="*/ 54 w 227"/>
                <a:gd name="T107" fmla="*/ 238 h 320"/>
                <a:gd name="T108" fmla="*/ 64 w 227"/>
                <a:gd name="T109" fmla="*/ 220 h 320"/>
                <a:gd name="T110" fmla="*/ 64 w 227"/>
                <a:gd name="T111" fmla="*/ 205 h 320"/>
                <a:gd name="T112" fmla="*/ 54 w 227"/>
                <a:gd name="T113" fmla="*/ 205 h 320"/>
                <a:gd name="T114" fmla="*/ 54 w 227"/>
                <a:gd name="T115" fmla="*/ 205 h 320"/>
                <a:gd name="T116" fmla="*/ 42 w 227"/>
                <a:gd name="T117" fmla="*/ 215 h 320"/>
                <a:gd name="T118" fmla="*/ 42 w 227"/>
                <a:gd name="T119" fmla="*/ 215 h 320"/>
                <a:gd name="T120" fmla="*/ 6 w 227"/>
                <a:gd name="T121" fmla="*/ 186 h 320"/>
                <a:gd name="T122" fmla="*/ 6 w 227"/>
                <a:gd name="T123" fmla="*/ 186 h 320"/>
                <a:gd name="T124" fmla="*/ 17 w 227"/>
                <a:gd name="T125" fmla="*/ 13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7" h="320">
                  <a:moveTo>
                    <a:pt x="17" y="131"/>
                  </a:moveTo>
                  <a:lnTo>
                    <a:pt x="17" y="131"/>
                  </a:lnTo>
                  <a:cubicBezTo>
                    <a:pt x="24" y="119"/>
                    <a:pt x="27" y="97"/>
                    <a:pt x="28" y="83"/>
                  </a:cubicBezTo>
                  <a:lnTo>
                    <a:pt x="28" y="83"/>
                  </a:lnTo>
                  <a:cubicBezTo>
                    <a:pt x="28" y="64"/>
                    <a:pt x="20" y="51"/>
                    <a:pt x="20" y="32"/>
                  </a:cubicBezTo>
                  <a:lnTo>
                    <a:pt x="20" y="32"/>
                  </a:lnTo>
                  <a:cubicBezTo>
                    <a:pt x="21" y="16"/>
                    <a:pt x="24" y="0"/>
                    <a:pt x="38" y="0"/>
                  </a:cubicBezTo>
                  <a:lnTo>
                    <a:pt x="38" y="0"/>
                  </a:lnTo>
                  <a:cubicBezTo>
                    <a:pt x="56" y="1"/>
                    <a:pt x="52" y="29"/>
                    <a:pt x="67" y="30"/>
                  </a:cubicBezTo>
                  <a:lnTo>
                    <a:pt x="67" y="30"/>
                  </a:lnTo>
                  <a:cubicBezTo>
                    <a:pt x="77" y="30"/>
                    <a:pt x="82" y="17"/>
                    <a:pt x="89" y="14"/>
                  </a:cubicBezTo>
                  <a:lnTo>
                    <a:pt x="89" y="14"/>
                  </a:lnTo>
                  <a:cubicBezTo>
                    <a:pt x="89" y="15"/>
                    <a:pt x="92" y="20"/>
                    <a:pt x="92" y="22"/>
                  </a:cubicBezTo>
                  <a:lnTo>
                    <a:pt x="92" y="22"/>
                  </a:lnTo>
                  <a:cubicBezTo>
                    <a:pt x="92" y="25"/>
                    <a:pt x="95" y="30"/>
                    <a:pt x="95" y="33"/>
                  </a:cubicBezTo>
                  <a:lnTo>
                    <a:pt x="95" y="33"/>
                  </a:lnTo>
                  <a:cubicBezTo>
                    <a:pt x="95" y="54"/>
                    <a:pt x="117" y="78"/>
                    <a:pt x="116" y="105"/>
                  </a:cubicBezTo>
                  <a:lnTo>
                    <a:pt x="116" y="105"/>
                  </a:lnTo>
                  <a:cubicBezTo>
                    <a:pt x="115" y="141"/>
                    <a:pt x="85" y="143"/>
                    <a:pt x="85" y="176"/>
                  </a:cubicBezTo>
                  <a:lnTo>
                    <a:pt x="85" y="176"/>
                  </a:lnTo>
                  <a:cubicBezTo>
                    <a:pt x="84" y="201"/>
                    <a:pt x="107" y="240"/>
                    <a:pt x="125" y="249"/>
                  </a:cubicBezTo>
                  <a:lnTo>
                    <a:pt x="125" y="249"/>
                  </a:lnTo>
                  <a:cubicBezTo>
                    <a:pt x="125" y="247"/>
                    <a:pt x="125" y="242"/>
                    <a:pt x="125" y="241"/>
                  </a:cubicBezTo>
                  <a:lnTo>
                    <a:pt x="125" y="241"/>
                  </a:lnTo>
                  <a:cubicBezTo>
                    <a:pt x="125" y="235"/>
                    <a:pt x="134" y="228"/>
                    <a:pt x="144" y="229"/>
                  </a:cubicBezTo>
                  <a:lnTo>
                    <a:pt x="144" y="229"/>
                  </a:lnTo>
                  <a:cubicBezTo>
                    <a:pt x="164" y="229"/>
                    <a:pt x="168" y="266"/>
                    <a:pt x="178" y="266"/>
                  </a:cubicBezTo>
                  <a:lnTo>
                    <a:pt x="178" y="266"/>
                  </a:lnTo>
                  <a:cubicBezTo>
                    <a:pt x="185" y="266"/>
                    <a:pt x="187" y="255"/>
                    <a:pt x="193" y="255"/>
                  </a:cubicBezTo>
                  <a:lnTo>
                    <a:pt x="193" y="255"/>
                  </a:lnTo>
                  <a:cubicBezTo>
                    <a:pt x="197" y="255"/>
                    <a:pt x="200" y="258"/>
                    <a:pt x="203" y="258"/>
                  </a:cubicBezTo>
                  <a:lnTo>
                    <a:pt x="203" y="258"/>
                  </a:lnTo>
                  <a:cubicBezTo>
                    <a:pt x="202" y="267"/>
                    <a:pt x="193" y="269"/>
                    <a:pt x="193" y="277"/>
                  </a:cubicBezTo>
                  <a:lnTo>
                    <a:pt x="193" y="277"/>
                  </a:lnTo>
                  <a:cubicBezTo>
                    <a:pt x="193" y="280"/>
                    <a:pt x="202" y="278"/>
                    <a:pt x="205" y="277"/>
                  </a:cubicBezTo>
                  <a:lnTo>
                    <a:pt x="205" y="277"/>
                  </a:lnTo>
                  <a:cubicBezTo>
                    <a:pt x="204" y="290"/>
                    <a:pt x="214" y="297"/>
                    <a:pt x="226" y="297"/>
                  </a:cubicBezTo>
                  <a:lnTo>
                    <a:pt x="226" y="297"/>
                  </a:lnTo>
                  <a:cubicBezTo>
                    <a:pt x="226" y="302"/>
                    <a:pt x="226" y="305"/>
                    <a:pt x="226" y="310"/>
                  </a:cubicBezTo>
                  <a:lnTo>
                    <a:pt x="226" y="310"/>
                  </a:lnTo>
                  <a:cubicBezTo>
                    <a:pt x="226" y="313"/>
                    <a:pt x="223" y="319"/>
                    <a:pt x="219" y="319"/>
                  </a:cubicBezTo>
                  <a:lnTo>
                    <a:pt x="219" y="319"/>
                  </a:lnTo>
                  <a:cubicBezTo>
                    <a:pt x="214" y="319"/>
                    <a:pt x="213" y="311"/>
                    <a:pt x="211" y="306"/>
                  </a:cubicBezTo>
                  <a:lnTo>
                    <a:pt x="211" y="306"/>
                  </a:lnTo>
                  <a:cubicBezTo>
                    <a:pt x="202" y="287"/>
                    <a:pt x="162" y="272"/>
                    <a:pt x="152" y="257"/>
                  </a:cubicBezTo>
                  <a:lnTo>
                    <a:pt x="152" y="257"/>
                  </a:lnTo>
                  <a:cubicBezTo>
                    <a:pt x="143" y="268"/>
                    <a:pt x="148" y="275"/>
                    <a:pt x="153" y="287"/>
                  </a:cubicBezTo>
                  <a:lnTo>
                    <a:pt x="153" y="287"/>
                  </a:lnTo>
                  <a:cubicBezTo>
                    <a:pt x="129" y="287"/>
                    <a:pt x="128" y="252"/>
                    <a:pt x="105" y="252"/>
                  </a:cubicBezTo>
                  <a:lnTo>
                    <a:pt x="105" y="252"/>
                  </a:lnTo>
                  <a:cubicBezTo>
                    <a:pt x="95" y="252"/>
                    <a:pt x="88" y="261"/>
                    <a:pt x="78" y="261"/>
                  </a:cubicBezTo>
                  <a:lnTo>
                    <a:pt x="78" y="261"/>
                  </a:lnTo>
                  <a:cubicBezTo>
                    <a:pt x="67" y="260"/>
                    <a:pt x="54" y="246"/>
                    <a:pt x="54" y="238"/>
                  </a:cubicBezTo>
                  <a:lnTo>
                    <a:pt x="54" y="238"/>
                  </a:lnTo>
                  <a:cubicBezTo>
                    <a:pt x="54" y="229"/>
                    <a:pt x="61" y="224"/>
                    <a:pt x="64" y="220"/>
                  </a:cubicBezTo>
                  <a:lnTo>
                    <a:pt x="64" y="205"/>
                  </a:lnTo>
                  <a:lnTo>
                    <a:pt x="54" y="205"/>
                  </a:lnTo>
                  <a:lnTo>
                    <a:pt x="54" y="205"/>
                  </a:lnTo>
                  <a:cubicBezTo>
                    <a:pt x="51" y="209"/>
                    <a:pt x="47" y="216"/>
                    <a:pt x="42" y="215"/>
                  </a:cubicBezTo>
                  <a:lnTo>
                    <a:pt x="42" y="215"/>
                  </a:lnTo>
                  <a:cubicBezTo>
                    <a:pt x="36" y="215"/>
                    <a:pt x="6" y="196"/>
                    <a:pt x="6" y="186"/>
                  </a:cubicBezTo>
                  <a:lnTo>
                    <a:pt x="6" y="186"/>
                  </a:lnTo>
                  <a:cubicBezTo>
                    <a:pt x="6" y="161"/>
                    <a:pt x="0" y="127"/>
                    <a:pt x="17" y="13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2" name="Freeform 40">
              <a:extLst>
                <a:ext uri="{FF2B5EF4-FFF2-40B4-BE49-F238E27FC236}">
                  <a16:creationId xmlns:a16="http://schemas.microsoft.com/office/drawing/2014/main" id="{EA8FA581-E648-E74E-899C-836A0DC1A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18009" y="6472042"/>
              <a:ext cx="48964" cy="80648"/>
            </a:xfrm>
            <a:custGeom>
              <a:avLst/>
              <a:gdLst>
                <a:gd name="T0" fmla="*/ 67 w 76"/>
                <a:gd name="T1" fmla="*/ 83 h 125"/>
                <a:gd name="T2" fmla="*/ 42 w 76"/>
                <a:gd name="T3" fmla="*/ 82 h 125"/>
                <a:gd name="T4" fmla="*/ 42 w 76"/>
                <a:gd name="T5" fmla="*/ 82 h 125"/>
                <a:gd name="T6" fmla="*/ 57 w 76"/>
                <a:gd name="T7" fmla="*/ 114 h 125"/>
                <a:gd name="T8" fmla="*/ 56 w 76"/>
                <a:gd name="T9" fmla="*/ 124 h 125"/>
                <a:gd name="T10" fmla="*/ 56 w 76"/>
                <a:gd name="T11" fmla="*/ 124 h 125"/>
                <a:gd name="T12" fmla="*/ 42 w 76"/>
                <a:gd name="T13" fmla="*/ 124 h 125"/>
                <a:gd name="T14" fmla="*/ 42 w 76"/>
                <a:gd name="T15" fmla="*/ 124 h 125"/>
                <a:gd name="T16" fmla="*/ 33 w 76"/>
                <a:gd name="T17" fmla="*/ 101 h 125"/>
                <a:gd name="T18" fmla="*/ 34 w 76"/>
                <a:gd name="T19" fmla="*/ 92 h 125"/>
                <a:gd name="T20" fmla="*/ 34 w 76"/>
                <a:gd name="T21" fmla="*/ 92 h 125"/>
                <a:gd name="T22" fmla="*/ 9 w 76"/>
                <a:gd name="T23" fmla="*/ 70 h 125"/>
                <a:gd name="T24" fmla="*/ 9 w 76"/>
                <a:gd name="T25" fmla="*/ 61 h 125"/>
                <a:gd name="T26" fmla="*/ 9 w 76"/>
                <a:gd name="T27" fmla="*/ 61 h 125"/>
                <a:gd name="T28" fmla="*/ 31 w 76"/>
                <a:gd name="T29" fmla="*/ 61 h 125"/>
                <a:gd name="T30" fmla="*/ 31 w 76"/>
                <a:gd name="T31" fmla="*/ 61 h 125"/>
                <a:gd name="T32" fmla="*/ 39 w 76"/>
                <a:gd name="T33" fmla="*/ 52 h 125"/>
                <a:gd name="T34" fmla="*/ 39 w 76"/>
                <a:gd name="T35" fmla="*/ 52 h 125"/>
                <a:gd name="T36" fmla="*/ 0 w 76"/>
                <a:gd name="T37" fmla="*/ 5 h 125"/>
                <a:gd name="T38" fmla="*/ 0 w 76"/>
                <a:gd name="T39" fmla="*/ 5 h 125"/>
                <a:gd name="T40" fmla="*/ 15 w 76"/>
                <a:gd name="T41" fmla="*/ 0 h 125"/>
                <a:gd name="T42" fmla="*/ 15 w 76"/>
                <a:gd name="T43" fmla="*/ 0 h 125"/>
                <a:gd name="T44" fmla="*/ 52 w 76"/>
                <a:gd name="T45" fmla="*/ 7 h 125"/>
                <a:gd name="T46" fmla="*/ 52 w 76"/>
                <a:gd name="T47" fmla="*/ 7 h 125"/>
                <a:gd name="T48" fmla="*/ 52 w 76"/>
                <a:gd name="T49" fmla="*/ 23 h 125"/>
                <a:gd name="T50" fmla="*/ 52 w 76"/>
                <a:gd name="T51" fmla="*/ 23 h 125"/>
                <a:gd name="T52" fmla="*/ 62 w 76"/>
                <a:gd name="T53" fmla="*/ 23 h 125"/>
                <a:gd name="T54" fmla="*/ 62 w 76"/>
                <a:gd name="T55" fmla="*/ 23 h 125"/>
                <a:gd name="T56" fmla="*/ 61 w 76"/>
                <a:gd name="T57" fmla="*/ 48 h 125"/>
                <a:gd name="T58" fmla="*/ 61 w 76"/>
                <a:gd name="T59" fmla="*/ 48 h 125"/>
                <a:gd name="T60" fmla="*/ 75 w 76"/>
                <a:gd name="T61" fmla="*/ 62 h 125"/>
                <a:gd name="T62" fmla="*/ 75 w 76"/>
                <a:gd name="T63" fmla="*/ 62 h 125"/>
                <a:gd name="T64" fmla="*/ 67 w 76"/>
                <a:gd name="T65" fmla="*/ 8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125">
                  <a:moveTo>
                    <a:pt x="67" y="83"/>
                  </a:moveTo>
                  <a:lnTo>
                    <a:pt x="42" y="82"/>
                  </a:lnTo>
                  <a:lnTo>
                    <a:pt x="42" y="82"/>
                  </a:lnTo>
                  <a:cubicBezTo>
                    <a:pt x="44" y="95"/>
                    <a:pt x="50" y="111"/>
                    <a:pt x="57" y="114"/>
                  </a:cubicBezTo>
                  <a:lnTo>
                    <a:pt x="56" y="124"/>
                  </a:lnTo>
                  <a:lnTo>
                    <a:pt x="56" y="124"/>
                  </a:lnTo>
                  <a:cubicBezTo>
                    <a:pt x="52" y="124"/>
                    <a:pt x="46" y="124"/>
                    <a:pt x="42" y="124"/>
                  </a:cubicBezTo>
                  <a:lnTo>
                    <a:pt x="42" y="124"/>
                  </a:lnTo>
                  <a:cubicBezTo>
                    <a:pt x="30" y="123"/>
                    <a:pt x="27" y="110"/>
                    <a:pt x="33" y="101"/>
                  </a:cubicBezTo>
                  <a:lnTo>
                    <a:pt x="34" y="92"/>
                  </a:lnTo>
                  <a:lnTo>
                    <a:pt x="34" y="92"/>
                  </a:lnTo>
                  <a:cubicBezTo>
                    <a:pt x="22" y="92"/>
                    <a:pt x="10" y="75"/>
                    <a:pt x="9" y="70"/>
                  </a:cubicBezTo>
                  <a:lnTo>
                    <a:pt x="9" y="61"/>
                  </a:lnTo>
                  <a:lnTo>
                    <a:pt x="9" y="61"/>
                  </a:lnTo>
                  <a:cubicBezTo>
                    <a:pt x="17" y="61"/>
                    <a:pt x="29" y="61"/>
                    <a:pt x="31" y="61"/>
                  </a:cubicBezTo>
                  <a:lnTo>
                    <a:pt x="31" y="61"/>
                  </a:lnTo>
                  <a:cubicBezTo>
                    <a:pt x="34" y="61"/>
                    <a:pt x="39" y="55"/>
                    <a:pt x="39" y="52"/>
                  </a:cubicBezTo>
                  <a:lnTo>
                    <a:pt x="39" y="52"/>
                  </a:lnTo>
                  <a:cubicBezTo>
                    <a:pt x="40" y="30"/>
                    <a:pt x="4" y="18"/>
                    <a:pt x="0" y="5"/>
                  </a:cubicBezTo>
                  <a:lnTo>
                    <a:pt x="0" y="5"/>
                  </a:lnTo>
                  <a:cubicBezTo>
                    <a:pt x="5" y="4"/>
                    <a:pt x="10" y="0"/>
                    <a:pt x="15" y="0"/>
                  </a:cubicBezTo>
                  <a:lnTo>
                    <a:pt x="15" y="0"/>
                  </a:lnTo>
                  <a:cubicBezTo>
                    <a:pt x="29" y="0"/>
                    <a:pt x="39" y="7"/>
                    <a:pt x="52" y="7"/>
                  </a:cubicBezTo>
                  <a:lnTo>
                    <a:pt x="52" y="7"/>
                  </a:lnTo>
                  <a:cubicBezTo>
                    <a:pt x="52" y="11"/>
                    <a:pt x="53" y="18"/>
                    <a:pt x="52" y="23"/>
                  </a:cubicBezTo>
                  <a:lnTo>
                    <a:pt x="52" y="23"/>
                  </a:lnTo>
                  <a:cubicBezTo>
                    <a:pt x="55" y="23"/>
                    <a:pt x="59" y="23"/>
                    <a:pt x="62" y="23"/>
                  </a:cubicBezTo>
                  <a:lnTo>
                    <a:pt x="62" y="23"/>
                  </a:lnTo>
                  <a:cubicBezTo>
                    <a:pt x="63" y="33"/>
                    <a:pt x="61" y="48"/>
                    <a:pt x="61" y="48"/>
                  </a:cubicBezTo>
                  <a:lnTo>
                    <a:pt x="61" y="48"/>
                  </a:lnTo>
                  <a:cubicBezTo>
                    <a:pt x="61" y="48"/>
                    <a:pt x="73" y="62"/>
                    <a:pt x="75" y="62"/>
                  </a:cubicBezTo>
                  <a:lnTo>
                    <a:pt x="75" y="62"/>
                  </a:lnTo>
                  <a:cubicBezTo>
                    <a:pt x="72" y="72"/>
                    <a:pt x="69" y="76"/>
                    <a:pt x="67" y="8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3" name="Freeform 41">
              <a:extLst>
                <a:ext uri="{FF2B5EF4-FFF2-40B4-BE49-F238E27FC236}">
                  <a16:creationId xmlns:a16="http://schemas.microsoft.com/office/drawing/2014/main" id="{C5DB99EB-664C-9740-88C6-F47D00E52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8882" y="6492204"/>
              <a:ext cx="40324" cy="51845"/>
            </a:xfrm>
            <a:custGeom>
              <a:avLst/>
              <a:gdLst>
                <a:gd name="T0" fmla="*/ 12 w 61"/>
                <a:gd name="T1" fmla="*/ 1 h 80"/>
                <a:gd name="T2" fmla="*/ 12 w 61"/>
                <a:gd name="T3" fmla="*/ 1 h 80"/>
                <a:gd name="T4" fmla="*/ 60 w 61"/>
                <a:gd name="T5" fmla="*/ 29 h 80"/>
                <a:gd name="T6" fmla="*/ 60 w 61"/>
                <a:gd name="T7" fmla="*/ 29 h 80"/>
                <a:gd name="T8" fmla="*/ 5 w 61"/>
                <a:gd name="T9" fmla="*/ 79 h 80"/>
                <a:gd name="T10" fmla="*/ 5 w 61"/>
                <a:gd name="T11" fmla="*/ 79 h 80"/>
                <a:gd name="T12" fmla="*/ 0 w 61"/>
                <a:gd name="T13" fmla="*/ 8 h 80"/>
                <a:gd name="T14" fmla="*/ 0 w 61"/>
                <a:gd name="T15" fmla="*/ 8 h 80"/>
                <a:gd name="T16" fmla="*/ 10 w 61"/>
                <a:gd name="T17" fmla="*/ 0 h 80"/>
                <a:gd name="T18" fmla="*/ 10 w 61"/>
                <a:gd name="T19" fmla="*/ 0 h 80"/>
                <a:gd name="T20" fmla="*/ 20 w 61"/>
                <a:gd name="T21" fmla="*/ 8 h 80"/>
                <a:gd name="T22" fmla="*/ 12 w 61"/>
                <a:gd name="T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80">
                  <a:moveTo>
                    <a:pt x="12" y="1"/>
                  </a:moveTo>
                  <a:lnTo>
                    <a:pt x="12" y="1"/>
                  </a:lnTo>
                  <a:cubicBezTo>
                    <a:pt x="18" y="10"/>
                    <a:pt x="60" y="15"/>
                    <a:pt x="60" y="29"/>
                  </a:cubicBezTo>
                  <a:lnTo>
                    <a:pt x="60" y="29"/>
                  </a:lnTo>
                  <a:cubicBezTo>
                    <a:pt x="59" y="56"/>
                    <a:pt x="20" y="69"/>
                    <a:pt x="5" y="79"/>
                  </a:cubicBezTo>
                  <a:lnTo>
                    <a:pt x="5" y="79"/>
                  </a:lnTo>
                  <a:cubicBezTo>
                    <a:pt x="5" y="51"/>
                    <a:pt x="0" y="21"/>
                    <a:pt x="0" y="8"/>
                  </a:cubicBezTo>
                  <a:lnTo>
                    <a:pt x="0" y="8"/>
                  </a:lnTo>
                  <a:cubicBezTo>
                    <a:pt x="0" y="4"/>
                    <a:pt x="7" y="0"/>
                    <a:pt x="10" y="0"/>
                  </a:cubicBezTo>
                  <a:lnTo>
                    <a:pt x="10" y="0"/>
                  </a:lnTo>
                  <a:cubicBezTo>
                    <a:pt x="13" y="0"/>
                    <a:pt x="18" y="7"/>
                    <a:pt x="20" y="8"/>
                  </a:cubicBezTo>
                  <a:lnTo>
                    <a:pt x="12" y="1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4" name="Freeform 42">
              <a:extLst>
                <a:ext uri="{FF2B5EF4-FFF2-40B4-BE49-F238E27FC236}">
                  <a16:creationId xmlns:a16="http://schemas.microsoft.com/office/drawing/2014/main" id="{6656782E-A414-B143-BE64-BBC75265D2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71924" y="6523887"/>
              <a:ext cx="37443" cy="66246"/>
            </a:xfrm>
            <a:custGeom>
              <a:avLst/>
              <a:gdLst>
                <a:gd name="T0" fmla="*/ 58 w 59"/>
                <a:gd name="T1" fmla="*/ 23 h 103"/>
                <a:gd name="T2" fmla="*/ 58 w 59"/>
                <a:gd name="T3" fmla="*/ 23 h 103"/>
                <a:gd name="T4" fmla="*/ 38 w 59"/>
                <a:gd name="T5" fmla="*/ 74 h 103"/>
                <a:gd name="T6" fmla="*/ 38 w 59"/>
                <a:gd name="T7" fmla="*/ 74 h 103"/>
                <a:gd name="T8" fmla="*/ 46 w 59"/>
                <a:gd name="T9" fmla="*/ 94 h 103"/>
                <a:gd name="T10" fmla="*/ 46 w 59"/>
                <a:gd name="T11" fmla="*/ 94 h 103"/>
                <a:gd name="T12" fmla="*/ 36 w 59"/>
                <a:gd name="T13" fmla="*/ 102 h 103"/>
                <a:gd name="T14" fmla="*/ 36 w 59"/>
                <a:gd name="T15" fmla="*/ 102 h 103"/>
                <a:gd name="T16" fmla="*/ 0 w 59"/>
                <a:gd name="T17" fmla="*/ 60 h 103"/>
                <a:gd name="T18" fmla="*/ 0 w 59"/>
                <a:gd name="T19" fmla="*/ 60 h 103"/>
                <a:gd name="T20" fmla="*/ 15 w 59"/>
                <a:gd name="T21" fmla="*/ 51 h 103"/>
                <a:gd name="T22" fmla="*/ 15 w 59"/>
                <a:gd name="T23" fmla="*/ 51 h 103"/>
                <a:gd name="T24" fmla="*/ 33 w 59"/>
                <a:gd name="T25" fmla="*/ 5 h 103"/>
                <a:gd name="T26" fmla="*/ 33 w 59"/>
                <a:gd name="T27" fmla="*/ 5 h 103"/>
                <a:gd name="T28" fmla="*/ 58 w 59"/>
                <a:gd name="T29" fmla="*/ 2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103">
                  <a:moveTo>
                    <a:pt x="58" y="23"/>
                  </a:moveTo>
                  <a:lnTo>
                    <a:pt x="58" y="23"/>
                  </a:lnTo>
                  <a:cubicBezTo>
                    <a:pt x="57" y="42"/>
                    <a:pt x="39" y="54"/>
                    <a:pt x="38" y="74"/>
                  </a:cubicBezTo>
                  <a:lnTo>
                    <a:pt x="38" y="74"/>
                  </a:lnTo>
                  <a:cubicBezTo>
                    <a:pt x="38" y="87"/>
                    <a:pt x="46" y="85"/>
                    <a:pt x="46" y="94"/>
                  </a:cubicBezTo>
                  <a:lnTo>
                    <a:pt x="46" y="94"/>
                  </a:lnTo>
                  <a:cubicBezTo>
                    <a:pt x="46" y="97"/>
                    <a:pt x="39" y="102"/>
                    <a:pt x="36" y="102"/>
                  </a:cubicBezTo>
                  <a:lnTo>
                    <a:pt x="36" y="102"/>
                  </a:lnTo>
                  <a:cubicBezTo>
                    <a:pt x="29" y="102"/>
                    <a:pt x="0" y="71"/>
                    <a:pt x="0" y="60"/>
                  </a:cubicBezTo>
                  <a:lnTo>
                    <a:pt x="0" y="60"/>
                  </a:lnTo>
                  <a:cubicBezTo>
                    <a:pt x="0" y="55"/>
                    <a:pt x="10" y="51"/>
                    <a:pt x="15" y="51"/>
                  </a:cubicBezTo>
                  <a:lnTo>
                    <a:pt x="15" y="51"/>
                  </a:lnTo>
                  <a:cubicBezTo>
                    <a:pt x="15" y="46"/>
                    <a:pt x="24" y="6"/>
                    <a:pt x="33" y="5"/>
                  </a:cubicBezTo>
                  <a:lnTo>
                    <a:pt x="33" y="5"/>
                  </a:lnTo>
                  <a:cubicBezTo>
                    <a:pt x="49" y="0"/>
                    <a:pt x="58" y="14"/>
                    <a:pt x="58" y="2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5" name="Freeform 43">
              <a:extLst>
                <a:ext uri="{FF2B5EF4-FFF2-40B4-BE49-F238E27FC236}">
                  <a16:creationId xmlns:a16="http://schemas.microsoft.com/office/drawing/2014/main" id="{147ED07B-5808-8344-BADF-AAB6CA416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3606" y="6526767"/>
              <a:ext cx="20163" cy="40324"/>
            </a:xfrm>
            <a:custGeom>
              <a:avLst/>
              <a:gdLst>
                <a:gd name="T0" fmla="*/ 31 w 32"/>
                <a:gd name="T1" fmla="*/ 0 h 62"/>
                <a:gd name="T2" fmla="*/ 31 w 32"/>
                <a:gd name="T3" fmla="*/ 0 h 62"/>
                <a:gd name="T4" fmla="*/ 8 w 32"/>
                <a:gd name="T5" fmla="*/ 61 h 62"/>
                <a:gd name="T6" fmla="*/ 8 w 32"/>
                <a:gd name="T7" fmla="*/ 61 h 62"/>
                <a:gd name="T8" fmla="*/ 0 w 32"/>
                <a:gd name="T9" fmla="*/ 60 h 62"/>
                <a:gd name="T10" fmla="*/ 0 w 32"/>
                <a:gd name="T11" fmla="*/ 60 h 62"/>
                <a:gd name="T12" fmla="*/ 16 w 32"/>
                <a:gd name="T13" fmla="*/ 0 h 62"/>
                <a:gd name="T14" fmla="*/ 16 w 32"/>
                <a:gd name="T15" fmla="*/ 0 h 62"/>
                <a:gd name="T16" fmla="*/ 31 w 32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2">
                  <a:moveTo>
                    <a:pt x="31" y="0"/>
                  </a:moveTo>
                  <a:lnTo>
                    <a:pt x="31" y="0"/>
                  </a:lnTo>
                  <a:cubicBezTo>
                    <a:pt x="31" y="29"/>
                    <a:pt x="9" y="37"/>
                    <a:pt x="8" y="61"/>
                  </a:cubicBezTo>
                  <a:lnTo>
                    <a:pt x="8" y="61"/>
                  </a:lnTo>
                  <a:cubicBezTo>
                    <a:pt x="7" y="60"/>
                    <a:pt x="2" y="60"/>
                    <a:pt x="0" y="60"/>
                  </a:cubicBezTo>
                  <a:lnTo>
                    <a:pt x="0" y="60"/>
                  </a:lnTo>
                  <a:cubicBezTo>
                    <a:pt x="5" y="41"/>
                    <a:pt x="16" y="29"/>
                    <a:pt x="16" y="0"/>
                  </a:cubicBezTo>
                  <a:lnTo>
                    <a:pt x="16" y="0"/>
                  </a:lnTo>
                  <a:cubicBezTo>
                    <a:pt x="21" y="0"/>
                    <a:pt x="26" y="0"/>
                    <a:pt x="31" y="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6" name="Freeform 44">
              <a:extLst>
                <a:ext uri="{FF2B5EF4-FFF2-40B4-BE49-F238E27FC236}">
                  <a16:creationId xmlns:a16="http://schemas.microsoft.com/office/drawing/2014/main" id="{EC5FFD80-81F9-CB40-BCBF-A6F0EBA924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12248" y="6552690"/>
              <a:ext cx="25922" cy="20161"/>
            </a:xfrm>
            <a:custGeom>
              <a:avLst/>
              <a:gdLst>
                <a:gd name="T0" fmla="*/ 37 w 38"/>
                <a:gd name="T1" fmla="*/ 1 h 33"/>
                <a:gd name="T2" fmla="*/ 37 w 38"/>
                <a:gd name="T3" fmla="*/ 1 h 33"/>
                <a:gd name="T4" fmla="*/ 10 w 38"/>
                <a:gd name="T5" fmla="*/ 32 h 33"/>
                <a:gd name="T6" fmla="*/ 10 w 38"/>
                <a:gd name="T7" fmla="*/ 32 h 33"/>
                <a:gd name="T8" fmla="*/ 0 w 38"/>
                <a:gd name="T9" fmla="*/ 24 h 33"/>
                <a:gd name="T10" fmla="*/ 0 w 38"/>
                <a:gd name="T11" fmla="*/ 24 h 33"/>
                <a:gd name="T12" fmla="*/ 16 w 38"/>
                <a:gd name="T13" fmla="*/ 0 h 33"/>
                <a:gd name="T14" fmla="*/ 16 w 38"/>
                <a:gd name="T15" fmla="*/ 0 h 33"/>
                <a:gd name="T16" fmla="*/ 37 w 38"/>
                <a:gd name="T1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3">
                  <a:moveTo>
                    <a:pt x="37" y="1"/>
                  </a:moveTo>
                  <a:lnTo>
                    <a:pt x="37" y="1"/>
                  </a:lnTo>
                  <a:cubicBezTo>
                    <a:pt x="37" y="18"/>
                    <a:pt x="25" y="32"/>
                    <a:pt x="10" y="32"/>
                  </a:cubicBezTo>
                  <a:lnTo>
                    <a:pt x="10" y="32"/>
                  </a:lnTo>
                  <a:cubicBezTo>
                    <a:pt x="7" y="32"/>
                    <a:pt x="0" y="27"/>
                    <a:pt x="0" y="24"/>
                  </a:cubicBezTo>
                  <a:lnTo>
                    <a:pt x="0" y="24"/>
                  </a:lnTo>
                  <a:cubicBezTo>
                    <a:pt x="0" y="14"/>
                    <a:pt x="10" y="9"/>
                    <a:pt x="16" y="0"/>
                  </a:cubicBezTo>
                  <a:lnTo>
                    <a:pt x="16" y="0"/>
                  </a:lnTo>
                  <a:cubicBezTo>
                    <a:pt x="24" y="4"/>
                    <a:pt x="32" y="7"/>
                    <a:pt x="37" y="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7" name="Freeform 45">
              <a:extLst>
                <a:ext uri="{FF2B5EF4-FFF2-40B4-BE49-F238E27FC236}">
                  <a16:creationId xmlns:a16="http://schemas.microsoft.com/office/drawing/2014/main" id="{B57970C9-AC62-8646-A12C-3656EF4B0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6325" y="6469161"/>
              <a:ext cx="28803" cy="31684"/>
            </a:xfrm>
            <a:custGeom>
              <a:avLst/>
              <a:gdLst>
                <a:gd name="T0" fmla="*/ 0 w 44"/>
                <a:gd name="T1" fmla="*/ 25 h 50"/>
                <a:gd name="T2" fmla="*/ 0 w 44"/>
                <a:gd name="T3" fmla="*/ 25 h 50"/>
                <a:gd name="T4" fmla="*/ 1 w 44"/>
                <a:gd name="T5" fmla="*/ 0 h 50"/>
                <a:gd name="T6" fmla="*/ 16 w 44"/>
                <a:gd name="T7" fmla="*/ 1 h 50"/>
                <a:gd name="T8" fmla="*/ 16 w 44"/>
                <a:gd name="T9" fmla="*/ 1 h 50"/>
                <a:gd name="T10" fmla="*/ 42 w 44"/>
                <a:gd name="T11" fmla="*/ 41 h 50"/>
                <a:gd name="T12" fmla="*/ 42 w 44"/>
                <a:gd name="T13" fmla="*/ 41 h 50"/>
                <a:gd name="T14" fmla="*/ 24 w 44"/>
                <a:gd name="T15" fmla="*/ 25 h 50"/>
                <a:gd name="T16" fmla="*/ 24 w 44"/>
                <a:gd name="T17" fmla="*/ 25 h 50"/>
                <a:gd name="T18" fmla="*/ 0 w 44"/>
                <a:gd name="T1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0">
                  <a:moveTo>
                    <a:pt x="0" y="25"/>
                  </a:moveTo>
                  <a:lnTo>
                    <a:pt x="0" y="25"/>
                  </a:lnTo>
                  <a:cubicBezTo>
                    <a:pt x="1" y="13"/>
                    <a:pt x="1" y="7"/>
                    <a:pt x="1" y="0"/>
                  </a:cubicBezTo>
                  <a:lnTo>
                    <a:pt x="16" y="1"/>
                  </a:lnTo>
                  <a:lnTo>
                    <a:pt x="16" y="1"/>
                  </a:lnTo>
                  <a:cubicBezTo>
                    <a:pt x="21" y="15"/>
                    <a:pt x="43" y="20"/>
                    <a:pt x="42" y="41"/>
                  </a:cubicBezTo>
                  <a:lnTo>
                    <a:pt x="42" y="41"/>
                  </a:lnTo>
                  <a:cubicBezTo>
                    <a:pt x="42" y="49"/>
                    <a:pt x="24" y="33"/>
                    <a:pt x="24" y="25"/>
                  </a:cubicBezTo>
                  <a:lnTo>
                    <a:pt x="24" y="25"/>
                  </a:lnTo>
                  <a:cubicBezTo>
                    <a:pt x="16" y="23"/>
                    <a:pt x="9" y="25"/>
                    <a:pt x="0" y="25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8" name="Freeform 46">
              <a:extLst>
                <a:ext uri="{FF2B5EF4-FFF2-40B4-BE49-F238E27FC236}">
                  <a16:creationId xmlns:a16="http://schemas.microsoft.com/office/drawing/2014/main" id="{39398C74-B7DB-C648-AF94-A5A272F6DD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97036" y="6437479"/>
              <a:ext cx="40324" cy="40324"/>
            </a:xfrm>
            <a:custGeom>
              <a:avLst/>
              <a:gdLst>
                <a:gd name="T0" fmla="*/ 47 w 63"/>
                <a:gd name="T1" fmla="*/ 61 h 62"/>
                <a:gd name="T2" fmla="*/ 47 w 63"/>
                <a:gd name="T3" fmla="*/ 61 h 62"/>
                <a:gd name="T4" fmla="*/ 0 w 63"/>
                <a:gd name="T5" fmla="*/ 0 h 62"/>
                <a:gd name="T6" fmla="*/ 16 w 63"/>
                <a:gd name="T7" fmla="*/ 0 h 62"/>
                <a:gd name="T8" fmla="*/ 16 w 63"/>
                <a:gd name="T9" fmla="*/ 0 h 62"/>
                <a:gd name="T10" fmla="*/ 59 w 63"/>
                <a:gd name="T11" fmla="*/ 29 h 62"/>
                <a:gd name="T12" fmla="*/ 59 w 63"/>
                <a:gd name="T13" fmla="*/ 29 h 62"/>
                <a:gd name="T14" fmla="*/ 47 w 63"/>
                <a:gd name="T15" fmla="*/ 6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62">
                  <a:moveTo>
                    <a:pt x="47" y="61"/>
                  </a:moveTo>
                  <a:lnTo>
                    <a:pt x="47" y="61"/>
                  </a:lnTo>
                  <a:cubicBezTo>
                    <a:pt x="37" y="61"/>
                    <a:pt x="0" y="0"/>
                    <a:pt x="0" y="0"/>
                  </a:cubicBezTo>
                  <a:lnTo>
                    <a:pt x="16" y="0"/>
                  </a:lnTo>
                  <a:lnTo>
                    <a:pt x="16" y="0"/>
                  </a:lnTo>
                  <a:cubicBezTo>
                    <a:pt x="36" y="13"/>
                    <a:pt x="54" y="10"/>
                    <a:pt x="59" y="29"/>
                  </a:cubicBezTo>
                  <a:lnTo>
                    <a:pt x="59" y="29"/>
                  </a:lnTo>
                  <a:cubicBezTo>
                    <a:pt x="62" y="42"/>
                    <a:pt x="54" y="61"/>
                    <a:pt x="47" y="6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19" name="Freeform 47">
              <a:extLst>
                <a:ext uri="{FF2B5EF4-FFF2-40B4-BE49-F238E27FC236}">
                  <a16:creationId xmlns:a16="http://schemas.microsoft.com/office/drawing/2014/main" id="{167C4509-2201-B34F-9C96-B5B51559E3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7359" y="6443239"/>
              <a:ext cx="11521" cy="5761"/>
            </a:xfrm>
            <a:custGeom>
              <a:avLst/>
              <a:gdLst>
                <a:gd name="T0" fmla="*/ 0 w 19"/>
                <a:gd name="T1" fmla="*/ 3 h 7"/>
                <a:gd name="T2" fmla="*/ 0 w 19"/>
                <a:gd name="T3" fmla="*/ 3 h 7"/>
                <a:gd name="T4" fmla="*/ 18 w 19"/>
                <a:gd name="T5" fmla="*/ 3 h 7"/>
                <a:gd name="T6" fmla="*/ 18 w 19"/>
                <a:gd name="T7" fmla="*/ 3 h 7"/>
                <a:gd name="T8" fmla="*/ 0 w 19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7">
                  <a:moveTo>
                    <a:pt x="0" y="3"/>
                  </a:moveTo>
                  <a:lnTo>
                    <a:pt x="0" y="3"/>
                  </a:lnTo>
                  <a:cubicBezTo>
                    <a:pt x="4" y="6"/>
                    <a:pt x="14" y="5"/>
                    <a:pt x="18" y="3"/>
                  </a:cubicBezTo>
                  <a:lnTo>
                    <a:pt x="18" y="3"/>
                  </a:lnTo>
                  <a:cubicBezTo>
                    <a:pt x="14" y="0"/>
                    <a:pt x="4" y="1"/>
                    <a:pt x="0" y="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0" name="Freeform 48">
              <a:extLst>
                <a:ext uri="{FF2B5EF4-FFF2-40B4-BE49-F238E27FC236}">
                  <a16:creationId xmlns:a16="http://schemas.microsoft.com/office/drawing/2014/main" id="{F4852F40-6F49-1641-A330-6061F222FA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6873" y="6011194"/>
              <a:ext cx="74888" cy="106570"/>
            </a:xfrm>
            <a:custGeom>
              <a:avLst/>
              <a:gdLst>
                <a:gd name="T0" fmla="*/ 33 w 116"/>
                <a:gd name="T1" fmla="*/ 161 h 162"/>
                <a:gd name="T2" fmla="*/ 33 w 116"/>
                <a:gd name="T3" fmla="*/ 161 h 162"/>
                <a:gd name="T4" fmla="*/ 5 w 116"/>
                <a:gd name="T5" fmla="*/ 110 h 162"/>
                <a:gd name="T6" fmla="*/ 5 w 116"/>
                <a:gd name="T7" fmla="*/ 110 h 162"/>
                <a:gd name="T8" fmla="*/ 69 w 116"/>
                <a:gd name="T9" fmla="*/ 0 h 162"/>
                <a:gd name="T10" fmla="*/ 69 w 116"/>
                <a:gd name="T11" fmla="*/ 0 h 162"/>
                <a:gd name="T12" fmla="*/ 33 w 116"/>
                <a:gd name="T13" fmla="*/ 16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162">
                  <a:moveTo>
                    <a:pt x="33" y="161"/>
                  </a:moveTo>
                  <a:lnTo>
                    <a:pt x="33" y="161"/>
                  </a:lnTo>
                  <a:cubicBezTo>
                    <a:pt x="0" y="161"/>
                    <a:pt x="5" y="138"/>
                    <a:pt x="5" y="110"/>
                  </a:cubicBezTo>
                  <a:lnTo>
                    <a:pt x="5" y="110"/>
                  </a:lnTo>
                  <a:cubicBezTo>
                    <a:pt x="5" y="72"/>
                    <a:pt x="44" y="0"/>
                    <a:pt x="69" y="0"/>
                  </a:cubicBezTo>
                  <a:lnTo>
                    <a:pt x="69" y="0"/>
                  </a:lnTo>
                  <a:cubicBezTo>
                    <a:pt x="115" y="0"/>
                    <a:pt x="75" y="161"/>
                    <a:pt x="33" y="16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1" name="Freeform 49">
              <a:extLst>
                <a:ext uri="{FF2B5EF4-FFF2-40B4-BE49-F238E27FC236}">
                  <a16:creationId xmlns:a16="http://schemas.microsoft.com/office/drawing/2014/main" id="{9694E11F-6E9A-5C40-881F-636D6E13A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82273" y="6195533"/>
              <a:ext cx="86409" cy="72007"/>
            </a:xfrm>
            <a:custGeom>
              <a:avLst/>
              <a:gdLst>
                <a:gd name="T0" fmla="*/ 9 w 133"/>
                <a:gd name="T1" fmla="*/ 46 h 111"/>
                <a:gd name="T2" fmla="*/ 9 w 133"/>
                <a:gd name="T3" fmla="*/ 46 h 111"/>
                <a:gd name="T4" fmla="*/ 110 w 133"/>
                <a:gd name="T5" fmla="*/ 0 h 111"/>
                <a:gd name="T6" fmla="*/ 110 w 133"/>
                <a:gd name="T7" fmla="*/ 0 h 111"/>
                <a:gd name="T8" fmla="*/ 132 w 133"/>
                <a:gd name="T9" fmla="*/ 28 h 111"/>
                <a:gd name="T10" fmla="*/ 132 w 133"/>
                <a:gd name="T11" fmla="*/ 28 h 111"/>
                <a:gd name="T12" fmla="*/ 50 w 133"/>
                <a:gd name="T13" fmla="*/ 110 h 111"/>
                <a:gd name="T14" fmla="*/ 50 w 133"/>
                <a:gd name="T15" fmla="*/ 110 h 111"/>
                <a:gd name="T16" fmla="*/ 9 w 133"/>
                <a:gd name="T17" fmla="*/ 74 h 111"/>
                <a:gd name="T18" fmla="*/ 9 w 133"/>
                <a:gd name="T19" fmla="*/ 74 h 111"/>
                <a:gd name="T20" fmla="*/ 9 w 133"/>
                <a:gd name="T21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1">
                  <a:moveTo>
                    <a:pt x="9" y="46"/>
                  </a:moveTo>
                  <a:lnTo>
                    <a:pt x="9" y="46"/>
                  </a:lnTo>
                  <a:cubicBezTo>
                    <a:pt x="24" y="46"/>
                    <a:pt x="86" y="0"/>
                    <a:pt x="110" y="0"/>
                  </a:cubicBezTo>
                  <a:lnTo>
                    <a:pt x="110" y="0"/>
                  </a:lnTo>
                  <a:cubicBezTo>
                    <a:pt x="119" y="0"/>
                    <a:pt x="132" y="17"/>
                    <a:pt x="132" y="28"/>
                  </a:cubicBezTo>
                  <a:lnTo>
                    <a:pt x="132" y="28"/>
                  </a:lnTo>
                  <a:cubicBezTo>
                    <a:pt x="132" y="53"/>
                    <a:pt x="77" y="110"/>
                    <a:pt x="50" y="110"/>
                  </a:cubicBezTo>
                  <a:lnTo>
                    <a:pt x="50" y="110"/>
                  </a:lnTo>
                  <a:cubicBezTo>
                    <a:pt x="22" y="110"/>
                    <a:pt x="9" y="97"/>
                    <a:pt x="9" y="74"/>
                  </a:cubicBezTo>
                  <a:lnTo>
                    <a:pt x="9" y="74"/>
                  </a:lnTo>
                  <a:cubicBezTo>
                    <a:pt x="9" y="62"/>
                    <a:pt x="0" y="46"/>
                    <a:pt x="9" y="46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2" name="Freeform 50">
              <a:extLst>
                <a:ext uri="{FF2B5EF4-FFF2-40B4-BE49-F238E27FC236}">
                  <a16:creationId xmlns:a16="http://schemas.microsoft.com/office/drawing/2014/main" id="{D32B6FCE-D322-6945-B57C-37A8E22B8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19354" y="6080321"/>
              <a:ext cx="397482" cy="766160"/>
            </a:xfrm>
            <a:custGeom>
              <a:avLst/>
              <a:gdLst>
                <a:gd name="T0" fmla="*/ 49 w 609"/>
                <a:gd name="T1" fmla="*/ 716 h 1173"/>
                <a:gd name="T2" fmla="*/ 87 w 609"/>
                <a:gd name="T3" fmla="*/ 631 h 1173"/>
                <a:gd name="T4" fmla="*/ 101 w 609"/>
                <a:gd name="T5" fmla="*/ 610 h 1173"/>
                <a:gd name="T6" fmla="*/ 62 w 609"/>
                <a:gd name="T7" fmla="*/ 497 h 1173"/>
                <a:gd name="T8" fmla="*/ 29 w 609"/>
                <a:gd name="T9" fmla="*/ 455 h 1173"/>
                <a:gd name="T10" fmla="*/ 31 w 609"/>
                <a:gd name="T11" fmla="*/ 440 h 1173"/>
                <a:gd name="T12" fmla="*/ 49 w 609"/>
                <a:gd name="T13" fmla="*/ 402 h 1173"/>
                <a:gd name="T14" fmla="*/ 35 w 609"/>
                <a:gd name="T15" fmla="*/ 321 h 1173"/>
                <a:gd name="T16" fmla="*/ 0 w 609"/>
                <a:gd name="T17" fmla="*/ 272 h 1173"/>
                <a:gd name="T18" fmla="*/ 29 w 609"/>
                <a:gd name="T19" fmla="*/ 194 h 1173"/>
                <a:gd name="T20" fmla="*/ 75 w 609"/>
                <a:gd name="T21" fmla="*/ 180 h 1173"/>
                <a:gd name="T22" fmla="*/ 183 w 609"/>
                <a:gd name="T23" fmla="*/ 81 h 1173"/>
                <a:gd name="T24" fmla="*/ 194 w 609"/>
                <a:gd name="T25" fmla="*/ 81 h 1173"/>
                <a:gd name="T26" fmla="*/ 205 w 609"/>
                <a:gd name="T27" fmla="*/ 101 h 1173"/>
                <a:gd name="T28" fmla="*/ 214 w 609"/>
                <a:gd name="T29" fmla="*/ 37 h 1173"/>
                <a:gd name="T30" fmla="*/ 264 w 609"/>
                <a:gd name="T31" fmla="*/ 26 h 1173"/>
                <a:gd name="T32" fmla="*/ 322 w 609"/>
                <a:gd name="T33" fmla="*/ 26 h 1173"/>
                <a:gd name="T34" fmla="*/ 396 w 609"/>
                <a:gd name="T35" fmla="*/ 0 h 1173"/>
                <a:gd name="T36" fmla="*/ 475 w 609"/>
                <a:gd name="T37" fmla="*/ 21 h 1173"/>
                <a:gd name="T38" fmla="*/ 539 w 609"/>
                <a:gd name="T39" fmla="*/ 92 h 1173"/>
                <a:gd name="T40" fmla="*/ 412 w 609"/>
                <a:gd name="T41" fmla="*/ 240 h 1173"/>
                <a:gd name="T42" fmla="*/ 429 w 609"/>
                <a:gd name="T43" fmla="*/ 268 h 1173"/>
                <a:gd name="T44" fmla="*/ 535 w 609"/>
                <a:gd name="T45" fmla="*/ 387 h 1173"/>
                <a:gd name="T46" fmla="*/ 608 w 609"/>
                <a:gd name="T47" fmla="*/ 558 h 1173"/>
                <a:gd name="T48" fmla="*/ 586 w 609"/>
                <a:gd name="T49" fmla="*/ 648 h 1173"/>
                <a:gd name="T50" fmla="*/ 475 w 609"/>
                <a:gd name="T51" fmla="*/ 707 h 1173"/>
                <a:gd name="T52" fmla="*/ 434 w 609"/>
                <a:gd name="T53" fmla="*/ 747 h 1173"/>
                <a:gd name="T54" fmla="*/ 429 w 609"/>
                <a:gd name="T55" fmla="*/ 751 h 1173"/>
                <a:gd name="T56" fmla="*/ 385 w 609"/>
                <a:gd name="T57" fmla="*/ 797 h 1173"/>
                <a:gd name="T58" fmla="*/ 370 w 609"/>
                <a:gd name="T59" fmla="*/ 760 h 1173"/>
                <a:gd name="T60" fmla="*/ 378 w 609"/>
                <a:gd name="T61" fmla="*/ 734 h 1173"/>
                <a:gd name="T62" fmla="*/ 365 w 609"/>
                <a:gd name="T63" fmla="*/ 707 h 1173"/>
                <a:gd name="T64" fmla="*/ 301 w 609"/>
                <a:gd name="T65" fmla="*/ 670 h 1173"/>
                <a:gd name="T66" fmla="*/ 259 w 609"/>
                <a:gd name="T67" fmla="*/ 621 h 1173"/>
                <a:gd name="T68" fmla="*/ 178 w 609"/>
                <a:gd name="T69" fmla="*/ 585 h 1173"/>
                <a:gd name="T70" fmla="*/ 169 w 609"/>
                <a:gd name="T71" fmla="*/ 561 h 1173"/>
                <a:gd name="T72" fmla="*/ 121 w 609"/>
                <a:gd name="T73" fmla="*/ 538 h 1173"/>
                <a:gd name="T74" fmla="*/ 110 w 609"/>
                <a:gd name="T75" fmla="*/ 558 h 1173"/>
                <a:gd name="T76" fmla="*/ 118 w 609"/>
                <a:gd name="T77" fmla="*/ 592 h 1173"/>
                <a:gd name="T78" fmla="*/ 64 w 609"/>
                <a:gd name="T79" fmla="*/ 710 h 1173"/>
                <a:gd name="T80" fmla="*/ 126 w 609"/>
                <a:gd name="T81" fmla="*/ 799 h 1173"/>
                <a:gd name="T82" fmla="*/ 123 w 609"/>
                <a:gd name="T83" fmla="*/ 799 h 1173"/>
                <a:gd name="T84" fmla="*/ 145 w 609"/>
                <a:gd name="T85" fmla="*/ 857 h 1173"/>
                <a:gd name="T86" fmla="*/ 302 w 609"/>
                <a:gd name="T87" fmla="*/ 1009 h 1173"/>
                <a:gd name="T88" fmla="*/ 295 w 609"/>
                <a:gd name="T89" fmla="*/ 1044 h 1173"/>
                <a:gd name="T90" fmla="*/ 330 w 609"/>
                <a:gd name="T91" fmla="*/ 1110 h 1173"/>
                <a:gd name="T92" fmla="*/ 346 w 609"/>
                <a:gd name="T93" fmla="*/ 1163 h 1173"/>
                <a:gd name="T94" fmla="*/ 322 w 609"/>
                <a:gd name="T95" fmla="*/ 1165 h 1173"/>
                <a:gd name="T96" fmla="*/ 310 w 609"/>
                <a:gd name="T97" fmla="*/ 1172 h 1173"/>
                <a:gd name="T98" fmla="*/ 279 w 609"/>
                <a:gd name="T99" fmla="*/ 1156 h 1173"/>
                <a:gd name="T100" fmla="*/ 150 w 609"/>
                <a:gd name="T101" fmla="*/ 1022 h 1173"/>
                <a:gd name="T102" fmla="*/ 110 w 609"/>
                <a:gd name="T103" fmla="*/ 888 h 1173"/>
                <a:gd name="T104" fmla="*/ 55 w 609"/>
                <a:gd name="T105" fmla="*/ 797 h 1173"/>
                <a:gd name="T106" fmla="*/ 31 w 609"/>
                <a:gd name="T107" fmla="*/ 797 h 1173"/>
                <a:gd name="T108" fmla="*/ 31 w 609"/>
                <a:gd name="T109" fmla="*/ 786 h 1173"/>
                <a:gd name="T110" fmla="*/ 44 w 609"/>
                <a:gd name="T111" fmla="*/ 716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9" h="1173">
                  <a:moveTo>
                    <a:pt x="49" y="716"/>
                  </a:moveTo>
                  <a:lnTo>
                    <a:pt x="49" y="716"/>
                  </a:lnTo>
                  <a:cubicBezTo>
                    <a:pt x="64" y="685"/>
                    <a:pt x="70" y="665"/>
                    <a:pt x="87" y="631"/>
                  </a:cubicBezTo>
                  <a:lnTo>
                    <a:pt x="87" y="631"/>
                  </a:lnTo>
                  <a:cubicBezTo>
                    <a:pt x="88" y="625"/>
                    <a:pt x="101" y="620"/>
                    <a:pt x="101" y="610"/>
                  </a:cubicBezTo>
                  <a:lnTo>
                    <a:pt x="101" y="610"/>
                  </a:lnTo>
                  <a:cubicBezTo>
                    <a:pt x="101" y="596"/>
                    <a:pt x="75" y="510"/>
                    <a:pt x="62" y="497"/>
                  </a:cubicBezTo>
                  <a:lnTo>
                    <a:pt x="62" y="497"/>
                  </a:lnTo>
                  <a:cubicBezTo>
                    <a:pt x="49" y="484"/>
                    <a:pt x="29" y="475"/>
                    <a:pt x="29" y="455"/>
                  </a:cubicBezTo>
                  <a:lnTo>
                    <a:pt x="29" y="455"/>
                  </a:lnTo>
                  <a:cubicBezTo>
                    <a:pt x="29" y="449"/>
                    <a:pt x="31" y="444"/>
                    <a:pt x="31" y="438"/>
                  </a:cubicBezTo>
                  <a:lnTo>
                    <a:pt x="31" y="440"/>
                  </a:lnTo>
                  <a:lnTo>
                    <a:pt x="31" y="440"/>
                  </a:lnTo>
                  <a:cubicBezTo>
                    <a:pt x="35" y="437"/>
                    <a:pt x="49" y="417"/>
                    <a:pt x="49" y="402"/>
                  </a:cubicBezTo>
                  <a:lnTo>
                    <a:pt x="49" y="402"/>
                  </a:lnTo>
                  <a:cubicBezTo>
                    <a:pt x="49" y="379"/>
                    <a:pt x="48" y="341"/>
                    <a:pt x="35" y="321"/>
                  </a:cubicBezTo>
                  <a:lnTo>
                    <a:pt x="35" y="321"/>
                  </a:lnTo>
                  <a:cubicBezTo>
                    <a:pt x="24" y="304"/>
                    <a:pt x="0" y="304"/>
                    <a:pt x="0" y="272"/>
                  </a:cubicBezTo>
                  <a:lnTo>
                    <a:pt x="0" y="272"/>
                  </a:lnTo>
                  <a:cubicBezTo>
                    <a:pt x="0" y="238"/>
                    <a:pt x="11" y="213"/>
                    <a:pt x="29" y="194"/>
                  </a:cubicBezTo>
                  <a:lnTo>
                    <a:pt x="29" y="194"/>
                  </a:lnTo>
                  <a:cubicBezTo>
                    <a:pt x="38" y="186"/>
                    <a:pt x="60" y="189"/>
                    <a:pt x="75" y="180"/>
                  </a:cubicBezTo>
                  <a:lnTo>
                    <a:pt x="75" y="180"/>
                  </a:lnTo>
                  <a:cubicBezTo>
                    <a:pt x="119" y="151"/>
                    <a:pt x="147" y="136"/>
                    <a:pt x="183" y="81"/>
                  </a:cubicBezTo>
                  <a:lnTo>
                    <a:pt x="194" y="81"/>
                  </a:lnTo>
                  <a:lnTo>
                    <a:pt x="194" y="81"/>
                  </a:lnTo>
                  <a:cubicBezTo>
                    <a:pt x="194" y="96"/>
                    <a:pt x="201" y="101"/>
                    <a:pt x="205" y="101"/>
                  </a:cubicBezTo>
                  <a:lnTo>
                    <a:pt x="205" y="101"/>
                  </a:lnTo>
                  <a:cubicBezTo>
                    <a:pt x="211" y="101"/>
                    <a:pt x="214" y="90"/>
                    <a:pt x="214" y="85"/>
                  </a:cubicBezTo>
                  <a:lnTo>
                    <a:pt x="214" y="37"/>
                  </a:lnTo>
                  <a:lnTo>
                    <a:pt x="214" y="37"/>
                  </a:lnTo>
                  <a:cubicBezTo>
                    <a:pt x="214" y="37"/>
                    <a:pt x="257" y="24"/>
                    <a:pt x="264" y="26"/>
                  </a:cubicBezTo>
                  <a:lnTo>
                    <a:pt x="322" y="26"/>
                  </a:lnTo>
                  <a:lnTo>
                    <a:pt x="322" y="26"/>
                  </a:lnTo>
                  <a:cubicBezTo>
                    <a:pt x="348" y="39"/>
                    <a:pt x="368" y="0"/>
                    <a:pt x="396" y="0"/>
                  </a:cubicBezTo>
                  <a:lnTo>
                    <a:pt x="396" y="0"/>
                  </a:lnTo>
                  <a:cubicBezTo>
                    <a:pt x="425" y="0"/>
                    <a:pt x="443" y="21"/>
                    <a:pt x="475" y="21"/>
                  </a:cubicBezTo>
                  <a:lnTo>
                    <a:pt x="475" y="21"/>
                  </a:lnTo>
                  <a:cubicBezTo>
                    <a:pt x="475" y="68"/>
                    <a:pt x="511" y="83"/>
                    <a:pt x="539" y="92"/>
                  </a:cubicBezTo>
                  <a:lnTo>
                    <a:pt x="539" y="92"/>
                  </a:lnTo>
                  <a:cubicBezTo>
                    <a:pt x="502" y="149"/>
                    <a:pt x="412" y="162"/>
                    <a:pt x="412" y="240"/>
                  </a:cubicBezTo>
                  <a:lnTo>
                    <a:pt x="412" y="240"/>
                  </a:lnTo>
                  <a:cubicBezTo>
                    <a:pt x="412" y="257"/>
                    <a:pt x="422" y="260"/>
                    <a:pt x="429" y="268"/>
                  </a:cubicBezTo>
                  <a:lnTo>
                    <a:pt x="429" y="268"/>
                  </a:lnTo>
                  <a:cubicBezTo>
                    <a:pt x="471" y="310"/>
                    <a:pt x="489" y="358"/>
                    <a:pt x="535" y="387"/>
                  </a:cubicBezTo>
                  <a:lnTo>
                    <a:pt x="535" y="387"/>
                  </a:lnTo>
                  <a:cubicBezTo>
                    <a:pt x="579" y="417"/>
                    <a:pt x="608" y="497"/>
                    <a:pt x="608" y="558"/>
                  </a:cubicBezTo>
                  <a:lnTo>
                    <a:pt x="608" y="558"/>
                  </a:lnTo>
                  <a:cubicBezTo>
                    <a:pt x="608" y="600"/>
                    <a:pt x="586" y="616"/>
                    <a:pt x="586" y="648"/>
                  </a:cubicBezTo>
                  <a:lnTo>
                    <a:pt x="586" y="648"/>
                  </a:lnTo>
                  <a:cubicBezTo>
                    <a:pt x="527" y="663"/>
                    <a:pt x="522" y="683"/>
                    <a:pt x="475" y="707"/>
                  </a:cubicBezTo>
                  <a:lnTo>
                    <a:pt x="475" y="707"/>
                  </a:lnTo>
                  <a:cubicBezTo>
                    <a:pt x="452" y="718"/>
                    <a:pt x="456" y="747"/>
                    <a:pt x="434" y="747"/>
                  </a:cubicBezTo>
                  <a:lnTo>
                    <a:pt x="434" y="747"/>
                  </a:lnTo>
                  <a:cubicBezTo>
                    <a:pt x="429" y="747"/>
                    <a:pt x="429" y="736"/>
                    <a:pt x="429" y="730"/>
                  </a:cubicBezTo>
                  <a:lnTo>
                    <a:pt x="429" y="751"/>
                  </a:lnTo>
                  <a:lnTo>
                    <a:pt x="429" y="751"/>
                  </a:lnTo>
                  <a:cubicBezTo>
                    <a:pt x="429" y="769"/>
                    <a:pt x="392" y="797"/>
                    <a:pt x="385" y="797"/>
                  </a:cubicBezTo>
                  <a:lnTo>
                    <a:pt x="385" y="797"/>
                  </a:lnTo>
                  <a:cubicBezTo>
                    <a:pt x="378" y="797"/>
                    <a:pt x="370" y="771"/>
                    <a:pt x="370" y="760"/>
                  </a:cubicBezTo>
                  <a:lnTo>
                    <a:pt x="370" y="760"/>
                  </a:lnTo>
                  <a:cubicBezTo>
                    <a:pt x="370" y="745"/>
                    <a:pt x="370" y="738"/>
                    <a:pt x="378" y="734"/>
                  </a:cubicBezTo>
                  <a:lnTo>
                    <a:pt x="378" y="734"/>
                  </a:lnTo>
                  <a:cubicBezTo>
                    <a:pt x="370" y="730"/>
                    <a:pt x="366" y="716"/>
                    <a:pt x="365" y="707"/>
                  </a:cubicBezTo>
                  <a:lnTo>
                    <a:pt x="365" y="707"/>
                  </a:lnTo>
                  <a:cubicBezTo>
                    <a:pt x="337" y="707"/>
                    <a:pt x="301" y="698"/>
                    <a:pt x="301" y="670"/>
                  </a:cubicBezTo>
                  <a:lnTo>
                    <a:pt x="301" y="670"/>
                  </a:lnTo>
                  <a:cubicBezTo>
                    <a:pt x="260" y="670"/>
                    <a:pt x="280" y="644"/>
                    <a:pt x="259" y="621"/>
                  </a:cubicBezTo>
                  <a:lnTo>
                    <a:pt x="259" y="621"/>
                  </a:lnTo>
                  <a:cubicBezTo>
                    <a:pt x="233" y="596"/>
                    <a:pt x="207" y="594"/>
                    <a:pt x="178" y="585"/>
                  </a:cubicBezTo>
                  <a:lnTo>
                    <a:pt x="178" y="585"/>
                  </a:lnTo>
                  <a:cubicBezTo>
                    <a:pt x="174" y="585"/>
                    <a:pt x="169" y="561"/>
                    <a:pt x="169" y="561"/>
                  </a:cubicBezTo>
                  <a:lnTo>
                    <a:pt x="169" y="561"/>
                  </a:lnTo>
                  <a:cubicBezTo>
                    <a:pt x="163" y="541"/>
                    <a:pt x="141" y="538"/>
                    <a:pt x="121" y="538"/>
                  </a:cubicBezTo>
                  <a:lnTo>
                    <a:pt x="121" y="538"/>
                  </a:lnTo>
                  <a:cubicBezTo>
                    <a:pt x="106" y="538"/>
                    <a:pt x="110" y="548"/>
                    <a:pt x="110" y="558"/>
                  </a:cubicBezTo>
                  <a:lnTo>
                    <a:pt x="110" y="558"/>
                  </a:lnTo>
                  <a:cubicBezTo>
                    <a:pt x="110" y="574"/>
                    <a:pt x="118" y="578"/>
                    <a:pt x="118" y="592"/>
                  </a:cubicBezTo>
                  <a:lnTo>
                    <a:pt x="118" y="592"/>
                  </a:lnTo>
                  <a:cubicBezTo>
                    <a:pt x="118" y="646"/>
                    <a:pt x="64" y="661"/>
                    <a:pt x="64" y="710"/>
                  </a:cubicBezTo>
                  <a:lnTo>
                    <a:pt x="64" y="710"/>
                  </a:lnTo>
                  <a:cubicBezTo>
                    <a:pt x="64" y="767"/>
                    <a:pt x="126" y="745"/>
                    <a:pt x="126" y="799"/>
                  </a:cubicBezTo>
                  <a:lnTo>
                    <a:pt x="123" y="799"/>
                  </a:lnTo>
                  <a:lnTo>
                    <a:pt x="123" y="799"/>
                  </a:lnTo>
                  <a:cubicBezTo>
                    <a:pt x="130" y="811"/>
                    <a:pt x="132" y="844"/>
                    <a:pt x="145" y="857"/>
                  </a:cubicBezTo>
                  <a:lnTo>
                    <a:pt x="145" y="857"/>
                  </a:lnTo>
                  <a:cubicBezTo>
                    <a:pt x="194" y="906"/>
                    <a:pt x="302" y="917"/>
                    <a:pt x="302" y="1009"/>
                  </a:cubicBezTo>
                  <a:lnTo>
                    <a:pt x="302" y="1009"/>
                  </a:lnTo>
                  <a:cubicBezTo>
                    <a:pt x="302" y="1027"/>
                    <a:pt x="295" y="1027"/>
                    <a:pt x="295" y="1044"/>
                  </a:cubicBezTo>
                  <a:lnTo>
                    <a:pt x="295" y="1044"/>
                  </a:lnTo>
                  <a:cubicBezTo>
                    <a:pt x="295" y="1077"/>
                    <a:pt x="322" y="1088"/>
                    <a:pt x="330" y="1110"/>
                  </a:cubicBezTo>
                  <a:lnTo>
                    <a:pt x="330" y="1110"/>
                  </a:lnTo>
                  <a:cubicBezTo>
                    <a:pt x="337" y="1134"/>
                    <a:pt x="337" y="1143"/>
                    <a:pt x="346" y="1163"/>
                  </a:cubicBezTo>
                  <a:lnTo>
                    <a:pt x="346" y="1163"/>
                  </a:lnTo>
                  <a:cubicBezTo>
                    <a:pt x="332" y="1165"/>
                    <a:pt x="330" y="1165"/>
                    <a:pt x="322" y="1165"/>
                  </a:cubicBezTo>
                  <a:lnTo>
                    <a:pt x="322" y="1165"/>
                  </a:lnTo>
                  <a:cubicBezTo>
                    <a:pt x="317" y="1165"/>
                    <a:pt x="315" y="1172"/>
                    <a:pt x="310" y="1172"/>
                  </a:cubicBezTo>
                  <a:lnTo>
                    <a:pt x="310" y="1172"/>
                  </a:lnTo>
                  <a:cubicBezTo>
                    <a:pt x="291" y="1172"/>
                    <a:pt x="290" y="1159"/>
                    <a:pt x="279" y="1156"/>
                  </a:cubicBezTo>
                  <a:lnTo>
                    <a:pt x="279" y="1156"/>
                  </a:lnTo>
                  <a:cubicBezTo>
                    <a:pt x="222" y="1137"/>
                    <a:pt x="170" y="1082"/>
                    <a:pt x="150" y="1022"/>
                  </a:cubicBezTo>
                  <a:lnTo>
                    <a:pt x="150" y="1022"/>
                  </a:lnTo>
                  <a:cubicBezTo>
                    <a:pt x="134" y="969"/>
                    <a:pt x="130" y="930"/>
                    <a:pt x="110" y="888"/>
                  </a:cubicBezTo>
                  <a:lnTo>
                    <a:pt x="110" y="888"/>
                  </a:lnTo>
                  <a:cubicBezTo>
                    <a:pt x="97" y="862"/>
                    <a:pt x="85" y="797"/>
                    <a:pt x="55" y="797"/>
                  </a:cubicBezTo>
                  <a:lnTo>
                    <a:pt x="55" y="797"/>
                  </a:lnTo>
                  <a:cubicBezTo>
                    <a:pt x="37" y="797"/>
                    <a:pt x="48" y="807"/>
                    <a:pt x="31" y="797"/>
                  </a:cubicBezTo>
                  <a:lnTo>
                    <a:pt x="31" y="797"/>
                  </a:lnTo>
                  <a:cubicBezTo>
                    <a:pt x="28" y="797"/>
                    <a:pt x="31" y="789"/>
                    <a:pt x="31" y="786"/>
                  </a:cubicBezTo>
                  <a:lnTo>
                    <a:pt x="31" y="786"/>
                  </a:lnTo>
                  <a:cubicBezTo>
                    <a:pt x="31" y="760"/>
                    <a:pt x="35" y="741"/>
                    <a:pt x="40" y="716"/>
                  </a:cubicBezTo>
                  <a:lnTo>
                    <a:pt x="44" y="716"/>
                  </a:lnTo>
                  <a:lnTo>
                    <a:pt x="49" y="716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3" name="Freeform 51">
              <a:extLst>
                <a:ext uri="{FF2B5EF4-FFF2-40B4-BE49-F238E27FC236}">
                  <a16:creationId xmlns:a16="http://schemas.microsoft.com/office/drawing/2014/main" id="{4C90CAF8-869F-1144-9F99-689C1853F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75700" y="6944411"/>
              <a:ext cx="57606" cy="54725"/>
            </a:xfrm>
            <a:custGeom>
              <a:avLst/>
              <a:gdLst>
                <a:gd name="T0" fmla="*/ 50 w 87"/>
                <a:gd name="T1" fmla="*/ 70 h 82"/>
                <a:gd name="T2" fmla="*/ 50 w 87"/>
                <a:gd name="T3" fmla="*/ 70 h 82"/>
                <a:gd name="T4" fmla="*/ 37 w 87"/>
                <a:gd name="T5" fmla="*/ 45 h 82"/>
                <a:gd name="T6" fmla="*/ 37 w 87"/>
                <a:gd name="T7" fmla="*/ 45 h 82"/>
                <a:gd name="T8" fmla="*/ 0 w 87"/>
                <a:gd name="T9" fmla="*/ 24 h 82"/>
                <a:gd name="T10" fmla="*/ 0 w 87"/>
                <a:gd name="T11" fmla="*/ 24 h 82"/>
                <a:gd name="T12" fmla="*/ 39 w 87"/>
                <a:gd name="T13" fmla="*/ 0 h 82"/>
                <a:gd name="T14" fmla="*/ 39 w 87"/>
                <a:gd name="T15" fmla="*/ 0 h 82"/>
                <a:gd name="T16" fmla="*/ 84 w 87"/>
                <a:gd name="T17" fmla="*/ 63 h 82"/>
                <a:gd name="T18" fmla="*/ 84 w 87"/>
                <a:gd name="T19" fmla="*/ 63 h 82"/>
                <a:gd name="T20" fmla="*/ 86 w 87"/>
                <a:gd name="T21" fmla="*/ 81 h 82"/>
                <a:gd name="T22" fmla="*/ 73 w 87"/>
                <a:gd name="T23" fmla="*/ 81 h 82"/>
                <a:gd name="T24" fmla="*/ 73 w 87"/>
                <a:gd name="T25" fmla="*/ 81 h 82"/>
                <a:gd name="T26" fmla="*/ 50 w 87"/>
                <a:gd name="T27" fmla="*/ 7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82">
                  <a:moveTo>
                    <a:pt x="50" y="70"/>
                  </a:moveTo>
                  <a:lnTo>
                    <a:pt x="50" y="70"/>
                  </a:lnTo>
                  <a:cubicBezTo>
                    <a:pt x="46" y="70"/>
                    <a:pt x="39" y="50"/>
                    <a:pt x="37" y="45"/>
                  </a:cubicBezTo>
                  <a:lnTo>
                    <a:pt x="37" y="45"/>
                  </a:lnTo>
                  <a:cubicBezTo>
                    <a:pt x="30" y="30"/>
                    <a:pt x="0" y="39"/>
                    <a:pt x="0" y="24"/>
                  </a:cubicBezTo>
                  <a:lnTo>
                    <a:pt x="0" y="24"/>
                  </a:lnTo>
                  <a:cubicBezTo>
                    <a:pt x="0" y="15"/>
                    <a:pt x="26" y="2"/>
                    <a:pt x="39" y="0"/>
                  </a:cubicBezTo>
                  <a:lnTo>
                    <a:pt x="39" y="0"/>
                  </a:lnTo>
                  <a:cubicBezTo>
                    <a:pt x="48" y="28"/>
                    <a:pt x="59" y="63"/>
                    <a:pt x="84" y="63"/>
                  </a:cubicBezTo>
                  <a:lnTo>
                    <a:pt x="84" y="63"/>
                  </a:lnTo>
                  <a:cubicBezTo>
                    <a:pt x="84" y="68"/>
                    <a:pt x="84" y="76"/>
                    <a:pt x="86" y="81"/>
                  </a:cubicBezTo>
                  <a:lnTo>
                    <a:pt x="73" y="81"/>
                  </a:lnTo>
                  <a:lnTo>
                    <a:pt x="73" y="81"/>
                  </a:lnTo>
                  <a:cubicBezTo>
                    <a:pt x="63" y="81"/>
                    <a:pt x="57" y="70"/>
                    <a:pt x="50" y="7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4" name="Freeform 52">
              <a:extLst>
                <a:ext uri="{FF2B5EF4-FFF2-40B4-BE49-F238E27FC236}">
                  <a16:creationId xmlns:a16="http://schemas.microsoft.com/office/drawing/2014/main" id="{9ADBC502-3534-BD40-888A-631514C5FC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59230" y="6984735"/>
              <a:ext cx="25922" cy="20161"/>
            </a:xfrm>
            <a:custGeom>
              <a:avLst/>
              <a:gdLst>
                <a:gd name="T0" fmla="*/ 2 w 38"/>
                <a:gd name="T1" fmla="*/ 0 h 32"/>
                <a:gd name="T2" fmla="*/ 20 w 38"/>
                <a:gd name="T3" fmla="*/ 0 h 32"/>
                <a:gd name="T4" fmla="*/ 20 w 38"/>
                <a:gd name="T5" fmla="*/ 0 h 32"/>
                <a:gd name="T6" fmla="*/ 37 w 38"/>
                <a:gd name="T7" fmla="*/ 9 h 32"/>
                <a:gd name="T8" fmla="*/ 37 w 38"/>
                <a:gd name="T9" fmla="*/ 9 h 32"/>
                <a:gd name="T10" fmla="*/ 17 w 38"/>
                <a:gd name="T11" fmla="*/ 31 h 32"/>
                <a:gd name="T12" fmla="*/ 17 w 38"/>
                <a:gd name="T13" fmla="*/ 31 h 32"/>
                <a:gd name="T14" fmla="*/ 2 w 38"/>
                <a:gd name="T15" fmla="*/ 9 h 32"/>
                <a:gd name="T16" fmla="*/ 2 w 38"/>
                <a:gd name="T17" fmla="*/ 9 h 32"/>
                <a:gd name="T18" fmla="*/ 2 w 38"/>
                <a:gd name="T1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2">
                  <a:moveTo>
                    <a:pt x="2" y="0"/>
                  </a:moveTo>
                  <a:lnTo>
                    <a:pt x="20" y="0"/>
                  </a:lnTo>
                  <a:lnTo>
                    <a:pt x="20" y="0"/>
                  </a:lnTo>
                  <a:cubicBezTo>
                    <a:pt x="26" y="0"/>
                    <a:pt x="31" y="7"/>
                    <a:pt x="37" y="9"/>
                  </a:cubicBezTo>
                  <a:lnTo>
                    <a:pt x="37" y="9"/>
                  </a:lnTo>
                  <a:cubicBezTo>
                    <a:pt x="35" y="20"/>
                    <a:pt x="28" y="31"/>
                    <a:pt x="17" y="31"/>
                  </a:cubicBezTo>
                  <a:lnTo>
                    <a:pt x="17" y="31"/>
                  </a:lnTo>
                  <a:cubicBezTo>
                    <a:pt x="5" y="31"/>
                    <a:pt x="2" y="18"/>
                    <a:pt x="2" y="9"/>
                  </a:cubicBezTo>
                  <a:lnTo>
                    <a:pt x="2" y="9"/>
                  </a:lnTo>
                  <a:cubicBezTo>
                    <a:pt x="2" y="7"/>
                    <a:pt x="0" y="0"/>
                    <a:pt x="2" y="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5" name="Freeform 53">
              <a:extLst>
                <a:ext uri="{FF2B5EF4-FFF2-40B4-BE49-F238E27FC236}">
                  <a16:creationId xmlns:a16="http://schemas.microsoft.com/office/drawing/2014/main" id="{C34423AA-798B-C942-9B86-CB500DDDD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56797" y="6930008"/>
              <a:ext cx="23042" cy="34564"/>
            </a:xfrm>
            <a:custGeom>
              <a:avLst/>
              <a:gdLst>
                <a:gd name="T0" fmla="*/ 7 w 35"/>
                <a:gd name="T1" fmla="*/ 0 h 53"/>
                <a:gd name="T2" fmla="*/ 7 w 35"/>
                <a:gd name="T3" fmla="*/ 0 h 53"/>
                <a:gd name="T4" fmla="*/ 33 w 35"/>
                <a:gd name="T5" fmla="*/ 52 h 53"/>
                <a:gd name="T6" fmla="*/ 33 w 35"/>
                <a:gd name="T7" fmla="*/ 52 h 53"/>
                <a:gd name="T8" fmla="*/ 0 w 35"/>
                <a:gd name="T9" fmla="*/ 8 h 53"/>
                <a:gd name="T10" fmla="*/ 0 w 35"/>
                <a:gd name="T11" fmla="*/ 0 h 53"/>
                <a:gd name="T12" fmla="*/ 14 w 35"/>
                <a:gd name="T13" fmla="*/ 0 h 53"/>
                <a:gd name="T14" fmla="*/ 14 w 35"/>
                <a:gd name="T15" fmla="*/ 9 h 53"/>
                <a:gd name="T16" fmla="*/ 7 w 35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53">
                  <a:moveTo>
                    <a:pt x="7" y="0"/>
                  </a:moveTo>
                  <a:lnTo>
                    <a:pt x="7" y="0"/>
                  </a:lnTo>
                  <a:cubicBezTo>
                    <a:pt x="21" y="19"/>
                    <a:pt x="34" y="29"/>
                    <a:pt x="33" y="52"/>
                  </a:cubicBezTo>
                  <a:lnTo>
                    <a:pt x="33" y="52"/>
                  </a:lnTo>
                  <a:cubicBezTo>
                    <a:pt x="23" y="50"/>
                    <a:pt x="0" y="20"/>
                    <a:pt x="0" y="8"/>
                  </a:cubicBezTo>
                  <a:lnTo>
                    <a:pt x="0" y="0"/>
                  </a:lnTo>
                  <a:lnTo>
                    <a:pt x="14" y="0"/>
                  </a:lnTo>
                  <a:lnTo>
                    <a:pt x="14" y="9"/>
                  </a:lnTo>
                  <a:lnTo>
                    <a:pt x="7" y="0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6" name="Freeform 54">
              <a:extLst>
                <a:ext uri="{FF2B5EF4-FFF2-40B4-BE49-F238E27FC236}">
                  <a16:creationId xmlns:a16="http://schemas.microsoft.com/office/drawing/2014/main" id="{25F3D03B-BAC4-264A-9641-18971B186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13593" y="6858003"/>
              <a:ext cx="31682" cy="28803"/>
            </a:xfrm>
            <a:custGeom>
              <a:avLst/>
              <a:gdLst>
                <a:gd name="T0" fmla="*/ 9 w 50"/>
                <a:gd name="T1" fmla="*/ 0 h 46"/>
                <a:gd name="T2" fmla="*/ 9 w 50"/>
                <a:gd name="T3" fmla="*/ 0 h 46"/>
                <a:gd name="T4" fmla="*/ 35 w 50"/>
                <a:gd name="T5" fmla="*/ 45 h 46"/>
                <a:gd name="T6" fmla="*/ 35 w 50"/>
                <a:gd name="T7" fmla="*/ 45 h 46"/>
                <a:gd name="T8" fmla="*/ 2 w 50"/>
                <a:gd name="T9" fmla="*/ 4 h 46"/>
                <a:gd name="T10" fmla="*/ 0 w 50"/>
                <a:gd name="T11" fmla="*/ 4 h 46"/>
                <a:gd name="T12" fmla="*/ 9 w 50"/>
                <a:gd name="T13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46">
                  <a:moveTo>
                    <a:pt x="9" y="0"/>
                  </a:moveTo>
                  <a:lnTo>
                    <a:pt x="9" y="0"/>
                  </a:lnTo>
                  <a:cubicBezTo>
                    <a:pt x="20" y="7"/>
                    <a:pt x="49" y="45"/>
                    <a:pt x="35" y="45"/>
                  </a:cubicBezTo>
                  <a:lnTo>
                    <a:pt x="35" y="45"/>
                  </a:lnTo>
                  <a:cubicBezTo>
                    <a:pt x="27" y="45"/>
                    <a:pt x="4" y="15"/>
                    <a:pt x="2" y="4"/>
                  </a:cubicBezTo>
                  <a:lnTo>
                    <a:pt x="0" y="4"/>
                  </a:lnTo>
                  <a:lnTo>
                    <a:pt x="9" y="0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7" name="Freeform 55">
              <a:extLst>
                <a:ext uri="{FF2B5EF4-FFF2-40B4-BE49-F238E27FC236}">
                  <a16:creationId xmlns:a16="http://schemas.microsoft.com/office/drawing/2014/main" id="{9A072180-1F01-2C4D-8084-2E061936BA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8108" y="5691478"/>
              <a:ext cx="80648" cy="103691"/>
            </a:xfrm>
            <a:custGeom>
              <a:avLst/>
              <a:gdLst>
                <a:gd name="T0" fmla="*/ 47 w 123"/>
                <a:gd name="T1" fmla="*/ 92 h 157"/>
                <a:gd name="T2" fmla="*/ 54 w 123"/>
                <a:gd name="T3" fmla="*/ 66 h 157"/>
                <a:gd name="T4" fmla="*/ 54 w 123"/>
                <a:gd name="T5" fmla="*/ 66 h 157"/>
                <a:gd name="T6" fmla="*/ 40 w 123"/>
                <a:gd name="T7" fmla="*/ 42 h 157"/>
                <a:gd name="T8" fmla="*/ 40 w 123"/>
                <a:gd name="T9" fmla="*/ 42 h 157"/>
                <a:gd name="T10" fmla="*/ 40 w 123"/>
                <a:gd name="T11" fmla="*/ 59 h 157"/>
                <a:gd name="T12" fmla="*/ 40 w 123"/>
                <a:gd name="T13" fmla="*/ 59 h 157"/>
                <a:gd name="T14" fmla="*/ 18 w 123"/>
                <a:gd name="T15" fmla="*/ 66 h 157"/>
                <a:gd name="T16" fmla="*/ 18 w 123"/>
                <a:gd name="T17" fmla="*/ 66 h 157"/>
                <a:gd name="T18" fmla="*/ 0 w 123"/>
                <a:gd name="T19" fmla="*/ 46 h 157"/>
                <a:gd name="T20" fmla="*/ 0 w 123"/>
                <a:gd name="T21" fmla="*/ 46 h 157"/>
                <a:gd name="T22" fmla="*/ 56 w 123"/>
                <a:gd name="T23" fmla="*/ 0 h 157"/>
                <a:gd name="T24" fmla="*/ 56 w 123"/>
                <a:gd name="T25" fmla="*/ 0 h 157"/>
                <a:gd name="T26" fmla="*/ 104 w 123"/>
                <a:gd name="T27" fmla="*/ 15 h 157"/>
                <a:gd name="T28" fmla="*/ 104 w 123"/>
                <a:gd name="T29" fmla="*/ 15 h 157"/>
                <a:gd name="T30" fmla="*/ 106 w 123"/>
                <a:gd name="T31" fmla="*/ 33 h 157"/>
                <a:gd name="T32" fmla="*/ 122 w 123"/>
                <a:gd name="T33" fmla="*/ 48 h 157"/>
                <a:gd name="T34" fmla="*/ 122 w 123"/>
                <a:gd name="T35" fmla="*/ 48 h 157"/>
                <a:gd name="T36" fmla="*/ 122 w 123"/>
                <a:gd name="T37" fmla="*/ 66 h 157"/>
                <a:gd name="T38" fmla="*/ 122 w 123"/>
                <a:gd name="T39" fmla="*/ 66 h 157"/>
                <a:gd name="T40" fmla="*/ 106 w 123"/>
                <a:gd name="T41" fmla="*/ 66 h 157"/>
                <a:gd name="T42" fmla="*/ 106 w 123"/>
                <a:gd name="T43" fmla="*/ 66 h 157"/>
                <a:gd name="T44" fmla="*/ 60 w 123"/>
                <a:gd name="T45" fmla="*/ 156 h 157"/>
                <a:gd name="T46" fmla="*/ 60 w 123"/>
                <a:gd name="T47" fmla="*/ 156 h 157"/>
                <a:gd name="T48" fmla="*/ 54 w 123"/>
                <a:gd name="T49" fmla="*/ 140 h 157"/>
                <a:gd name="T50" fmla="*/ 54 w 123"/>
                <a:gd name="T51" fmla="*/ 150 h 157"/>
                <a:gd name="T52" fmla="*/ 54 w 123"/>
                <a:gd name="T53" fmla="*/ 150 h 157"/>
                <a:gd name="T54" fmla="*/ 29 w 123"/>
                <a:gd name="T55" fmla="*/ 121 h 157"/>
                <a:gd name="T56" fmla="*/ 29 w 123"/>
                <a:gd name="T57" fmla="*/ 121 h 157"/>
                <a:gd name="T58" fmla="*/ 47 w 123"/>
                <a:gd name="T59" fmla="*/ 9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3" h="157">
                  <a:moveTo>
                    <a:pt x="47" y="92"/>
                  </a:moveTo>
                  <a:lnTo>
                    <a:pt x="54" y="66"/>
                  </a:lnTo>
                  <a:lnTo>
                    <a:pt x="54" y="66"/>
                  </a:lnTo>
                  <a:cubicBezTo>
                    <a:pt x="44" y="62"/>
                    <a:pt x="41" y="52"/>
                    <a:pt x="40" y="42"/>
                  </a:cubicBezTo>
                  <a:lnTo>
                    <a:pt x="40" y="42"/>
                  </a:lnTo>
                  <a:cubicBezTo>
                    <a:pt x="40" y="48"/>
                    <a:pt x="36" y="53"/>
                    <a:pt x="40" y="59"/>
                  </a:cubicBezTo>
                  <a:lnTo>
                    <a:pt x="40" y="59"/>
                  </a:lnTo>
                  <a:cubicBezTo>
                    <a:pt x="31" y="59"/>
                    <a:pt x="23" y="66"/>
                    <a:pt x="18" y="66"/>
                  </a:cubicBezTo>
                  <a:lnTo>
                    <a:pt x="18" y="66"/>
                  </a:lnTo>
                  <a:cubicBezTo>
                    <a:pt x="9" y="66"/>
                    <a:pt x="0" y="55"/>
                    <a:pt x="0" y="46"/>
                  </a:cubicBezTo>
                  <a:lnTo>
                    <a:pt x="0" y="46"/>
                  </a:lnTo>
                  <a:cubicBezTo>
                    <a:pt x="0" y="35"/>
                    <a:pt x="51" y="0"/>
                    <a:pt x="56" y="0"/>
                  </a:cubicBezTo>
                  <a:lnTo>
                    <a:pt x="56" y="0"/>
                  </a:lnTo>
                  <a:cubicBezTo>
                    <a:pt x="71" y="0"/>
                    <a:pt x="82" y="15"/>
                    <a:pt x="104" y="15"/>
                  </a:cubicBezTo>
                  <a:lnTo>
                    <a:pt x="104" y="15"/>
                  </a:lnTo>
                  <a:cubicBezTo>
                    <a:pt x="104" y="20"/>
                    <a:pt x="100" y="33"/>
                    <a:pt x="106" y="33"/>
                  </a:cubicBezTo>
                  <a:lnTo>
                    <a:pt x="122" y="48"/>
                  </a:lnTo>
                  <a:lnTo>
                    <a:pt x="122" y="48"/>
                  </a:lnTo>
                  <a:cubicBezTo>
                    <a:pt x="122" y="53"/>
                    <a:pt x="119" y="61"/>
                    <a:pt x="122" y="66"/>
                  </a:cubicBezTo>
                  <a:lnTo>
                    <a:pt x="122" y="66"/>
                  </a:lnTo>
                  <a:cubicBezTo>
                    <a:pt x="116" y="66"/>
                    <a:pt x="111" y="70"/>
                    <a:pt x="106" y="66"/>
                  </a:cubicBezTo>
                  <a:lnTo>
                    <a:pt x="106" y="66"/>
                  </a:lnTo>
                  <a:cubicBezTo>
                    <a:pt x="100" y="99"/>
                    <a:pt x="85" y="156"/>
                    <a:pt x="60" y="156"/>
                  </a:cubicBezTo>
                  <a:lnTo>
                    <a:pt x="60" y="156"/>
                  </a:lnTo>
                  <a:cubicBezTo>
                    <a:pt x="54" y="156"/>
                    <a:pt x="54" y="145"/>
                    <a:pt x="54" y="140"/>
                  </a:cubicBezTo>
                  <a:lnTo>
                    <a:pt x="54" y="150"/>
                  </a:lnTo>
                  <a:lnTo>
                    <a:pt x="54" y="150"/>
                  </a:lnTo>
                  <a:cubicBezTo>
                    <a:pt x="40" y="150"/>
                    <a:pt x="29" y="129"/>
                    <a:pt x="29" y="121"/>
                  </a:cubicBezTo>
                  <a:lnTo>
                    <a:pt x="29" y="121"/>
                  </a:lnTo>
                  <a:cubicBezTo>
                    <a:pt x="29" y="117"/>
                    <a:pt x="47" y="92"/>
                    <a:pt x="47" y="92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8" name="Freeform 56">
              <a:extLst>
                <a:ext uri="{FF2B5EF4-FFF2-40B4-BE49-F238E27FC236}">
                  <a16:creationId xmlns:a16="http://schemas.microsoft.com/office/drawing/2014/main" id="{2627CF56-1B90-D241-A08B-A02F3E163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00277" y="5665557"/>
              <a:ext cx="92170" cy="63367"/>
            </a:xfrm>
            <a:custGeom>
              <a:avLst/>
              <a:gdLst>
                <a:gd name="T0" fmla="*/ 97 w 139"/>
                <a:gd name="T1" fmla="*/ 64 h 98"/>
                <a:gd name="T2" fmla="*/ 97 w 139"/>
                <a:gd name="T3" fmla="*/ 64 h 98"/>
                <a:gd name="T4" fmla="*/ 70 w 139"/>
                <a:gd name="T5" fmla="*/ 51 h 98"/>
                <a:gd name="T6" fmla="*/ 70 w 139"/>
                <a:gd name="T7" fmla="*/ 51 h 98"/>
                <a:gd name="T8" fmla="*/ 26 w 139"/>
                <a:gd name="T9" fmla="*/ 97 h 98"/>
                <a:gd name="T10" fmla="*/ 26 w 139"/>
                <a:gd name="T11" fmla="*/ 97 h 98"/>
                <a:gd name="T12" fmla="*/ 15 w 139"/>
                <a:gd name="T13" fmla="*/ 69 h 98"/>
                <a:gd name="T14" fmla="*/ 15 w 139"/>
                <a:gd name="T15" fmla="*/ 69 h 98"/>
                <a:gd name="T16" fmla="*/ 0 w 139"/>
                <a:gd name="T17" fmla="*/ 49 h 98"/>
                <a:gd name="T18" fmla="*/ 0 w 139"/>
                <a:gd name="T19" fmla="*/ 49 h 98"/>
                <a:gd name="T20" fmla="*/ 35 w 139"/>
                <a:gd name="T21" fmla="*/ 21 h 98"/>
                <a:gd name="T22" fmla="*/ 35 w 139"/>
                <a:gd name="T23" fmla="*/ 21 h 98"/>
                <a:gd name="T24" fmla="*/ 97 w 139"/>
                <a:gd name="T25" fmla="*/ 0 h 98"/>
                <a:gd name="T26" fmla="*/ 97 w 139"/>
                <a:gd name="T27" fmla="*/ 0 h 98"/>
                <a:gd name="T28" fmla="*/ 97 w 139"/>
                <a:gd name="T29" fmla="*/ 6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98">
                  <a:moveTo>
                    <a:pt x="97" y="64"/>
                  </a:moveTo>
                  <a:lnTo>
                    <a:pt x="97" y="64"/>
                  </a:lnTo>
                  <a:cubicBezTo>
                    <a:pt x="83" y="64"/>
                    <a:pt x="75" y="52"/>
                    <a:pt x="70" y="51"/>
                  </a:cubicBezTo>
                  <a:lnTo>
                    <a:pt x="70" y="51"/>
                  </a:lnTo>
                  <a:cubicBezTo>
                    <a:pt x="54" y="67"/>
                    <a:pt x="50" y="97"/>
                    <a:pt x="26" y="97"/>
                  </a:cubicBezTo>
                  <a:lnTo>
                    <a:pt x="26" y="97"/>
                  </a:lnTo>
                  <a:cubicBezTo>
                    <a:pt x="17" y="97"/>
                    <a:pt x="13" y="78"/>
                    <a:pt x="15" y="69"/>
                  </a:cubicBezTo>
                  <a:lnTo>
                    <a:pt x="15" y="69"/>
                  </a:lnTo>
                  <a:cubicBezTo>
                    <a:pt x="4" y="62"/>
                    <a:pt x="0" y="58"/>
                    <a:pt x="0" y="49"/>
                  </a:cubicBezTo>
                  <a:lnTo>
                    <a:pt x="0" y="49"/>
                  </a:lnTo>
                  <a:cubicBezTo>
                    <a:pt x="0" y="49"/>
                    <a:pt x="35" y="23"/>
                    <a:pt x="35" y="21"/>
                  </a:cubicBezTo>
                  <a:lnTo>
                    <a:pt x="35" y="21"/>
                  </a:lnTo>
                  <a:cubicBezTo>
                    <a:pt x="66" y="31"/>
                    <a:pt x="72" y="0"/>
                    <a:pt x="97" y="0"/>
                  </a:cubicBezTo>
                  <a:lnTo>
                    <a:pt x="97" y="0"/>
                  </a:lnTo>
                  <a:cubicBezTo>
                    <a:pt x="138" y="0"/>
                    <a:pt x="116" y="64"/>
                    <a:pt x="97" y="64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29" name="Freeform 57">
              <a:extLst>
                <a:ext uri="{FF2B5EF4-FFF2-40B4-BE49-F238E27FC236}">
                  <a16:creationId xmlns:a16="http://schemas.microsoft.com/office/drawing/2014/main" id="{1E2BB596-9F54-674D-B248-4428F9659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51311" y="5391927"/>
              <a:ext cx="383081" cy="311073"/>
            </a:xfrm>
            <a:custGeom>
              <a:avLst/>
              <a:gdLst>
                <a:gd name="T0" fmla="*/ 229 w 586"/>
                <a:gd name="T1" fmla="*/ 458 h 477"/>
                <a:gd name="T2" fmla="*/ 229 w 586"/>
                <a:gd name="T3" fmla="*/ 443 h 477"/>
                <a:gd name="T4" fmla="*/ 235 w 586"/>
                <a:gd name="T5" fmla="*/ 412 h 477"/>
                <a:gd name="T6" fmla="*/ 180 w 586"/>
                <a:gd name="T7" fmla="*/ 396 h 477"/>
                <a:gd name="T8" fmla="*/ 162 w 586"/>
                <a:gd name="T9" fmla="*/ 410 h 477"/>
                <a:gd name="T10" fmla="*/ 121 w 586"/>
                <a:gd name="T11" fmla="*/ 416 h 477"/>
                <a:gd name="T12" fmla="*/ 26 w 586"/>
                <a:gd name="T13" fmla="*/ 441 h 477"/>
                <a:gd name="T14" fmla="*/ 0 w 586"/>
                <a:gd name="T15" fmla="*/ 434 h 477"/>
                <a:gd name="T16" fmla="*/ 24 w 586"/>
                <a:gd name="T17" fmla="*/ 421 h 477"/>
                <a:gd name="T18" fmla="*/ 240 w 586"/>
                <a:gd name="T19" fmla="*/ 350 h 477"/>
                <a:gd name="T20" fmla="*/ 299 w 586"/>
                <a:gd name="T21" fmla="*/ 293 h 477"/>
                <a:gd name="T22" fmla="*/ 330 w 586"/>
                <a:gd name="T23" fmla="*/ 247 h 477"/>
                <a:gd name="T24" fmla="*/ 321 w 586"/>
                <a:gd name="T25" fmla="*/ 267 h 477"/>
                <a:gd name="T26" fmla="*/ 330 w 586"/>
                <a:gd name="T27" fmla="*/ 277 h 477"/>
                <a:gd name="T28" fmla="*/ 383 w 586"/>
                <a:gd name="T29" fmla="*/ 251 h 477"/>
                <a:gd name="T30" fmla="*/ 484 w 586"/>
                <a:gd name="T31" fmla="*/ 103 h 477"/>
                <a:gd name="T32" fmla="*/ 477 w 586"/>
                <a:gd name="T33" fmla="*/ 81 h 477"/>
                <a:gd name="T34" fmla="*/ 519 w 586"/>
                <a:gd name="T35" fmla="*/ 13 h 477"/>
                <a:gd name="T36" fmla="*/ 543 w 586"/>
                <a:gd name="T37" fmla="*/ 18 h 477"/>
                <a:gd name="T38" fmla="*/ 537 w 586"/>
                <a:gd name="T39" fmla="*/ 17 h 477"/>
                <a:gd name="T40" fmla="*/ 533 w 586"/>
                <a:gd name="T41" fmla="*/ 0 h 477"/>
                <a:gd name="T42" fmla="*/ 555 w 586"/>
                <a:gd name="T43" fmla="*/ 9 h 477"/>
                <a:gd name="T44" fmla="*/ 559 w 586"/>
                <a:gd name="T45" fmla="*/ 46 h 477"/>
                <a:gd name="T46" fmla="*/ 585 w 586"/>
                <a:gd name="T47" fmla="*/ 110 h 477"/>
                <a:gd name="T48" fmla="*/ 559 w 586"/>
                <a:gd name="T49" fmla="*/ 166 h 477"/>
                <a:gd name="T50" fmla="*/ 559 w 586"/>
                <a:gd name="T51" fmla="*/ 177 h 477"/>
                <a:gd name="T52" fmla="*/ 543 w 586"/>
                <a:gd name="T53" fmla="*/ 181 h 477"/>
                <a:gd name="T54" fmla="*/ 530 w 586"/>
                <a:gd name="T55" fmla="*/ 264 h 477"/>
                <a:gd name="T56" fmla="*/ 510 w 586"/>
                <a:gd name="T57" fmla="*/ 315 h 477"/>
                <a:gd name="T58" fmla="*/ 519 w 586"/>
                <a:gd name="T59" fmla="*/ 350 h 477"/>
                <a:gd name="T60" fmla="*/ 475 w 586"/>
                <a:gd name="T61" fmla="*/ 387 h 477"/>
                <a:gd name="T62" fmla="*/ 477 w 586"/>
                <a:gd name="T63" fmla="*/ 357 h 477"/>
                <a:gd name="T64" fmla="*/ 427 w 586"/>
                <a:gd name="T65" fmla="*/ 401 h 477"/>
                <a:gd name="T66" fmla="*/ 400 w 586"/>
                <a:gd name="T67" fmla="*/ 392 h 477"/>
                <a:gd name="T68" fmla="*/ 363 w 586"/>
                <a:gd name="T69" fmla="*/ 414 h 477"/>
                <a:gd name="T70" fmla="*/ 310 w 586"/>
                <a:gd name="T71" fmla="*/ 383 h 477"/>
                <a:gd name="T72" fmla="*/ 299 w 586"/>
                <a:gd name="T73" fmla="*/ 398 h 477"/>
                <a:gd name="T74" fmla="*/ 317 w 586"/>
                <a:gd name="T75" fmla="*/ 427 h 477"/>
                <a:gd name="T76" fmla="*/ 299 w 586"/>
                <a:gd name="T77" fmla="*/ 429 h 477"/>
                <a:gd name="T78" fmla="*/ 255 w 586"/>
                <a:gd name="T79" fmla="*/ 476 h 477"/>
                <a:gd name="T80" fmla="*/ 229 w 586"/>
                <a:gd name="T81" fmla="*/ 458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86" h="477">
                  <a:moveTo>
                    <a:pt x="229" y="458"/>
                  </a:moveTo>
                  <a:lnTo>
                    <a:pt x="229" y="458"/>
                  </a:lnTo>
                  <a:cubicBezTo>
                    <a:pt x="224" y="458"/>
                    <a:pt x="229" y="449"/>
                    <a:pt x="229" y="443"/>
                  </a:cubicBezTo>
                  <a:lnTo>
                    <a:pt x="229" y="443"/>
                  </a:lnTo>
                  <a:cubicBezTo>
                    <a:pt x="229" y="432"/>
                    <a:pt x="235" y="420"/>
                    <a:pt x="235" y="412"/>
                  </a:cubicBezTo>
                  <a:lnTo>
                    <a:pt x="235" y="412"/>
                  </a:lnTo>
                  <a:cubicBezTo>
                    <a:pt x="213" y="407"/>
                    <a:pt x="202" y="396"/>
                    <a:pt x="180" y="396"/>
                  </a:cubicBezTo>
                  <a:lnTo>
                    <a:pt x="180" y="396"/>
                  </a:lnTo>
                  <a:cubicBezTo>
                    <a:pt x="169" y="396"/>
                    <a:pt x="167" y="408"/>
                    <a:pt x="162" y="410"/>
                  </a:cubicBezTo>
                  <a:lnTo>
                    <a:pt x="162" y="410"/>
                  </a:lnTo>
                  <a:cubicBezTo>
                    <a:pt x="147" y="418"/>
                    <a:pt x="136" y="408"/>
                    <a:pt x="121" y="416"/>
                  </a:cubicBezTo>
                  <a:lnTo>
                    <a:pt x="121" y="416"/>
                  </a:lnTo>
                  <a:cubicBezTo>
                    <a:pt x="97" y="427"/>
                    <a:pt x="64" y="441"/>
                    <a:pt x="26" y="441"/>
                  </a:cubicBezTo>
                  <a:lnTo>
                    <a:pt x="26" y="441"/>
                  </a:lnTo>
                  <a:cubicBezTo>
                    <a:pt x="13" y="441"/>
                    <a:pt x="0" y="441"/>
                    <a:pt x="0" y="434"/>
                  </a:cubicBezTo>
                  <a:lnTo>
                    <a:pt x="0" y="434"/>
                  </a:lnTo>
                  <a:cubicBezTo>
                    <a:pt x="0" y="429"/>
                    <a:pt x="17" y="425"/>
                    <a:pt x="24" y="421"/>
                  </a:cubicBezTo>
                  <a:lnTo>
                    <a:pt x="24" y="421"/>
                  </a:lnTo>
                  <a:cubicBezTo>
                    <a:pt x="63" y="396"/>
                    <a:pt x="79" y="350"/>
                    <a:pt x="127" y="350"/>
                  </a:cubicBezTo>
                  <a:lnTo>
                    <a:pt x="240" y="350"/>
                  </a:lnTo>
                  <a:lnTo>
                    <a:pt x="240" y="350"/>
                  </a:lnTo>
                  <a:cubicBezTo>
                    <a:pt x="271" y="350"/>
                    <a:pt x="283" y="293"/>
                    <a:pt x="299" y="293"/>
                  </a:cubicBezTo>
                  <a:lnTo>
                    <a:pt x="299" y="293"/>
                  </a:lnTo>
                  <a:cubicBezTo>
                    <a:pt x="301" y="293"/>
                    <a:pt x="325" y="249"/>
                    <a:pt x="330" y="247"/>
                  </a:cubicBezTo>
                  <a:lnTo>
                    <a:pt x="330" y="247"/>
                  </a:lnTo>
                  <a:cubicBezTo>
                    <a:pt x="325" y="253"/>
                    <a:pt x="321" y="260"/>
                    <a:pt x="321" y="267"/>
                  </a:cubicBezTo>
                  <a:lnTo>
                    <a:pt x="321" y="267"/>
                  </a:lnTo>
                  <a:cubicBezTo>
                    <a:pt x="321" y="271"/>
                    <a:pt x="327" y="277"/>
                    <a:pt x="330" y="277"/>
                  </a:cubicBezTo>
                  <a:lnTo>
                    <a:pt x="330" y="277"/>
                  </a:lnTo>
                  <a:cubicBezTo>
                    <a:pt x="358" y="277"/>
                    <a:pt x="361" y="259"/>
                    <a:pt x="383" y="251"/>
                  </a:cubicBezTo>
                  <a:lnTo>
                    <a:pt x="383" y="251"/>
                  </a:lnTo>
                  <a:cubicBezTo>
                    <a:pt x="422" y="238"/>
                    <a:pt x="484" y="161"/>
                    <a:pt x="484" y="103"/>
                  </a:cubicBezTo>
                  <a:lnTo>
                    <a:pt x="484" y="103"/>
                  </a:lnTo>
                  <a:cubicBezTo>
                    <a:pt x="484" y="90"/>
                    <a:pt x="477" y="90"/>
                    <a:pt x="477" y="81"/>
                  </a:cubicBezTo>
                  <a:lnTo>
                    <a:pt x="477" y="81"/>
                  </a:lnTo>
                  <a:cubicBezTo>
                    <a:pt x="477" y="58"/>
                    <a:pt x="495" y="13"/>
                    <a:pt x="519" y="13"/>
                  </a:cubicBezTo>
                  <a:lnTo>
                    <a:pt x="519" y="13"/>
                  </a:lnTo>
                  <a:cubicBezTo>
                    <a:pt x="522" y="13"/>
                    <a:pt x="521" y="37"/>
                    <a:pt x="543" y="18"/>
                  </a:cubicBezTo>
                  <a:lnTo>
                    <a:pt x="543" y="18"/>
                  </a:lnTo>
                  <a:cubicBezTo>
                    <a:pt x="541" y="18"/>
                    <a:pt x="539" y="17"/>
                    <a:pt x="537" y="17"/>
                  </a:cubicBezTo>
                  <a:lnTo>
                    <a:pt x="537" y="17"/>
                  </a:lnTo>
                  <a:cubicBezTo>
                    <a:pt x="532" y="17"/>
                    <a:pt x="528" y="0"/>
                    <a:pt x="533" y="0"/>
                  </a:cubicBezTo>
                  <a:lnTo>
                    <a:pt x="533" y="0"/>
                  </a:lnTo>
                  <a:cubicBezTo>
                    <a:pt x="546" y="0"/>
                    <a:pt x="553" y="4"/>
                    <a:pt x="555" y="9"/>
                  </a:cubicBezTo>
                  <a:lnTo>
                    <a:pt x="555" y="9"/>
                  </a:lnTo>
                  <a:cubicBezTo>
                    <a:pt x="561" y="22"/>
                    <a:pt x="559" y="33"/>
                    <a:pt x="559" y="46"/>
                  </a:cubicBezTo>
                  <a:lnTo>
                    <a:pt x="559" y="46"/>
                  </a:lnTo>
                  <a:cubicBezTo>
                    <a:pt x="559" y="71"/>
                    <a:pt x="585" y="84"/>
                    <a:pt x="585" y="110"/>
                  </a:cubicBezTo>
                  <a:lnTo>
                    <a:pt x="585" y="110"/>
                  </a:lnTo>
                  <a:cubicBezTo>
                    <a:pt x="585" y="139"/>
                    <a:pt x="559" y="143"/>
                    <a:pt x="559" y="166"/>
                  </a:cubicBezTo>
                  <a:lnTo>
                    <a:pt x="559" y="177"/>
                  </a:lnTo>
                  <a:lnTo>
                    <a:pt x="559" y="177"/>
                  </a:lnTo>
                  <a:cubicBezTo>
                    <a:pt x="553" y="183"/>
                    <a:pt x="548" y="179"/>
                    <a:pt x="543" y="181"/>
                  </a:cubicBezTo>
                  <a:lnTo>
                    <a:pt x="543" y="181"/>
                  </a:lnTo>
                  <a:cubicBezTo>
                    <a:pt x="525" y="187"/>
                    <a:pt x="530" y="244"/>
                    <a:pt x="530" y="264"/>
                  </a:cubicBezTo>
                  <a:lnTo>
                    <a:pt x="530" y="264"/>
                  </a:lnTo>
                  <a:cubicBezTo>
                    <a:pt x="530" y="280"/>
                    <a:pt x="510" y="292"/>
                    <a:pt x="510" y="315"/>
                  </a:cubicBezTo>
                  <a:lnTo>
                    <a:pt x="510" y="315"/>
                  </a:lnTo>
                  <a:cubicBezTo>
                    <a:pt x="510" y="331"/>
                    <a:pt x="515" y="339"/>
                    <a:pt x="519" y="350"/>
                  </a:cubicBezTo>
                  <a:lnTo>
                    <a:pt x="519" y="350"/>
                  </a:lnTo>
                  <a:cubicBezTo>
                    <a:pt x="497" y="361"/>
                    <a:pt x="497" y="380"/>
                    <a:pt x="475" y="387"/>
                  </a:cubicBezTo>
                  <a:lnTo>
                    <a:pt x="475" y="387"/>
                  </a:lnTo>
                  <a:cubicBezTo>
                    <a:pt x="468" y="372"/>
                    <a:pt x="475" y="370"/>
                    <a:pt x="477" y="357"/>
                  </a:cubicBezTo>
                  <a:lnTo>
                    <a:pt x="477" y="357"/>
                  </a:lnTo>
                  <a:cubicBezTo>
                    <a:pt x="451" y="374"/>
                    <a:pt x="435" y="376"/>
                    <a:pt x="427" y="401"/>
                  </a:cubicBezTo>
                  <a:lnTo>
                    <a:pt x="427" y="401"/>
                  </a:lnTo>
                  <a:cubicBezTo>
                    <a:pt x="424" y="401"/>
                    <a:pt x="418" y="396"/>
                    <a:pt x="418" y="392"/>
                  </a:cubicBezTo>
                  <a:lnTo>
                    <a:pt x="400" y="392"/>
                  </a:lnTo>
                  <a:lnTo>
                    <a:pt x="400" y="392"/>
                  </a:lnTo>
                  <a:cubicBezTo>
                    <a:pt x="389" y="403"/>
                    <a:pt x="378" y="414"/>
                    <a:pt x="363" y="414"/>
                  </a:cubicBezTo>
                  <a:lnTo>
                    <a:pt x="363" y="414"/>
                  </a:lnTo>
                  <a:cubicBezTo>
                    <a:pt x="325" y="414"/>
                    <a:pt x="327" y="383"/>
                    <a:pt x="310" y="383"/>
                  </a:cubicBezTo>
                  <a:lnTo>
                    <a:pt x="310" y="383"/>
                  </a:lnTo>
                  <a:cubicBezTo>
                    <a:pt x="304" y="383"/>
                    <a:pt x="299" y="392"/>
                    <a:pt x="299" y="398"/>
                  </a:cubicBezTo>
                  <a:lnTo>
                    <a:pt x="299" y="398"/>
                  </a:lnTo>
                  <a:cubicBezTo>
                    <a:pt x="299" y="405"/>
                    <a:pt x="316" y="427"/>
                    <a:pt x="317" y="427"/>
                  </a:cubicBezTo>
                  <a:lnTo>
                    <a:pt x="317" y="427"/>
                  </a:lnTo>
                  <a:cubicBezTo>
                    <a:pt x="312" y="429"/>
                    <a:pt x="304" y="429"/>
                    <a:pt x="299" y="429"/>
                  </a:cubicBezTo>
                  <a:lnTo>
                    <a:pt x="299" y="429"/>
                  </a:lnTo>
                  <a:cubicBezTo>
                    <a:pt x="286" y="429"/>
                    <a:pt x="264" y="458"/>
                    <a:pt x="255" y="476"/>
                  </a:cubicBezTo>
                  <a:lnTo>
                    <a:pt x="255" y="476"/>
                  </a:lnTo>
                  <a:cubicBezTo>
                    <a:pt x="240" y="472"/>
                    <a:pt x="242" y="458"/>
                    <a:pt x="229" y="458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0" name="Freeform 58">
              <a:extLst>
                <a:ext uri="{FF2B5EF4-FFF2-40B4-BE49-F238E27FC236}">
                  <a16:creationId xmlns:a16="http://schemas.microsoft.com/office/drawing/2014/main" id="{1BE7A147-FC7D-3748-BCA1-4D01EC6FD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59504" y="5221991"/>
              <a:ext cx="195861" cy="167058"/>
            </a:xfrm>
            <a:custGeom>
              <a:avLst/>
              <a:gdLst>
                <a:gd name="T0" fmla="*/ 42 w 300"/>
                <a:gd name="T1" fmla="*/ 137 h 254"/>
                <a:gd name="T2" fmla="*/ 42 w 300"/>
                <a:gd name="T3" fmla="*/ 137 h 254"/>
                <a:gd name="T4" fmla="*/ 60 w 300"/>
                <a:gd name="T5" fmla="*/ 137 h 254"/>
                <a:gd name="T6" fmla="*/ 60 w 300"/>
                <a:gd name="T7" fmla="*/ 137 h 254"/>
                <a:gd name="T8" fmla="*/ 105 w 300"/>
                <a:gd name="T9" fmla="*/ 42 h 254"/>
                <a:gd name="T10" fmla="*/ 105 w 300"/>
                <a:gd name="T11" fmla="*/ 42 h 254"/>
                <a:gd name="T12" fmla="*/ 95 w 300"/>
                <a:gd name="T13" fmla="*/ 24 h 254"/>
                <a:gd name="T14" fmla="*/ 95 w 300"/>
                <a:gd name="T15" fmla="*/ 24 h 254"/>
                <a:gd name="T16" fmla="*/ 106 w 300"/>
                <a:gd name="T17" fmla="*/ 0 h 254"/>
                <a:gd name="T18" fmla="*/ 106 w 300"/>
                <a:gd name="T19" fmla="*/ 0 h 254"/>
                <a:gd name="T20" fmla="*/ 249 w 300"/>
                <a:gd name="T21" fmla="*/ 91 h 254"/>
                <a:gd name="T22" fmla="*/ 249 w 300"/>
                <a:gd name="T23" fmla="*/ 91 h 254"/>
                <a:gd name="T24" fmla="*/ 288 w 300"/>
                <a:gd name="T25" fmla="*/ 88 h 254"/>
                <a:gd name="T26" fmla="*/ 288 w 300"/>
                <a:gd name="T27" fmla="*/ 88 h 254"/>
                <a:gd name="T28" fmla="*/ 277 w 300"/>
                <a:gd name="T29" fmla="*/ 110 h 254"/>
                <a:gd name="T30" fmla="*/ 277 w 300"/>
                <a:gd name="T31" fmla="*/ 110 h 254"/>
                <a:gd name="T32" fmla="*/ 299 w 300"/>
                <a:gd name="T33" fmla="*/ 134 h 254"/>
                <a:gd name="T34" fmla="*/ 299 w 300"/>
                <a:gd name="T35" fmla="*/ 134 h 254"/>
                <a:gd name="T36" fmla="*/ 242 w 300"/>
                <a:gd name="T37" fmla="*/ 150 h 254"/>
                <a:gd name="T38" fmla="*/ 242 w 300"/>
                <a:gd name="T39" fmla="*/ 150 h 254"/>
                <a:gd name="T40" fmla="*/ 176 w 300"/>
                <a:gd name="T41" fmla="*/ 214 h 254"/>
                <a:gd name="T42" fmla="*/ 176 w 300"/>
                <a:gd name="T43" fmla="*/ 214 h 254"/>
                <a:gd name="T44" fmla="*/ 97 w 300"/>
                <a:gd name="T45" fmla="*/ 172 h 254"/>
                <a:gd name="T46" fmla="*/ 97 w 300"/>
                <a:gd name="T47" fmla="*/ 172 h 254"/>
                <a:gd name="T48" fmla="*/ 85 w 300"/>
                <a:gd name="T49" fmla="*/ 187 h 254"/>
                <a:gd name="T50" fmla="*/ 85 w 300"/>
                <a:gd name="T51" fmla="*/ 187 h 254"/>
                <a:gd name="T52" fmla="*/ 29 w 300"/>
                <a:gd name="T53" fmla="*/ 199 h 254"/>
                <a:gd name="T54" fmla="*/ 29 w 300"/>
                <a:gd name="T55" fmla="*/ 199 h 254"/>
                <a:gd name="T56" fmla="*/ 64 w 300"/>
                <a:gd name="T57" fmla="*/ 225 h 254"/>
                <a:gd name="T58" fmla="*/ 64 w 300"/>
                <a:gd name="T59" fmla="*/ 225 h 254"/>
                <a:gd name="T60" fmla="*/ 20 w 300"/>
                <a:gd name="T61" fmla="*/ 253 h 254"/>
                <a:gd name="T62" fmla="*/ 9 w 300"/>
                <a:gd name="T63" fmla="*/ 253 h 254"/>
                <a:gd name="T64" fmla="*/ 9 w 300"/>
                <a:gd name="T65" fmla="*/ 211 h 254"/>
                <a:gd name="T66" fmla="*/ 9 w 300"/>
                <a:gd name="T67" fmla="*/ 211 h 254"/>
                <a:gd name="T68" fmla="*/ 0 w 300"/>
                <a:gd name="T69" fmla="*/ 192 h 254"/>
                <a:gd name="T70" fmla="*/ 0 w 300"/>
                <a:gd name="T71" fmla="*/ 192 h 254"/>
                <a:gd name="T72" fmla="*/ 33 w 300"/>
                <a:gd name="T73" fmla="*/ 146 h 254"/>
                <a:gd name="T74" fmla="*/ 33 w 300"/>
                <a:gd name="T75" fmla="*/ 132 h 254"/>
                <a:gd name="T76" fmla="*/ 33 w 300"/>
                <a:gd name="T77" fmla="*/ 132 h 254"/>
                <a:gd name="T78" fmla="*/ 46 w 300"/>
                <a:gd name="T79" fmla="*/ 141 h 254"/>
                <a:gd name="T80" fmla="*/ 42 w 300"/>
                <a:gd name="T81" fmla="*/ 13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0" h="254">
                  <a:moveTo>
                    <a:pt x="42" y="137"/>
                  </a:moveTo>
                  <a:lnTo>
                    <a:pt x="42" y="137"/>
                  </a:lnTo>
                  <a:cubicBezTo>
                    <a:pt x="48" y="139"/>
                    <a:pt x="55" y="137"/>
                    <a:pt x="60" y="137"/>
                  </a:cubicBezTo>
                  <a:lnTo>
                    <a:pt x="60" y="137"/>
                  </a:lnTo>
                  <a:cubicBezTo>
                    <a:pt x="92" y="137"/>
                    <a:pt x="105" y="66"/>
                    <a:pt x="105" y="42"/>
                  </a:cubicBezTo>
                  <a:lnTo>
                    <a:pt x="105" y="42"/>
                  </a:lnTo>
                  <a:cubicBezTo>
                    <a:pt x="105" y="35"/>
                    <a:pt x="95" y="31"/>
                    <a:pt x="95" y="24"/>
                  </a:cubicBezTo>
                  <a:lnTo>
                    <a:pt x="95" y="24"/>
                  </a:lnTo>
                  <a:cubicBezTo>
                    <a:pt x="95" y="11"/>
                    <a:pt x="103" y="5"/>
                    <a:pt x="106" y="0"/>
                  </a:cubicBezTo>
                  <a:lnTo>
                    <a:pt x="106" y="0"/>
                  </a:lnTo>
                  <a:cubicBezTo>
                    <a:pt x="156" y="33"/>
                    <a:pt x="178" y="91"/>
                    <a:pt x="249" y="91"/>
                  </a:cubicBezTo>
                  <a:lnTo>
                    <a:pt x="249" y="91"/>
                  </a:lnTo>
                  <a:cubicBezTo>
                    <a:pt x="264" y="91"/>
                    <a:pt x="277" y="81"/>
                    <a:pt x="288" y="88"/>
                  </a:cubicBezTo>
                  <a:lnTo>
                    <a:pt x="288" y="88"/>
                  </a:lnTo>
                  <a:cubicBezTo>
                    <a:pt x="284" y="97"/>
                    <a:pt x="277" y="101"/>
                    <a:pt x="277" y="110"/>
                  </a:cubicBezTo>
                  <a:lnTo>
                    <a:pt x="277" y="110"/>
                  </a:lnTo>
                  <a:cubicBezTo>
                    <a:pt x="277" y="121"/>
                    <a:pt x="291" y="132"/>
                    <a:pt x="299" y="134"/>
                  </a:cubicBezTo>
                  <a:lnTo>
                    <a:pt x="299" y="134"/>
                  </a:lnTo>
                  <a:cubicBezTo>
                    <a:pt x="282" y="145"/>
                    <a:pt x="270" y="150"/>
                    <a:pt x="242" y="150"/>
                  </a:cubicBezTo>
                  <a:lnTo>
                    <a:pt x="242" y="150"/>
                  </a:lnTo>
                  <a:cubicBezTo>
                    <a:pt x="203" y="150"/>
                    <a:pt x="190" y="192"/>
                    <a:pt x="176" y="214"/>
                  </a:cubicBezTo>
                  <a:lnTo>
                    <a:pt x="176" y="214"/>
                  </a:lnTo>
                  <a:cubicBezTo>
                    <a:pt x="147" y="196"/>
                    <a:pt x="129" y="192"/>
                    <a:pt x="97" y="172"/>
                  </a:cubicBezTo>
                  <a:lnTo>
                    <a:pt x="97" y="172"/>
                  </a:lnTo>
                  <a:cubicBezTo>
                    <a:pt x="92" y="174"/>
                    <a:pt x="85" y="181"/>
                    <a:pt x="85" y="187"/>
                  </a:cubicBezTo>
                  <a:lnTo>
                    <a:pt x="85" y="187"/>
                  </a:lnTo>
                  <a:cubicBezTo>
                    <a:pt x="60" y="187"/>
                    <a:pt x="29" y="168"/>
                    <a:pt x="29" y="199"/>
                  </a:cubicBezTo>
                  <a:lnTo>
                    <a:pt x="29" y="199"/>
                  </a:lnTo>
                  <a:cubicBezTo>
                    <a:pt x="29" y="218"/>
                    <a:pt x="57" y="218"/>
                    <a:pt x="64" y="225"/>
                  </a:cubicBezTo>
                  <a:lnTo>
                    <a:pt x="64" y="225"/>
                  </a:lnTo>
                  <a:cubicBezTo>
                    <a:pt x="49" y="245"/>
                    <a:pt x="35" y="238"/>
                    <a:pt x="20" y="253"/>
                  </a:cubicBezTo>
                  <a:lnTo>
                    <a:pt x="9" y="253"/>
                  </a:lnTo>
                  <a:lnTo>
                    <a:pt x="9" y="211"/>
                  </a:lnTo>
                  <a:lnTo>
                    <a:pt x="9" y="211"/>
                  </a:lnTo>
                  <a:cubicBezTo>
                    <a:pt x="9" y="204"/>
                    <a:pt x="0" y="199"/>
                    <a:pt x="0" y="192"/>
                  </a:cubicBezTo>
                  <a:lnTo>
                    <a:pt x="0" y="192"/>
                  </a:lnTo>
                  <a:cubicBezTo>
                    <a:pt x="0" y="172"/>
                    <a:pt x="29" y="159"/>
                    <a:pt x="33" y="146"/>
                  </a:cubicBezTo>
                  <a:lnTo>
                    <a:pt x="33" y="132"/>
                  </a:lnTo>
                  <a:lnTo>
                    <a:pt x="33" y="132"/>
                  </a:lnTo>
                  <a:cubicBezTo>
                    <a:pt x="37" y="135"/>
                    <a:pt x="40" y="137"/>
                    <a:pt x="46" y="141"/>
                  </a:cubicBezTo>
                  <a:lnTo>
                    <a:pt x="42" y="137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1" name="Freeform 59">
              <a:extLst>
                <a:ext uri="{FF2B5EF4-FFF2-40B4-BE49-F238E27FC236}">
                  <a16:creationId xmlns:a16="http://schemas.microsoft.com/office/drawing/2014/main" id="{BF9FEC45-9800-094A-A8B8-BC5A1B694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9604" y="5262315"/>
              <a:ext cx="34564" cy="28803"/>
            </a:xfrm>
            <a:custGeom>
              <a:avLst/>
              <a:gdLst>
                <a:gd name="T0" fmla="*/ 43 w 53"/>
                <a:gd name="T1" fmla="*/ 0 h 46"/>
                <a:gd name="T2" fmla="*/ 52 w 53"/>
                <a:gd name="T3" fmla="*/ 7 h 46"/>
                <a:gd name="T4" fmla="*/ 52 w 53"/>
                <a:gd name="T5" fmla="*/ 7 h 46"/>
                <a:gd name="T6" fmla="*/ 6 w 53"/>
                <a:gd name="T7" fmla="*/ 45 h 46"/>
                <a:gd name="T8" fmla="*/ 6 w 53"/>
                <a:gd name="T9" fmla="*/ 45 h 46"/>
                <a:gd name="T10" fmla="*/ 6 w 53"/>
                <a:gd name="T11" fmla="*/ 28 h 46"/>
                <a:gd name="T12" fmla="*/ 6 w 53"/>
                <a:gd name="T13" fmla="*/ 28 h 46"/>
                <a:gd name="T14" fmla="*/ 48 w 53"/>
                <a:gd name="T15" fmla="*/ 1 h 46"/>
                <a:gd name="T16" fmla="*/ 43 w 53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6">
                  <a:moveTo>
                    <a:pt x="43" y="0"/>
                  </a:moveTo>
                  <a:lnTo>
                    <a:pt x="52" y="7"/>
                  </a:lnTo>
                  <a:lnTo>
                    <a:pt x="52" y="7"/>
                  </a:lnTo>
                  <a:cubicBezTo>
                    <a:pt x="44" y="18"/>
                    <a:pt x="22" y="45"/>
                    <a:pt x="6" y="45"/>
                  </a:cubicBezTo>
                  <a:lnTo>
                    <a:pt x="6" y="45"/>
                  </a:lnTo>
                  <a:cubicBezTo>
                    <a:pt x="0" y="45"/>
                    <a:pt x="2" y="34"/>
                    <a:pt x="6" y="28"/>
                  </a:cubicBezTo>
                  <a:lnTo>
                    <a:pt x="6" y="28"/>
                  </a:lnTo>
                  <a:cubicBezTo>
                    <a:pt x="13" y="18"/>
                    <a:pt x="33" y="1"/>
                    <a:pt x="48" y="1"/>
                  </a:cubicBezTo>
                  <a:lnTo>
                    <a:pt x="43" y="0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2" name="Freeform 60">
              <a:extLst>
                <a:ext uri="{FF2B5EF4-FFF2-40B4-BE49-F238E27FC236}">
                  <a16:creationId xmlns:a16="http://schemas.microsoft.com/office/drawing/2014/main" id="{1693C1B7-C086-7E44-94AF-48DAB5DBD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18732" y="5219110"/>
              <a:ext cx="46085" cy="31684"/>
            </a:xfrm>
            <a:custGeom>
              <a:avLst/>
              <a:gdLst>
                <a:gd name="T0" fmla="*/ 69 w 70"/>
                <a:gd name="T1" fmla="*/ 13 h 50"/>
                <a:gd name="T2" fmla="*/ 69 w 70"/>
                <a:gd name="T3" fmla="*/ 13 h 50"/>
                <a:gd name="T4" fmla="*/ 2 w 70"/>
                <a:gd name="T5" fmla="*/ 49 h 50"/>
                <a:gd name="T6" fmla="*/ 2 w 70"/>
                <a:gd name="T7" fmla="*/ 49 h 50"/>
                <a:gd name="T8" fmla="*/ 2 w 70"/>
                <a:gd name="T9" fmla="*/ 41 h 50"/>
                <a:gd name="T10" fmla="*/ 2 w 70"/>
                <a:gd name="T11" fmla="*/ 41 h 50"/>
                <a:gd name="T12" fmla="*/ 42 w 70"/>
                <a:gd name="T13" fmla="*/ 0 h 50"/>
                <a:gd name="T14" fmla="*/ 42 w 70"/>
                <a:gd name="T15" fmla="*/ 0 h 50"/>
                <a:gd name="T16" fmla="*/ 69 w 70"/>
                <a:gd name="T17" fmla="*/ 0 h 50"/>
                <a:gd name="T18" fmla="*/ 69 w 70"/>
                <a:gd name="T19" fmla="*/ 1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50">
                  <a:moveTo>
                    <a:pt x="69" y="13"/>
                  </a:moveTo>
                  <a:lnTo>
                    <a:pt x="69" y="13"/>
                  </a:lnTo>
                  <a:cubicBezTo>
                    <a:pt x="28" y="13"/>
                    <a:pt x="28" y="49"/>
                    <a:pt x="2" y="49"/>
                  </a:cubicBezTo>
                  <a:lnTo>
                    <a:pt x="2" y="49"/>
                  </a:lnTo>
                  <a:cubicBezTo>
                    <a:pt x="0" y="49"/>
                    <a:pt x="2" y="43"/>
                    <a:pt x="2" y="41"/>
                  </a:cubicBezTo>
                  <a:lnTo>
                    <a:pt x="2" y="41"/>
                  </a:lnTo>
                  <a:cubicBezTo>
                    <a:pt x="2" y="41"/>
                    <a:pt x="20" y="0"/>
                    <a:pt x="42" y="0"/>
                  </a:cubicBezTo>
                  <a:lnTo>
                    <a:pt x="42" y="0"/>
                  </a:lnTo>
                  <a:cubicBezTo>
                    <a:pt x="53" y="0"/>
                    <a:pt x="62" y="2"/>
                    <a:pt x="69" y="0"/>
                  </a:cubicBezTo>
                  <a:lnTo>
                    <a:pt x="69" y="13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3" name="Freeform 61">
              <a:extLst>
                <a:ext uri="{FF2B5EF4-FFF2-40B4-BE49-F238E27FC236}">
                  <a16:creationId xmlns:a16="http://schemas.microsoft.com/office/drawing/2014/main" id="{0DDC8D4C-3214-5B4B-9DA4-30ED3B29C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99381" y="5184545"/>
              <a:ext cx="23042" cy="25924"/>
            </a:xfrm>
            <a:custGeom>
              <a:avLst/>
              <a:gdLst>
                <a:gd name="T0" fmla="*/ 3 w 35"/>
                <a:gd name="T1" fmla="*/ 26 h 38"/>
                <a:gd name="T2" fmla="*/ 3 w 35"/>
                <a:gd name="T3" fmla="*/ 26 h 38"/>
                <a:gd name="T4" fmla="*/ 5 w 35"/>
                <a:gd name="T5" fmla="*/ 11 h 38"/>
                <a:gd name="T6" fmla="*/ 5 w 35"/>
                <a:gd name="T7" fmla="*/ 11 h 38"/>
                <a:gd name="T8" fmla="*/ 34 w 35"/>
                <a:gd name="T9" fmla="*/ 0 h 38"/>
                <a:gd name="T10" fmla="*/ 34 w 35"/>
                <a:gd name="T11" fmla="*/ 0 h 38"/>
                <a:gd name="T12" fmla="*/ 3 w 35"/>
                <a:gd name="T13" fmla="*/ 37 h 38"/>
                <a:gd name="T14" fmla="*/ 3 w 35"/>
                <a:gd name="T15" fmla="*/ 37 h 38"/>
                <a:gd name="T16" fmla="*/ 3 w 35"/>
                <a:gd name="T17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8">
                  <a:moveTo>
                    <a:pt x="3" y="26"/>
                  </a:moveTo>
                  <a:lnTo>
                    <a:pt x="3" y="26"/>
                  </a:lnTo>
                  <a:cubicBezTo>
                    <a:pt x="9" y="26"/>
                    <a:pt x="3" y="17"/>
                    <a:pt x="5" y="11"/>
                  </a:cubicBezTo>
                  <a:lnTo>
                    <a:pt x="5" y="11"/>
                  </a:lnTo>
                  <a:cubicBezTo>
                    <a:pt x="9" y="0"/>
                    <a:pt x="31" y="0"/>
                    <a:pt x="34" y="0"/>
                  </a:cubicBezTo>
                  <a:lnTo>
                    <a:pt x="34" y="0"/>
                  </a:lnTo>
                  <a:cubicBezTo>
                    <a:pt x="33" y="11"/>
                    <a:pt x="18" y="37"/>
                    <a:pt x="3" y="37"/>
                  </a:cubicBezTo>
                  <a:lnTo>
                    <a:pt x="3" y="37"/>
                  </a:lnTo>
                  <a:cubicBezTo>
                    <a:pt x="0" y="37"/>
                    <a:pt x="0" y="26"/>
                    <a:pt x="3" y="26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4" name="Freeform 62">
              <a:extLst>
                <a:ext uri="{FF2B5EF4-FFF2-40B4-BE49-F238E27FC236}">
                  <a16:creationId xmlns:a16="http://schemas.microsoft.com/office/drawing/2014/main" id="{77A1C8BB-9DDF-BF49-8793-E55C12B0C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19991" y="4818749"/>
              <a:ext cx="97930" cy="374439"/>
            </a:xfrm>
            <a:custGeom>
              <a:avLst/>
              <a:gdLst>
                <a:gd name="T0" fmla="*/ 110 w 150"/>
                <a:gd name="T1" fmla="*/ 350 h 575"/>
                <a:gd name="T2" fmla="*/ 110 w 150"/>
                <a:gd name="T3" fmla="*/ 350 h 575"/>
                <a:gd name="T4" fmla="*/ 56 w 150"/>
                <a:gd name="T5" fmla="*/ 456 h 575"/>
                <a:gd name="T6" fmla="*/ 56 w 150"/>
                <a:gd name="T7" fmla="*/ 456 h 575"/>
                <a:gd name="T8" fmla="*/ 108 w 150"/>
                <a:gd name="T9" fmla="*/ 550 h 575"/>
                <a:gd name="T10" fmla="*/ 108 w 150"/>
                <a:gd name="T11" fmla="*/ 550 h 575"/>
                <a:gd name="T12" fmla="*/ 103 w 150"/>
                <a:gd name="T13" fmla="*/ 552 h 575"/>
                <a:gd name="T14" fmla="*/ 103 w 150"/>
                <a:gd name="T15" fmla="*/ 552 h 575"/>
                <a:gd name="T16" fmla="*/ 85 w 150"/>
                <a:gd name="T17" fmla="*/ 534 h 575"/>
                <a:gd name="T18" fmla="*/ 67 w 150"/>
                <a:gd name="T19" fmla="*/ 534 h 575"/>
                <a:gd name="T20" fmla="*/ 67 w 150"/>
                <a:gd name="T21" fmla="*/ 534 h 575"/>
                <a:gd name="T22" fmla="*/ 23 w 150"/>
                <a:gd name="T23" fmla="*/ 574 h 575"/>
                <a:gd name="T24" fmla="*/ 23 w 150"/>
                <a:gd name="T25" fmla="*/ 574 h 575"/>
                <a:gd name="T26" fmla="*/ 23 w 150"/>
                <a:gd name="T27" fmla="*/ 520 h 575"/>
                <a:gd name="T28" fmla="*/ 23 w 150"/>
                <a:gd name="T29" fmla="*/ 520 h 575"/>
                <a:gd name="T30" fmla="*/ 30 w 150"/>
                <a:gd name="T31" fmla="*/ 438 h 575"/>
                <a:gd name="T32" fmla="*/ 30 w 150"/>
                <a:gd name="T33" fmla="*/ 438 h 575"/>
                <a:gd name="T34" fmla="*/ 19 w 150"/>
                <a:gd name="T35" fmla="*/ 387 h 575"/>
                <a:gd name="T36" fmla="*/ 19 w 150"/>
                <a:gd name="T37" fmla="*/ 387 h 575"/>
                <a:gd name="T38" fmla="*/ 28 w 150"/>
                <a:gd name="T39" fmla="*/ 330 h 575"/>
                <a:gd name="T40" fmla="*/ 28 w 150"/>
                <a:gd name="T41" fmla="*/ 222 h 575"/>
                <a:gd name="T42" fmla="*/ 28 w 150"/>
                <a:gd name="T43" fmla="*/ 222 h 575"/>
                <a:gd name="T44" fmla="*/ 0 w 150"/>
                <a:gd name="T45" fmla="*/ 156 h 575"/>
                <a:gd name="T46" fmla="*/ 0 w 150"/>
                <a:gd name="T47" fmla="*/ 156 h 575"/>
                <a:gd name="T48" fmla="*/ 39 w 150"/>
                <a:gd name="T49" fmla="*/ 62 h 575"/>
                <a:gd name="T50" fmla="*/ 39 w 150"/>
                <a:gd name="T51" fmla="*/ 62 h 575"/>
                <a:gd name="T52" fmla="*/ 46 w 150"/>
                <a:gd name="T53" fmla="*/ 39 h 575"/>
                <a:gd name="T54" fmla="*/ 46 w 150"/>
                <a:gd name="T55" fmla="*/ 0 h 575"/>
                <a:gd name="T56" fmla="*/ 59 w 150"/>
                <a:gd name="T57" fmla="*/ 0 h 575"/>
                <a:gd name="T58" fmla="*/ 59 w 150"/>
                <a:gd name="T59" fmla="*/ 0 h 575"/>
                <a:gd name="T60" fmla="*/ 81 w 150"/>
                <a:gd name="T61" fmla="*/ 85 h 575"/>
                <a:gd name="T62" fmla="*/ 81 w 150"/>
                <a:gd name="T63" fmla="*/ 85 h 575"/>
                <a:gd name="T64" fmla="*/ 87 w 150"/>
                <a:gd name="T65" fmla="*/ 154 h 575"/>
                <a:gd name="T66" fmla="*/ 87 w 150"/>
                <a:gd name="T67" fmla="*/ 198 h 575"/>
                <a:gd name="T68" fmla="*/ 87 w 150"/>
                <a:gd name="T69" fmla="*/ 198 h 575"/>
                <a:gd name="T70" fmla="*/ 100 w 150"/>
                <a:gd name="T71" fmla="*/ 248 h 575"/>
                <a:gd name="T72" fmla="*/ 100 w 150"/>
                <a:gd name="T73" fmla="*/ 248 h 575"/>
                <a:gd name="T74" fmla="*/ 149 w 150"/>
                <a:gd name="T75" fmla="*/ 374 h 575"/>
                <a:gd name="T76" fmla="*/ 149 w 150"/>
                <a:gd name="T77" fmla="*/ 374 h 575"/>
                <a:gd name="T78" fmla="*/ 110 w 150"/>
                <a:gd name="T79" fmla="*/ 35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0" h="575">
                  <a:moveTo>
                    <a:pt x="110" y="350"/>
                  </a:moveTo>
                  <a:lnTo>
                    <a:pt x="110" y="350"/>
                  </a:lnTo>
                  <a:cubicBezTo>
                    <a:pt x="61" y="350"/>
                    <a:pt x="56" y="409"/>
                    <a:pt x="56" y="456"/>
                  </a:cubicBezTo>
                  <a:lnTo>
                    <a:pt x="56" y="456"/>
                  </a:lnTo>
                  <a:cubicBezTo>
                    <a:pt x="56" y="499"/>
                    <a:pt x="94" y="519"/>
                    <a:pt x="108" y="550"/>
                  </a:cubicBezTo>
                  <a:lnTo>
                    <a:pt x="108" y="550"/>
                  </a:lnTo>
                  <a:cubicBezTo>
                    <a:pt x="108" y="550"/>
                    <a:pt x="105" y="552"/>
                    <a:pt x="103" y="552"/>
                  </a:cubicBezTo>
                  <a:lnTo>
                    <a:pt x="103" y="552"/>
                  </a:lnTo>
                  <a:cubicBezTo>
                    <a:pt x="96" y="554"/>
                    <a:pt x="87" y="540"/>
                    <a:pt x="85" y="534"/>
                  </a:cubicBezTo>
                  <a:lnTo>
                    <a:pt x="67" y="534"/>
                  </a:lnTo>
                  <a:lnTo>
                    <a:pt x="67" y="534"/>
                  </a:lnTo>
                  <a:cubicBezTo>
                    <a:pt x="45" y="534"/>
                    <a:pt x="45" y="574"/>
                    <a:pt x="23" y="574"/>
                  </a:cubicBezTo>
                  <a:lnTo>
                    <a:pt x="23" y="574"/>
                  </a:lnTo>
                  <a:cubicBezTo>
                    <a:pt x="17" y="574"/>
                    <a:pt x="23" y="530"/>
                    <a:pt x="23" y="520"/>
                  </a:cubicBezTo>
                  <a:lnTo>
                    <a:pt x="23" y="520"/>
                  </a:lnTo>
                  <a:cubicBezTo>
                    <a:pt x="23" y="488"/>
                    <a:pt x="30" y="466"/>
                    <a:pt x="30" y="438"/>
                  </a:cubicBezTo>
                  <a:lnTo>
                    <a:pt x="30" y="438"/>
                  </a:lnTo>
                  <a:cubicBezTo>
                    <a:pt x="30" y="413"/>
                    <a:pt x="19" y="409"/>
                    <a:pt x="19" y="387"/>
                  </a:cubicBezTo>
                  <a:lnTo>
                    <a:pt x="19" y="387"/>
                  </a:lnTo>
                  <a:cubicBezTo>
                    <a:pt x="19" y="360"/>
                    <a:pt x="28" y="352"/>
                    <a:pt x="28" y="330"/>
                  </a:cubicBezTo>
                  <a:lnTo>
                    <a:pt x="28" y="222"/>
                  </a:lnTo>
                  <a:lnTo>
                    <a:pt x="28" y="222"/>
                  </a:lnTo>
                  <a:cubicBezTo>
                    <a:pt x="28" y="194"/>
                    <a:pt x="0" y="183"/>
                    <a:pt x="0" y="156"/>
                  </a:cubicBezTo>
                  <a:lnTo>
                    <a:pt x="0" y="156"/>
                  </a:lnTo>
                  <a:cubicBezTo>
                    <a:pt x="0" y="118"/>
                    <a:pt x="12" y="68"/>
                    <a:pt x="39" y="62"/>
                  </a:cubicBezTo>
                  <a:lnTo>
                    <a:pt x="39" y="62"/>
                  </a:lnTo>
                  <a:cubicBezTo>
                    <a:pt x="39" y="52"/>
                    <a:pt x="46" y="48"/>
                    <a:pt x="46" y="39"/>
                  </a:cubicBezTo>
                  <a:lnTo>
                    <a:pt x="46" y="0"/>
                  </a:lnTo>
                  <a:lnTo>
                    <a:pt x="59" y="0"/>
                  </a:lnTo>
                  <a:lnTo>
                    <a:pt x="59" y="0"/>
                  </a:lnTo>
                  <a:cubicBezTo>
                    <a:pt x="59" y="37"/>
                    <a:pt x="74" y="61"/>
                    <a:pt x="81" y="85"/>
                  </a:cubicBezTo>
                  <a:lnTo>
                    <a:pt x="81" y="85"/>
                  </a:lnTo>
                  <a:cubicBezTo>
                    <a:pt x="88" y="110"/>
                    <a:pt x="74" y="128"/>
                    <a:pt x="87" y="154"/>
                  </a:cubicBezTo>
                  <a:lnTo>
                    <a:pt x="87" y="198"/>
                  </a:lnTo>
                  <a:lnTo>
                    <a:pt x="87" y="198"/>
                  </a:lnTo>
                  <a:cubicBezTo>
                    <a:pt x="83" y="216"/>
                    <a:pt x="96" y="237"/>
                    <a:pt x="100" y="248"/>
                  </a:cubicBezTo>
                  <a:lnTo>
                    <a:pt x="100" y="248"/>
                  </a:lnTo>
                  <a:cubicBezTo>
                    <a:pt x="114" y="293"/>
                    <a:pt x="138" y="330"/>
                    <a:pt x="149" y="374"/>
                  </a:cubicBezTo>
                  <a:lnTo>
                    <a:pt x="149" y="374"/>
                  </a:lnTo>
                  <a:cubicBezTo>
                    <a:pt x="140" y="361"/>
                    <a:pt x="127" y="350"/>
                    <a:pt x="110" y="35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5" name="Freeform 63">
              <a:extLst>
                <a:ext uri="{FF2B5EF4-FFF2-40B4-BE49-F238E27FC236}">
                  <a16:creationId xmlns:a16="http://schemas.microsoft.com/office/drawing/2014/main" id="{A4D6F7DA-FEED-A744-A5A1-E14C4C9BB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0948" y="3519731"/>
              <a:ext cx="599103" cy="440687"/>
            </a:xfrm>
            <a:custGeom>
              <a:avLst/>
              <a:gdLst>
                <a:gd name="T0" fmla="*/ 318 w 917"/>
                <a:gd name="T1" fmla="*/ 669 h 674"/>
                <a:gd name="T2" fmla="*/ 318 w 917"/>
                <a:gd name="T3" fmla="*/ 669 h 674"/>
                <a:gd name="T4" fmla="*/ 211 w 917"/>
                <a:gd name="T5" fmla="*/ 545 h 674"/>
                <a:gd name="T6" fmla="*/ 211 w 917"/>
                <a:gd name="T7" fmla="*/ 545 h 674"/>
                <a:gd name="T8" fmla="*/ 431 w 917"/>
                <a:gd name="T9" fmla="*/ 279 h 674"/>
                <a:gd name="T10" fmla="*/ 431 w 917"/>
                <a:gd name="T11" fmla="*/ 279 h 674"/>
                <a:gd name="T12" fmla="*/ 519 w 917"/>
                <a:gd name="T13" fmla="*/ 229 h 674"/>
                <a:gd name="T14" fmla="*/ 519 w 917"/>
                <a:gd name="T15" fmla="*/ 229 h 674"/>
                <a:gd name="T16" fmla="*/ 560 w 917"/>
                <a:gd name="T17" fmla="*/ 187 h 674"/>
                <a:gd name="T18" fmla="*/ 560 w 917"/>
                <a:gd name="T19" fmla="*/ 187 h 674"/>
                <a:gd name="T20" fmla="*/ 730 w 917"/>
                <a:gd name="T21" fmla="*/ 141 h 674"/>
                <a:gd name="T22" fmla="*/ 730 w 917"/>
                <a:gd name="T23" fmla="*/ 141 h 674"/>
                <a:gd name="T24" fmla="*/ 916 w 917"/>
                <a:gd name="T25" fmla="*/ 46 h 674"/>
                <a:gd name="T26" fmla="*/ 916 w 917"/>
                <a:gd name="T27" fmla="*/ 46 h 674"/>
                <a:gd name="T28" fmla="*/ 843 w 917"/>
                <a:gd name="T29" fmla="*/ 0 h 674"/>
                <a:gd name="T30" fmla="*/ 843 w 917"/>
                <a:gd name="T31" fmla="*/ 0 h 674"/>
                <a:gd name="T32" fmla="*/ 568 w 917"/>
                <a:gd name="T33" fmla="*/ 105 h 674"/>
                <a:gd name="T34" fmla="*/ 568 w 917"/>
                <a:gd name="T35" fmla="*/ 105 h 674"/>
                <a:gd name="T36" fmla="*/ 513 w 917"/>
                <a:gd name="T37" fmla="*/ 83 h 674"/>
                <a:gd name="T38" fmla="*/ 513 w 917"/>
                <a:gd name="T39" fmla="*/ 83 h 674"/>
                <a:gd name="T40" fmla="*/ 455 w 917"/>
                <a:gd name="T41" fmla="*/ 105 h 674"/>
                <a:gd name="T42" fmla="*/ 455 w 917"/>
                <a:gd name="T43" fmla="*/ 105 h 674"/>
                <a:gd name="T44" fmla="*/ 290 w 917"/>
                <a:gd name="T45" fmla="*/ 193 h 674"/>
                <a:gd name="T46" fmla="*/ 290 w 917"/>
                <a:gd name="T47" fmla="*/ 193 h 674"/>
                <a:gd name="T48" fmla="*/ 216 w 917"/>
                <a:gd name="T49" fmla="*/ 206 h 674"/>
                <a:gd name="T50" fmla="*/ 216 w 917"/>
                <a:gd name="T51" fmla="*/ 206 h 674"/>
                <a:gd name="T52" fmla="*/ 198 w 917"/>
                <a:gd name="T53" fmla="*/ 224 h 674"/>
                <a:gd name="T54" fmla="*/ 198 w 917"/>
                <a:gd name="T55" fmla="*/ 224 h 674"/>
                <a:gd name="T56" fmla="*/ 211 w 917"/>
                <a:gd name="T57" fmla="*/ 257 h 674"/>
                <a:gd name="T58" fmla="*/ 211 w 917"/>
                <a:gd name="T59" fmla="*/ 257 h 674"/>
                <a:gd name="T60" fmla="*/ 116 w 917"/>
                <a:gd name="T61" fmla="*/ 367 h 674"/>
                <a:gd name="T62" fmla="*/ 116 w 917"/>
                <a:gd name="T63" fmla="*/ 367 h 674"/>
                <a:gd name="T64" fmla="*/ 144 w 917"/>
                <a:gd name="T65" fmla="*/ 407 h 674"/>
                <a:gd name="T66" fmla="*/ 144 w 917"/>
                <a:gd name="T67" fmla="*/ 407 h 674"/>
                <a:gd name="T68" fmla="*/ 56 w 917"/>
                <a:gd name="T69" fmla="*/ 458 h 674"/>
                <a:gd name="T70" fmla="*/ 56 w 917"/>
                <a:gd name="T71" fmla="*/ 486 h 674"/>
                <a:gd name="T72" fmla="*/ 56 w 917"/>
                <a:gd name="T73" fmla="*/ 486 h 674"/>
                <a:gd name="T74" fmla="*/ 0 w 917"/>
                <a:gd name="T75" fmla="*/ 560 h 674"/>
                <a:gd name="T76" fmla="*/ 0 w 917"/>
                <a:gd name="T77" fmla="*/ 560 h 674"/>
                <a:gd name="T78" fmla="*/ 33 w 917"/>
                <a:gd name="T79" fmla="*/ 596 h 674"/>
                <a:gd name="T80" fmla="*/ 33 w 917"/>
                <a:gd name="T81" fmla="*/ 596 h 674"/>
                <a:gd name="T82" fmla="*/ 88 w 917"/>
                <a:gd name="T83" fmla="*/ 596 h 674"/>
                <a:gd name="T84" fmla="*/ 88 w 917"/>
                <a:gd name="T85" fmla="*/ 596 h 674"/>
                <a:gd name="T86" fmla="*/ 116 w 917"/>
                <a:gd name="T87" fmla="*/ 660 h 674"/>
                <a:gd name="T88" fmla="*/ 116 w 917"/>
                <a:gd name="T89" fmla="*/ 660 h 674"/>
                <a:gd name="T90" fmla="*/ 162 w 917"/>
                <a:gd name="T91" fmla="*/ 660 h 674"/>
                <a:gd name="T92" fmla="*/ 162 w 917"/>
                <a:gd name="T93" fmla="*/ 660 h 674"/>
                <a:gd name="T94" fmla="*/ 175 w 917"/>
                <a:gd name="T95" fmla="*/ 673 h 674"/>
                <a:gd name="T96" fmla="*/ 318 w 917"/>
                <a:gd name="T97" fmla="*/ 673 h 674"/>
                <a:gd name="T98" fmla="*/ 318 w 917"/>
                <a:gd name="T99" fmla="*/ 673 h 674"/>
                <a:gd name="T100" fmla="*/ 299 w 917"/>
                <a:gd name="T101" fmla="*/ 651 h 674"/>
                <a:gd name="T102" fmla="*/ 318 w 917"/>
                <a:gd name="T103" fmla="*/ 669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17" h="674">
                  <a:moveTo>
                    <a:pt x="318" y="669"/>
                  </a:moveTo>
                  <a:lnTo>
                    <a:pt x="318" y="669"/>
                  </a:lnTo>
                  <a:cubicBezTo>
                    <a:pt x="277" y="629"/>
                    <a:pt x="211" y="614"/>
                    <a:pt x="211" y="545"/>
                  </a:cubicBezTo>
                  <a:lnTo>
                    <a:pt x="211" y="545"/>
                  </a:lnTo>
                  <a:cubicBezTo>
                    <a:pt x="211" y="427"/>
                    <a:pt x="337" y="305"/>
                    <a:pt x="431" y="279"/>
                  </a:cubicBezTo>
                  <a:lnTo>
                    <a:pt x="431" y="279"/>
                  </a:lnTo>
                  <a:cubicBezTo>
                    <a:pt x="464" y="270"/>
                    <a:pt x="473" y="229"/>
                    <a:pt x="519" y="229"/>
                  </a:cubicBezTo>
                  <a:lnTo>
                    <a:pt x="519" y="229"/>
                  </a:lnTo>
                  <a:cubicBezTo>
                    <a:pt x="541" y="229"/>
                    <a:pt x="548" y="193"/>
                    <a:pt x="560" y="187"/>
                  </a:cubicBezTo>
                  <a:lnTo>
                    <a:pt x="560" y="187"/>
                  </a:lnTo>
                  <a:cubicBezTo>
                    <a:pt x="620" y="158"/>
                    <a:pt x="666" y="172"/>
                    <a:pt x="730" y="141"/>
                  </a:cubicBezTo>
                  <a:lnTo>
                    <a:pt x="730" y="141"/>
                  </a:lnTo>
                  <a:cubicBezTo>
                    <a:pt x="775" y="119"/>
                    <a:pt x="916" y="108"/>
                    <a:pt x="916" y="46"/>
                  </a:cubicBezTo>
                  <a:lnTo>
                    <a:pt x="916" y="46"/>
                  </a:lnTo>
                  <a:cubicBezTo>
                    <a:pt x="916" y="26"/>
                    <a:pt x="865" y="0"/>
                    <a:pt x="843" y="0"/>
                  </a:cubicBezTo>
                  <a:lnTo>
                    <a:pt x="843" y="0"/>
                  </a:lnTo>
                  <a:cubicBezTo>
                    <a:pt x="752" y="0"/>
                    <a:pt x="666" y="105"/>
                    <a:pt x="568" y="105"/>
                  </a:cubicBezTo>
                  <a:lnTo>
                    <a:pt x="568" y="105"/>
                  </a:lnTo>
                  <a:cubicBezTo>
                    <a:pt x="546" y="105"/>
                    <a:pt x="535" y="83"/>
                    <a:pt x="513" y="83"/>
                  </a:cubicBezTo>
                  <a:lnTo>
                    <a:pt x="513" y="83"/>
                  </a:lnTo>
                  <a:cubicBezTo>
                    <a:pt x="478" y="83"/>
                    <a:pt x="478" y="105"/>
                    <a:pt x="455" y="105"/>
                  </a:cubicBezTo>
                  <a:lnTo>
                    <a:pt x="455" y="105"/>
                  </a:lnTo>
                  <a:cubicBezTo>
                    <a:pt x="387" y="105"/>
                    <a:pt x="336" y="193"/>
                    <a:pt x="290" y="193"/>
                  </a:cubicBezTo>
                  <a:lnTo>
                    <a:pt x="290" y="193"/>
                  </a:lnTo>
                  <a:cubicBezTo>
                    <a:pt x="262" y="193"/>
                    <a:pt x="244" y="206"/>
                    <a:pt x="216" y="206"/>
                  </a:cubicBezTo>
                  <a:lnTo>
                    <a:pt x="216" y="206"/>
                  </a:lnTo>
                  <a:cubicBezTo>
                    <a:pt x="203" y="206"/>
                    <a:pt x="198" y="216"/>
                    <a:pt x="198" y="224"/>
                  </a:cubicBezTo>
                  <a:lnTo>
                    <a:pt x="198" y="224"/>
                  </a:lnTo>
                  <a:cubicBezTo>
                    <a:pt x="198" y="235"/>
                    <a:pt x="211" y="242"/>
                    <a:pt x="211" y="257"/>
                  </a:cubicBezTo>
                  <a:lnTo>
                    <a:pt x="211" y="257"/>
                  </a:lnTo>
                  <a:cubicBezTo>
                    <a:pt x="211" y="308"/>
                    <a:pt x="116" y="336"/>
                    <a:pt x="116" y="367"/>
                  </a:cubicBezTo>
                  <a:lnTo>
                    <a:pt x="116" y="367"/>
                  </a:lnTo>
                  <a:cubicBezTo>
                    <a:pt x="116" y="381"/>
                    <a:pt x="141" y="385"/>
                    <a:pt x="144" y="407"/>
                  </a:cubicBezTo>
                  <a:lnTo>
                    <a:pt x="144" y="407"/>
                  </a:lnTo>
                  <a:cubicBezTo>
                    <a:pt x="114" y="414"/>
                    <a:pt x="56" y="427"/>
                    <a:pt x="56" y="458"/>
                  </a:cubicBezTo>
                  <a:lnTo>
                    <a:pt x="56" y="486"/>
                  </a:lnTo>
                  <a:lnTo>
                    <a:pt x="56" y="486"/>
                  </a:lnTo>
                  <a:cubicBezTo>
                    <a:pt x="56" y="519"/>
                    <a:pt x="0" y="515"/>
                    <a:pt x="0" y="560"/>
                  </a:cubicBezTo>
                  <a:lnTo>
                    <a:pt x="0" y="560"/>
                  </a:lnTo>
                  <a:cubicBezTo>
                    <a:pt x="0" y="581"/>
                    <a:pt x="33" y="596"/>
                    <a:pt x="33" y="596"/>
                  </a:cubicBezTo>
                  <a:lnTo>
                    <a:pt x="33" y="596"/>
                  </a:lnTo>
                  <a:cubicBezTo>
                    <a:pt x="33" y="596"/>
                    <a:pt x="83" y="594"/>
                    <a:pt x="88" y="596"/>
                  </a:cubicBezTo>
                  <a:lnTo>
                    <a:pt x="88" y="596"/>
                  </a:lnTo>
                  <a:cubicBezTo>
                    <a:pt x="119" y="605"/>
                    <a:pt x="103" y="634"/>
                    <a:pt x="116" y="660"/>
                  </a:cubicBezTo>
                  <a:lnTo>
                    <a:pt x="116" y="660"/>
                  </a:lnTo>
                  <a:cubicBezTo>
                    <a:pt x="119" y="669"/>
                    <a:pt x="149" y="660"/>
                    <a:pt x="162" y="660"/>
                  </a:cubicBezTo>
                  <a:lnTo>
                    <a:pt x="162" y="660"/>
                  </a:lnTo>
                  <a:cubicBezTo>
                    <a:pt x="167" y="660"/>
                    <a:pt x="170" y="671"/>
                    <a:pt x="175" y="673"/>
                  </a:cubicBezTo>
                  <a:lnTo>
                    <a:pt x="318" y="673"/>
                  </a:lnTo>
                  <a:lnTo>
                    <a:pt x="318" y="673"/>
                  </a:lnTo>
                  <a:cubicBezTo>
                    <a:pt x="311" y="662"/>
                    <a:pt x="304" y="654"/>
                    <a:pt x="299" y="651"/>
                  </a:cubicBezTo>
                  <a:lnTo>
                    <a:pt x="318" y="669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6" name="Freeform 64">
              <a:extLst>
                <a:ext uri="{FF2B5EF4-FFF2-40B4-BE49-F238E27FC236}">
                  <a16:creationId xmlns:a16="http://schemas.microsoft.com/office/drawing/2014/main" id="{38FF2648-507F-E54D-B6F0-CE73BD186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81531" y="4671852"/>
              <a:ext cx="1316299" cy="941860"/>
            </a:xfrm>
            <a:custGeom>
              <a:avLst/>
              <a:gdLst>
                <a:gd name="T0" fmla="*/ 1967 w 2017"/>
                <a:gd name="T1" fmla="*/ 969 h 1443"/>
                <a:gd name="T2" fmla="*/ 1952 w 2017"/>
                <a:gd name="T3" fmla="*/ 1136 h 1443"/>
                <a:gd name="T4" fmla="*/ 1853 w 2017"/>
                <a:gd name="T5" fmla="*/ 1176 h 1443"/>
                <a:gd name="T6" fmla="*/ 1716 w 2017"/>
                <a:gd name="T7" fmla="*/ 1204 h 1443"/>
                <a:gd name="T8" fmla="*/ 1683 w 2017"/>
                <a:gd name="T9" fmla="*/ 1237 h 1443"/>
                <a:gd name="T10" fmla="*/ 1740 w 2017"/>
                <a:gd name="T11" fmla="*/ 1310 h 1443"/>
                <a:gd name="T12" fmla="*/ 1712 w 2017"/>
                <a:gd name="T13" fmla="*/ 1338 h 1443"/>
                <a:gd name="T14" fmla="*/ 1676 w 2017"/>
                <a:gd name="T15" fmla="*/ 1356 h 1443"/>
                <a:gd name="T16" fmla="*/ 1595 w 2017"/>
                <a:gd name="T17" fmla="*/ 1338 h 1443"/>
                <a:gd name="T18" fmla="*/ 1577 w 2017"/>
                <a:gd name="T19" fmla="*/ 1290 h 1443"/>
                <a:gd name="T20" fmla="*/ 1487 w 2017"/>
                <a:gd name="T21" fmla="*/ 1107 h 1443"/>
                <a:gd name="T22" fmla="*/ 1340 w 2017"/>
                <a:gd name="T23" fmla="*/ 989 h 1443"/>
                <a:gd name="T24" fmla="*/ 1175 w 2017"/>
                <a:gd name="T25" fmla="*/ 836 h 1443"/>
                <a:gd name="T26" fmla="*/ 1117 w 2017"/>
                <a:gd name="T27" fmla="*/ 913 h 1443"/>
                <a:gd name="T28" fmla="*/ 1203 w 2017"/>
                <a:gd name="T29" fmla="*/ 1015 h 1443"/>
                <a:gd name="T30" fmla="*/ 1307 w 2017"/>
                <a:gd name="T31" fmla="*/ 1096 h 1443"/>
                <a:gd name="T32" fmla="*/ 1430 w 2017"/>
                <a:gd name="T33" fmla="*/ 1204 h 1443"/>
                <a:gd name="T34" fmla="*/ 1364 w 2017"/>
                <a:gd name="T35" fmla="*/ 1259 h 1443"/>
                <a:gd name="T36" fmla="*/ 1302 w 2017"/>
                <a:gd name="T37" fmla="*/ 1323 h 1443"/>
                <a:gd name="T38" fmla="*/ 1295 w 2017"/>
                <a:gd name="T39" fmla="*/ 1209 h 1443"/>
                <a:gd name="T40" fmla="*/ 1208 w 2017"/>
                <a:gd name="T41" fmla="*/ 1136 h 1443"/>
                <a:gd name="T42" fmla="*/ 951 w 2017"/>
                <a:gd name="T43" fmla="*/ 926 h 1443"/>
                <a:gd name="T44" fmla="*/ 800 w 2017"/>
                <a:gd name="T45" fmla="*/ 1006 h 1443"/>
                <a:gd name="T46" fmla="*/ 652 w 2017"/>
                <a:gd name="T47" fmla="*/ 1072 h 1443"/>
                <a:gd name="T48" fmla="*/ 495 w 2017"/>
                <a:gd name="T49" fmla="*/ 1277 h 1443"/>
                <a:gd name="T50" fmla="*/ 359 w 2017"/>
                <a:gd name="T51" fmla="*/ 1402 h 1443"/>
                <a:gd name="T52" fmla="*/ 194 w 2017"/>
                <a:gd name="T53" fmla="*/ 1442 h 1443"/>
                <a:gd name="T54" fmla="*/ 29 w 2017"/>
                <a:gd name="T55" fmla="*/ 1372 h 1443"/>
                <a:gd name="T56" fmla="*/ 21 w 2017"/>
                <a:gd name="T57" fmla="*/ 1231 h 1443"/>
                <a:gd name="T58" fmla="*/ 16 w 2017"/>
                <a:gd name="T59" fmla="*/ 1021 h 1443"/>
                <a:gd name="T60" fmla="*/ 200 w 2017"/>
                <a:gd name="T61" fmla="*/ 978 h 1443"/>
                <a:gd name="T62" fmla="*/ 370 w 2017"/>
                <a:gd name="T63" fmla="*/ 997 h 1443"/>
                <a:gd name="T64" fmla="*/ 438 w 2017"/>
                <a:gd name="T65" fmla="*/ 854 h 1443"/>
                <a:gd name="T66" fmla="*/ 430 w 2017"/>
                <a:gd name="T67" fmla="*/ 803 h 1443"/>
                <a:gd name="T68" fmla="*/ 361 w 2017"/>
                <a:gd name="T69" fmla="*/ 728 h 1443"/>
                <a:gd name="T70" fmla="*/ 319 w 2017"/>
                <a:gd name="T71" fmla="*/ 636 h 1443"/>
                <a:gd name="T72" fmla="*/ 411 w 2017"/>
                <a:gd name="T73" fmla="*/ 632 h 1443"/>
                <a:gd name="T74" fmla="*/ 420 w 2017"/>
                <a:gd name="T75" fmla="*/ 581 h 1443"/>
                <a:gd name="T76" fmla="*/ 587 w 2017"/>
                <a:gd name="T77" fmla="*/ 493 h 1443"/>
                <a:gd name="T78" fmla="*/ 704 w 2017"/>
                <a:gd name="T79" fmla="*/ 449 h 1443"/>
                <a:gd name="T80" fmla="*/ 825 w 2017"/>
                <a:gd name="T81" fmla="*/ 315 h 1443"/>
                <a:gd name="T82" fmla="*/ 865 w 2017"/>
                <a:gd name="T83" fmla="*/ 302 h 1443"/>
                <a:gd name="T84" fmla="*/ 938 w 2017"/>
                <a:gd name="T85" fmla="*/ 224 h 1443"/>
                <a:gd name="T86" fmla="*/ 1019 w 2017"/>
                <a:gd name="T87" fmla="*/ 22 h 1443"/>
                <a:gd name="T88" fmla="*/ 1041 w 2017"/>
                <a:gd name="T89" fmla="*/ 104 h 1443"/>
                <a:gd name="T90" fmla="*/ 980 w 2017"/>
                <a:gd name="T91" fmla="*/ 191 h 1443"/>
                <a:gd name="T92" fmla="*/ 1043 w 2017"/>
                <a:gd name="T93" fmla="*/ 251 h 1443"/>
                <a:gd name="T94" fmla="*/ 1183 w 2017"/>
                <a:gd name="T95" fmla="*/ 237 h 1443"/>
                <a:gd name="T96" fmla="*/ 1234 w 2017"/>
                <a:gd name="T97" fmla="*/ 266 h 1443"/>
                <a:gd name="T98" fmla="*/ 1385 w 2017"/>
                <a:gd name="T99" fmla="*/ 209 h 1443"/>
                <a:gd name="T100" fmla="*/ 1571 w 2017"/>
                <a:gd name="T101" fmla="*/ 227 h 1443"/>
                <a:gd name="T102" fmla="*/ 1721 w 2017"/>
                <a:gd name="T103" fmla="*/ 333 h 1443"/>
                <a:gd name="T104" fmla="*/ 1688 w 2017"/>
                <a:gd name="T105" fmla="*/ 531 h 1443"/>
                <a:gd name="T106" fmla="*/ 1738 w 2017"/>
                <a:gd name="T107" fmla="*/ 678 h 1443"/>
                <a:gd name="T108" fmla="*/ 1952 w 2017"/>
                <a:gd name="T109" fmla="*/ 824 h 1443"/>
                <a:gd name="T110" fmla="*/ 2015 w 2017"/>
                <a:gd name="T111" fmla="*/ 837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17" h="1443">
                  <a:moveTo>
                    <a:pt x="1978" y="896"/>
                  </a:moveTo>
                  <a:lnTo>
                    <a:pt x="1978" y="896"/>
                  </a:lnTo>
                  <a:cubicBezTo>
                    <a:pt x="1972" y="926"/>
                    <a:pt x="1972" y="911"/>
                    <a:pt x="1967" y="922"/>
                  </a:cubicBezTo>
                  <a:lnTo>
                    <a:pt x="1967" y="969"/>
                  </a:lnTo>
                  <a:lnTo>
                    <a:pt x="1967" y="969"/>
                  </a:lnTo>
                  <a:cubicBezTo>
                    <a:pt x="1949" y="988"/>
                    <a:pt x="1915" y="1024"/>
                    <a:pt x="1915" y="1050"/>
                  </a:cubicBezTo>
                  <a:lnTo>
                    <a:pt x="1915" y="1050"/>
                  </a:lnTo>
                  <a:cubicBezTo>
                    <a:pt x="1915" y="1087"/>
                    <a:pt x="1965" y="1112"/>
                    <a:pt x="1976" y="1129"/>
                  </a:cubicBezTo>
                  <a:lnTo>
                    <a:pt x="1976" y="1129"/>
                  </a:lnTo>
                  <a:cubicBezTo>
                    <a:pt x="1969" y="1136"/>
                    <a:pt x="1961" y="1134"/>
                    <a:pt x="1952" y="1136"/>
                  </a:cubicBezTo>
                  <a:lnTo>
                    <a:pt x="1952" y="1136"/>
                  </a:lnTo>
                  <a:cubicBezTo>
                    <a:pt x="1936" y="1142"/>
                    <a:pt x="1923" y="1134"/>
                    <a:pt x="1907" y="1142"/>
                  </a:cubicBezTo>
                  <a:lnTo>
                    <a:pt x="1907" y="1142"/>
                  </a:lnTo>
                  <a:cubicBezTo>
                    <a:pt x="1882" y="1153"/>
                    <a:pt x="1877" y="1176"/>
                    <a:pt x="1853" y="1176"/>
                  </a:cubicBezTo>
                  <a:lnTo>
                    <a:pt x="1853" y="1176"/>
                  </a:lnTo>
                  <a:cubicBezTo>
                    <a:pt x="1826" y="1176"/>
                    <a:pt x="1809" y="1140"/>
                    <a:pt x="1776" y="1140"/>
                  </a:cubicBezTo>
                  <a:lnTo>
                    <a:pt x="1776" y="1140"/>
                  </a:lnTo>
                  <a:cubicBezTo>
                    <a:pt x="1747" y="1140"/>
                    <a:pt x="1740" y="1156"/>
                    <a:pt x="1716" y="1163"/>
                  </a:cubicBezTo>
                  <a:lnTo>
                    <a:pt x="1716" y="1163"/>
                  </a:lnTo>
                  <a:cubicBezTo>
                    <a:pt x="1720" y="1178"/>
                    <a:pt x="1720" y="1189"/>
                    <a:pt x="1716" y="1204"/>
                  </a:cubicBezTo>
                  <a:lnTo>
                    <a:pt x="1716" y="1204"/>
                  </a:lnTo>
                  <a:cubicBezTo>
                    <a:pt x="1688" y="1204"/>
                    <a:pt x="1685" y="1176"/>
                    <a:pt x="1668" y="1176"/>
                  </a:cubicBezTo>
                  <a:lnTo>
                    <a:pt x="1668" y="1176"/>
                  </a:lnTo>
                  <a:cubicBezTo>
                    <a:pt x="1659" y="1176"/>
                    <a:pt x="1648" y="1188"/>
                    <a:pt x="1648" y="1197"/>
                  </a:cubicBezTo>
                  <a:lnTo>
                    <a:pt x="1683" y="1237"/>
                  </a:lnTo>
                  <a:lnTo>
                    <a:pt x="1683" y="1237"/>
                  </a:lnTo>
                  <a:cubicBezTo>
                    <a:pt x="1681" y="1248"/>
                    <a:pt x="1676" y="1253"/>
                    <a:pt x="1676" y="1259"/>
                  </a:cubicBezTo>
                  <a:lnTo>
                    <a:pt x="1676" y="1259"/>
                  </a:lnTo>
                  <a:cubicBezTo>
                    <a:pt x="1676" y="1264"/>
                    <a:pt x="1725" y="1310"/>
                    <a:pt x="1740" y="1310"/>
                  </a:cubicBezTo>
                  <a:lnTo>
                    <a:pt x="1740" y="1310"/>
                  </a:lnTo>
                  <a:cubicBezTo>
                    <a:pt x="1740" y="1315"/>
                    <a:pt x="1743" y="1323"/>
                    <a:pt x="1747" y="1327"/>
                  </a:cubicBezTo>
                  <a:lnTo>
                    <a:pt x="1747" y="1327"/>
                  </a:lnTo>
                  <a:cubicBezTo>
                    <a:pt x="1738" y="1332"/>
                    <a:pt x="1720" y="1325"/>
                    <a:pt x="1716" y="1338"/>
                  </a:cubicBezTo>
                  <a:lnTo>
                    <a:pt x="1712" y="1338"/>
                  </a:lnTo>
                  <a:lnTo>
                    <a:pt x="1712" y="1338"/>
                  </a:lnTo>
                  <a:cubicBezTo>
                    <a:pt x="1692" y="1334"/>
                    <a:pt x="1674" y="1320"/>
                    <a:pt x="1665" y="1310"/>
                  </a:cubicBezTo>
                  <a:lnTo>
                    <a:pt x="1665" y="1325"/>
                  </a:lnTo>
                  <a:lnTo>
                    <a:pt x="1665" y="1325"/>
                  </a:lnTo>
                  <a:cubicBezTo>
                    <a:pt x="1670" y="1336"/>
                    <a:pt x="1676" y="1341"/>
                    <a:pt x="1676" y="1356"/>
                  </a:cubicBezTo>
                  <a:lnTo>
                    <a:pt x="1676" y="1356"/>
                  </a:lnTo>
                  <a:cubicBezTo>
                    <a:pt x="1676" y="1367"/>
                    <a:pt x="1657" y="1389"/>
                    <a:pt x="1676" y="1398"/>
                  </a:cubicBezTo>
                  <a:lnTo>
                    <a:pt x="1650" y="1398"/>
                  </a:lnTo>
                  <a:lnTo>
                    <a:pt x="1650" y="1398"/>
                  </a:lnTo>
                  <a:cubicBezTo>
                    <a:pt x="1620" y="1398"/>
                    <a:pt x="1595" y="1369"/>
                    <a:pt x="1595" y="1338"/>
                  </a:cubicBezTo>
                  <a:lnTo>
                    <a:pt x="1595" y="1338"/>
                  </a:lnTo>
                  <a:cubicBezTo>
                    <a:pt x="1595" y="1325"/>
                    <a:pt x="1613" y="1320"/>
                    <a:pt x="1619" y="1310"/>
                  </a:cubicBezTo>
                  <a:lnTo>
                    <a:pt x="1588" y="1310"/>
                  </a:lnTo>
                  <a:lnTo>
                    <a:pt x="1588" y="1310"/>
                  </a:lnTo>
                  <a:cubicBezTo>
                    <a:pt x="1580" y="1310"/>
                    <a:pt x="1577" y="1294"/>
                    <a:pt x="1577" y="1290"/>
                  </a:cubicBezTo>
                  <a:lnTo>
                    <a:pt x="1577" y="1290"/>
                  </a:lnTo>
                  <a:cubicBezTo>
                    <a:pt x="1569" y="1264"/>
                    <a:pt x="1555" y="1248"/>
                    <a:pt x="1538" y="1231"/>
                  </a:cubicBezTo>
                  <a:lnTo>
                    <a:pt x="1538" y="1231"/>
                  </a:lnTo>
                  <a:cubicBezTo>
                    <a:pt x="1516" y="1209"/>
                    <a:pt x="1487" y="1193"/>
                    <a:pt x="1487" y="1155"/>
                  </a:cubicBezTo>
                  <a:lnTo>
                    <a:pt x="1487" y="1107"/>
                  </a:lnTo>
                  <a:lnTo>
                    <a:pt x="1487" y="1107"/>
                  </a:lnTo>
                  <a:cubicBezTo>
                    <a:pt x="1487" y="1081"/>
                    <a:pt x="1447" y="1042"/>
                    <a:pt x="1421" y="1030"/>
                  </a:cubicBezTo>
                  <a:lnTo>
                    <a:pt x="1421" y="1030"/>
                  </a:lnTo>
                  <a:cubicBezTo>
                    <a:pt x="1395" y="1017"/>
                    <a:pt x="1366" y="1015"/>
                    <a:pt x="1366" y="989"/>
                  </a:cubicBezTo>
                  <a:lnTo>
                    <a:pt x="1340" y="989"/>
                  </a:lnTo>
                  <a:lnTo>
                    <a:pt x="1340" y="989"/>
                  </a:lnTo>
                  <a:cubicBezTo>
                    <a:pt x="1300" y="989"/>
                    <a:pt x="1254" y="927"/>
                    <a:pt x="1254" y="885"/>
                  </a:cubicBezTo>
                  <a:lnTo>
                    <a:pt x="1199" y="885"/>
                  </a:lnTo>
                  <a:lnTo>
                    <a:pt x="1199" y="885"/>
                  </a:lnTo>
                  <a:cubicBezTo>
                    <a:pt x="1175" y="885"/>
                    <a:pt x="1186" y="847"/>
                    <a:pt x="1175" y="836"/>
                  </a:cubicBezTo>
                  <a:lnTo>
                    <a:pt x="1175" y="836"/>
                  </a:lnTo>
                  <a:cubicBezTo>
                    <a:pt x="1155" y="848"/>
                    <a:pt x="1115" y="848"/>
                    <a:pt x="1115" y="868"/>
                  </a:cubicBezTo>
                  <a:lnTo>
                    <a:pt x="1115" y="868"/>
                  </a:lnTo>
                  <a:cubicBezTo>
                    <a:pt x="1115" y="872"/>
                    <a:pt x="1120" y="880"/>
                    <a:pt x="1124" y="880"/>
                  </a:cubicBezTo>
                  <a:lnTo>
                    <a:pt x="1124" y="880"/>
                  </a:lnTo>
                  <a:cubicBezTo>
                    <a:pt x="1120" y="891"/>
                    <a:pt x="1117" y="901"/>
                    <a:pt x="1117" y="913"/>
                  </a:cubicBezTo>
                  <a:lnTo>
                    <a:pt x="1117" y="913"/>
                  </a:lnTo>
                  <a:cubicBezTo>
                    <a:pt x="1117" y="940"/>
                    <a:pt x="1133" y="951"/>
                    <a:pt x="1155" y="958"/>
                  </a:cubicBezTo>
                  <a:lnTo>
                    <a:pt x="1155" y="958"/>
                  </a:lnTo>
                  <a:cubicBezTo>
                    <a:pt x="1183" y="967"/>
                    <a:pt x="1197" y="999"/>
                    <a:pt x="1203" y="1015"/>
                  </a:cubicBezTo>
                  <a:lnTo>
                    <a:pt x="1203" y="1015"/>
                  </a:lnTo>
                  <a:cubicBezTo>
                    <a:pt x="1210" y="1041"/>
                    <a:pt x="1223" y="1070"/>
                    <a:pt x="1238" y="1078"/>
                  </a:cubicBezTo>
                  <a:lnTo>
                    <a:pt x="1238" y="1078"/>
                  </a:lnTo>
                  <a:cubicBezTo>
                    <a:pt x="1265" y="1090"/>
                    <a:pt x="1283" y="1081"/>
                    <a:pt x="1311" y="1081"/>
                  </a:cubicBezTo>
                  <a:lnTo>
                    <a:pt x="1311" y="1081"/>
                  </a:lnTo>
                  <a:cubicBezTo>
                    <a:pt x="1311" y="1087"/>
                    <a:pt x="1311" y="1092"/>
                    <a:pt x="1307" y="1096"/>
                  </a:cubicBezTo>
                  <a:lnTo>
                    <a:pt x="1307" y="1096"/>
                  </a:lnTo>
                  <a:cubicBezTo>
                    <a:pt x="1300" y="1118"/>
                    <a:pt x="1344" y="1127"/>
                    <a:pt x="1355" y="1132"/>
                  </a:cubicBezTo>
                  <a:lnTo>
                    <a:pt x="1355" y="1132"/>
                  </a:lnTo>
                  <a:cubicBezTo>
                    <a:pt x="1392" y="1151"/>
                    <a:pt x="1436" y="1165"/>
                    <a:pt x="1430" y="1204"/>
                  </a:cubicBezTo>
                  <a:lnTo>
                    <a:pt x="1430" y="1204"/>
                  </a:lnTo>
                  <a:cubicBezTo>
                    <a:pt x="1411" y="1200"/>
                    <a:pt x="1401" y="1176"/>
                    <a:pt x="1372" y="1176"/>
                  </a:cubicBezTo>
                  <a:lnTo>
                    <a:pt x="1372" y="1176"/>
                  </a:lnTo>
                  <a:cubicBezTo>
                    <a:pt x="1349" y="1176"/>
                    <a:pt x="1331" y="1188"/>
                    <a:pt x="1331" y="1206"/>
                  </a:cubicBezTo>
                  <a:lnTo>
                    <a:pt x="1331" y="1206"/>
                  </a:lnTo>
                  <a:cubicBezTo>
                    <a:pt x="1331" y="1230"/>
                    <a:pt x="1364" y="1235"/>
                    <a:pt x="1364" y="1259"/>
                  </a:cubicBezTo>
                  <a:lnTo>
                    <a:pt x="1364" y="1259"/>
                  </a:lnTo>
                  <a:cubicBezTo>
                    <a:pt x="1364" y="1268"/>
                    <a:pt x="1340" y="1268"/>
                    <a:pt x="1340" y="1268"/>
                  </a:cubicBezTo>
                  <a:lnTo>
                    <a:pt x="1340" y="1268"/>
                  </a:lnTo>
                  <a:cubicBezTo>
                    <a:pt x="1324" y="1284"/>
                    <a:pt x="1327" y="1323"/>
                    <a:pt x="1302" y="1323"/>
                  </a:cubicBezTo>
                  <a:lnTo>
                    <a:pt x="1302" y="1323"/>
                  </a:lnTo>
                  <a:cubicBezTo>
                    <a:pt x="1289" y="1323"/>
                    <a:pt x="1282" y="1317"/>
                    <a:pt x="1282" y="1310"/>
                  </a:cubicBezTo>
                  <a:lnTo>
                    <a:pt x="1282" y="1310"/>
                  </a:lnTo>
                  <a:cubicBezTo>
                    <a:pt x="1303" y="1310"/>
                    <a:pt x="1313" y="1282"/>
                    <a:pt x="1313" y="1261"/>
                  </a:cubicBezTo>
                  <a:lnTo>
                    <a:pt x="1313" y="1261"/>
                  </a:lnTo>
                  <a:cubicBezTo>
                    <a:pt x="1313" y="1233"/>
                    <a:pt x="1298" y="1226"/>
                    <a:pt x="1295" y="1209"/>
                  </a:cubicBezTo>
                  <a:lnTo>
                    <a:pt x="1295" y="1209"/>
                  </a:lnTo>
                  <a:cubicBezTo>
                    <a:pt x="1289" y="1209"/>
                    <a:pt x="1245" y="1166"/>
                    <a:pt x="1243" y="1155"/>
                  </a:cubicBezTo>
                  <a:lnTo>
                    <a:pt x="1243" y="1155"/>
                  </a:lnTo>
                  <a:cubicBezTo>
                    <a:pt x="1236" y="1155"/>
                    <a:pt x="1208" y="1147"/>
                    <a:pt x="1208" y="1136"/>
                  </a:cubicBezTo>
                  <a:lnTo>
                    <a:pt x="1208" y="1136"/>
                  </a:lnTo>
                  <a:cubicBezTo>
                    <a:pt x="1151" y="1123"/>
                    <a:pt x="1139" y="1107"/>
                    <a:pt x="1108" y="1076"/>
                  </a:cubicBezTo>
                  <a:lnTo>
                    <a:pt x="1108" y="1076"/>
                  </a:lnTo>
                  <a:cubicBezTo>
                    <a:pt x="1095" y="1063"/>
                    <a:pt x="1067" y="1055"/>
                    <a:pt x="1064" y="1042"/>
                  </a:cubicBezTo>
                  <a:lnTo>
                    <a:pt x="1064" y="1042"/>
                  </a:lnTo>
                  <a:cubicBezTo>
                    <a:pt x="1032" y="1001"/>
                    <a:pt x="1021" y="926"/>
                    <a:pt x="951" y="926"/>
                  </a:cubicBezTo>
                  <a:lnTo>
                    <a:pt x="951" y="926"/>
                  </a:lnTo>
                  <a:cubicBezTo>
                    <a:pt x="918" y="926"/>
                    <a:pt x="916" y="949"/>
                    <a:pt x="900" y="957"/>
                  </a:cubicBezTo>
                  <a:lnTo>
                    <a:pt x="900" y="957"/>
                  </a:lnTo>
                  <a:cubicBezTo>
                    <a:pt x="865" y="973"/>
                    <a:pt x="841" y="1006"/>
                    <a:pt x="800" y="1006"/>
                  </a:cubicBezTo>
                  <a:lnTo>
                    <a:pt x="800" y="1006"/>
                  </a:lnTo>
                  <a:cubicBezTo>
                    <a:pt x="760" y="1006"/>
                    <a:pt x="735" y="986"/>
                    <a:pt x="698" y="986"/>
                  </a:cubicBezTo>
                  <a:lnTo>
                    <a:pt x="698" y="986"/>
                  </a:lnTo>
                  <a:cubicBezTo>
                    <a:pt x="671" y="986"/>
                    <a:pt x="641" y="1004"/>
                    <a:pt x="641" y="1032"/>
                  </a:cubicBezTo>
                  <a:lnTo>
                    <a:pt x="652" y="1072"/>
                  </a:lnTo>
                  <a:lnTo>
                    <a:pt x="652" y="1072"/>
                  </a:lnTo>
                  <a:cubicBezTo>
                    <a:pt x="641" y="1109"/>
                    <a:pt x="601" y="1122"/>
                    <a:pt x="563" y="1130"/>
                  </a:cubicBezTo>
                  <a:lnTo>
                    <a:pt x="563" y="1130"/>
                  </a:lnTo>
                  <a:cubicBezTo>
                    <a:pt x="530" y="1138"/>
                    <a:pt x="476" y="1213"/>
                    <a:pt x="476" y="1253"/>
                  </a:cubicBezTo>
                  <a:lnTo>
                    <a:pt x="476" y="1253"/>
                  </a:lnTo>
                  <a:cubicBezTo>
                    <a:pt x="476" y="1268"/>
                    <a:pt x="486" y="1274"/>
                    <a:pt x="495" y="1277"/>
                  </a:cubicBezTo>
                  <a:lnTo>
                    <a:pt x="495" y="1277"/>
                  </a:lnTo>
                  <a:cubicBezTo>
                    <a:pt x="471" y="1314"/>
                    <a:pt x="460" y="1336"/>
                    <a:pt x="422" y="1354"/>
                  </a:cubicBezTo>
                  <a:lnTo>
                    <a:pt x="422" y="1354"/>
                  </a:lnTo>
                  <a:cubicBezTo>
                    <a:pt x="399" y="1365"/>
                    <a:pt x="396" y="1411"/>
                    <a:pt x="359" y="1400"/>
                  </a:cubicBezTo>
                  <a:lnTo>
                    <a:pt x="359" y="1402"/>
                  </a:lnTo>
                  <a:lnTo>
                    <a:pt x="359" y="1402"/>
                  </a:lnTo>
                  <a:cubicBezTo>
                    <a:pt x="343" y="1397"/>
                    <a:pt x="312" y="1405"/>
                    <a:pt x="303" y="1405"/>
                  </a:cubicBezTo>
                  <a:lnTo>
                    <a:pt x="303" y="1405"/>
                  </a:lnTo>
                  <a:cubicBezTo>
                    <a:pt x="258" y="1405"/>
                    <a:pt x="234" y="1442"/>
                    <a:pt x="194" y="1442"/>
                  </a:cubicBezTo>
                  <a:lnTo>
                    <a:pt x="194" y="1442"/>
                  </a:lnTo>
                  <a:cubicBezTo>
                    <a:pt x="167" y="1442"/>
                    <a:pt x="165" y="1374"/>
                    <a:pt x="123" y="1374"/>
                  </a:cubicBezTo>
                  <a:lnTo>
                    <a:pt x="123" y="1374"/>
                  </a:lnTo>
                  <a:cubicBezTo>
                    <a:pt x="92" y="1374"/>
                    <a:pt x="72" y="1387"/>
                    <a:pt x="44" y="1387"/>
                  </a:cubicBezTo>
                  <a:lnTo>
                    <a:pt x="44" y="1387"/>
                  </a:lnTo>
                  <a:cubicBezTo>
                    <a:pt x="33" y="1387"/>
                    <a:pt x="29" y="1378"/>
                    <a:pt x="29" y="1372"/>
                  </a:cubicBezTo>
                  <a:lnTo>
                    <a:pt x="29" y="1299"/>
                  </a:lnTo>
                  <a:lnTo>
                    <a:pt x="29" y="1299"/>
                  </a:lnTo>
                  <a:cubicBezTo>
                    <a:pt x="15" y="1299"/>
                    <a:pt x="0" y="1288"/>
                    <a:pt x="0" y="1274"/>
                  </a:cubicBezTo>
                  <a:lnTo>
                    <a:pt x="0" y="1274"/>
                  </a:lnTo>
                  <a:cubicBezTo>
                    <a:pt x="0" y="1250"/>
                    <a:pt x="21" y="1244"/>
                    <a:pt x="21" y="1231"/>
                  </a:cubicBezTo>
                  <a:lnTo>
                    <a:pt x="21" y="1231"/>
                  </a:lnTo>
                  <a:cubicBezTo>
                    <a:pt x="21" y="1186"/>
                    <a:pt x="37" y="1138"/>
                    <a:pt x="37" y="1090"/>
                  </a:cubicBezTo>
                  <a:lnTo>
                    <a:pt x="37" y="1090"/>
                  </a:lnTo>
                  <a:cubicBezTo>
                    <a:pt x="37" y="1063"/>
                    <a:pt x="16" y="1037"/>
                    <a:pt x="16" y="1021"/>
                  </a:cubicBezTo>
                  <a:lnTo>
                    <a:pt x="16" y="1021"/>
                  </a:lnTo>
                  <a:cubicBezTo>
                    <a:pt x="16" y="1009"/>
                    <a:pt x="79" y="971"/>
                    <a:pt x="90" y="971"/>
                  </a:cubicBezTo>
                  <a:lnTo>
                    <a:pt x="90" y="971"/>
                  </a:lnTo>
                  <a:cubicBezTo>
                    <a:pt x="98" y="971"/>
                    <a:pt x="106" y="982"/>
                    <a:pt x="117" y="978"/>
                  </a:cubicBezTo>
                  <a:lnTo>
                    <a:pt x="200" y="978"/>
                  </a:lnTo>
                  <a:lnTo>
                    <a:pt x="200" y="978"/>
                  </a:lnTo>
                  <a:cubicBezTo>
                    <a:pt x="207" y="986"/>
                    <a:pt x="222" y="988"/>
                    <a:pt x="231" y="989"/>
                  </a:cubicBezTo>
                  <a:lnTo>
                    <a:pt x="319" y="989"/>
                  </a:lnTo>
                  <a:lnTo>
                    <a:pt x="319" y="989"/>
                  </a:lnTo>
                  <a:cubicBezTo>
                    <a:pt x="341" y="984"/>
                    <a:pt x="352" y="997"/>
                    <a:pt x="370" y="997"/>
                  </a:cubicBezTo>
                  <a:lnTo>
                    <a:pt x="370" y="997"/>
                  </a:lnTo>
                  <a:cubicBezTo>
                    <a:pt x="383" y="997"/>
                    <a:pt x="411" y="988"/>
                    <a:pt x="416" y="988"/>
                  </a:cubicBezTo>
                  <a:lnTo>
                    <a:pt x="416" y="988"/>
                  </a:lnTo>
                  <a:cubicBezTo>
                    <a:pt x="416" y="951"/>
                    <a:pt x="440" y="940"/>
                    <a:pt x="440" y="906"/>
                  </a:cubicBezTo>
                  <a:lnTo>
                    <a:pt x="440" y="906"/>
                  </a:lnTo>
                  <a:cubicBezTo>
                    <a:pt x="440" y="898"/>
                    <a:pt x="438" y="866"/>
                    <a:pt x="438" y="854"/>
                  </a:cubicBezTo>
                  <a:lnTo>
                    <a:pt x="434" y="857"/>
                  </a:lnTo>
                  <a:lnTo>
                    <a:pt x="434" y="857"/>
                  </a:lnTo>
                  <a:cubicBezTo>
                    <a:pt x="438" y="850"/>
                    <a:pt x="442" y="837"/>
                    <a:pt x="442" y="830"/>
                  </a:cubicBezTo>
                  <a:lnTo>
                    <a:pt x="442" y="830"/>
                  </a:lnTo>
                  <a:cubicBezTo>
                    <a:pt x="442" y="814"/>
                    <a:pt x="430" y="817"/>
                    <a:pt x="430" y="803"/>
                  </a:cubicBezTo>
                  <a:lnTo>
                    <a:pt x="430" y="803"/>
                  </a:lnTo>
                  <a:cubicBezTo>
                    <a:pt x="394" y="803"/>
                    <a:pt x="383" y="770"/>
                    <a:pt x="383" y="741"/>
                  </a:cubicBezTo>
                  <a:lnTo>
                    <a:pt x="383" y="741"/>
                  </a:lnTo>
                  <a:cubicBezTo>
                    <a:pt x="372" y="739"/>
                    <a:pt x="370" y="729"/>
                    <a:pt x="361" y="728"/>
                  </a:cubicBezTo>
                  <a:lnTo>
                    <a:pt x="361" y="728"/>
                  </a:lnTo>
                  <a:cubicBezTo>
                    <a:pt x="332" y="718"/>
                    <a:pt x="251" y="703"/>
                    <a:pt x="251" y="676"/>
                  </a:cubicBezTo>
                  <a:lnTo>
                    <a:pt x="251" y="676"/>
                  </a:lnTo>
                  <a:cubicBezTo>
                    <a:pt x="249" y="676"/>
                    <a:pt x="249" y="671"/>
                    <a:pt x="249" y="669"/>
                  </a:cubicBezTo>
                  <a:lnTo>
                    <a:pt x="249" y="669"/>
                  </a:lnTo>
                  <a:cubicBezTo>
                    <a:pt x="249" y="652"/>
                    <a:pt x="301" y="641"/>
                    <a:pt x="319" y="636"/>
                  </a:cubicBezTo>
                  <a:lnTo>
                    <a:pt x="319" y="636"/>
                  </a:lnTo>
                  <a:cubicBezTo>
                    <a:pt x="324" y="647"/>
                    <a:pt x="354" y="654"/>
                    <a:pt x="368" y="654"/>
                  </a:cubicBezTo>
                  <a:lnTo>
                    <a:pt x="368" y="654"/>
                  </a:lnTo>
                  <a:cubicBezTo>
                    <a:pt x="383" y="654"/>
                    <a:pt x="404" y="647"/>
                    <a:pt x="411" y="645"/>
                  </a:cubicBezTo>
                  <a:lnTo>
                    <a:pt x="411" y="632"/>
                  </a:lnTo>
                  <a:lnTo>
                    <a:pt x="411" y="632"/>
                  </a:lnTo>
                  <a:cubicBezTo>
                    <a:pt x="397" y="629"/>
                    <a:pt x="404" y="601"/>
                    <a:pt x="401" y="595"/>
                  </a:cubicBezTo>
                  <a:lnTo>
                    <a:pt x="401" y="581"/>
                  </a:lnTo>
                  <a:lnTo>
                    <a:pt x="420" y="581"/>
                  </a:lnTo>
                  <a:lnTo>
                    <a:pt x="420" y="581"/>
                  </a:lnTo>
                  <a:cubicBezTo>
                    <a:pt x="434" y="595"/>
                    <a:pt x="453" y="605"/>
                    <a:pt x="475" y="605"/>
                  </a:cubicBezTo>
                  <a:lnTo>
                    <a:pt x="475" y="605"/>
                  </a:lnTo>
                  <a:cubicBezTo>
                    <a:pt x="489" y="605"/>
                    <a:pt x="502" y="592"/>
                    <a:pt x="506" y="577"/>
                  </a:cubicBezTo>
                  <a:lnTo>
                    <a:pt x="506" y="577"/>
                  </a:lnTo>
                  <a:cubicBezTo>
                    <a:pt x="561" y="577"/>
                    <a:pt x="576" y="537"/>
                    <a:pt x="587" y="493"/>
                  </a:cubicBezTo>
                  <a:lnTo>
                    <a:pt x="587" y="493"/>
                  </a:lnTo>
                  <a:cubicBezTo>
                    <a:pt x="597" y="493"/>
                    <a:pt x="603" y="491"/>
                    <a:pt x="612" y="489"/>
                  </a:cubicBezTo>
                  <a:lnTo>
                    <a:pt x="612" y="489"/>
                  </a:lnTo>
                  <a:cubicBezTo>
                    <a:pt x="623" y="486"/>
                    <a:pt x="697" y="456"/>
                    <a:pt x="704" y="449"/>
                  </a:cubicBezTo>
                  <a:lnTo>
                    <a:pt x="704" y="449"/>
                  </a:lnTo>
                  <a:cubicBezTo>
                    <a:pt x="718" y="434"/>
                    <a:pt x="713" y="412"/>
                    <a:pt x="713" y="390"/>
                  </a:cubicBezTo>
                  <a:lnTo>
                    <a:pt x="713" y="390"/>
                  </a:lnTo>
                  <a:cubicBezTo>
                    <a:pt x="713" y="383"/>
                    <a:pt x="729" y="372"/>
                    <a:pt x="731" y="370"/>
                  </a:cubicBezTo>
                  <a:lnTo>
                    <a:pt x="731" y="370"/>
                  </a:lnTo>
                  <a:cubicBezTo>
                    <a:pt x="757" y="345"/>
                    <a:pt x="782" y="315"/>
                    <a:pt x="825" y="315"/>
                  </a:cubicBezTo>
                  <a:lnTo>
                    <a:pt x="825" y="315"/>
                  </a:lnTo>
                  <a:cubicBezTo>
                    <a:pt x="849" y="315"/>
                    <a:pt x="838" y="320"/>
                    <a:pt x="850" y="315"/>
                  </a:cubicBezTo>
                  <a:lnTo>
                    <a:pt x="850" y="315"/>
                  </a:lnTo>
                  <a:cubicBezTo>
                    <a:pt x="856" y="320"/>
                    <a:pt x="861" y="307"/>
                    <a:pt x="865" y="302"/>
                  </a:cubicBezTo>
                  <a:lnTo>
                    <a:pt x="865" y="302"/>
                  </a:lnTo>
                  <a:cubicBezTo>
                    <a:pt x="878" y="289"/>
                    <a:pt x="894" y="300"/>
                    <a:pt x="911" y="300"/>
                  </a:cubicBezTo>
                  <a:lnTo>
                    <a:pt x="911" y="300"/>
                  </a:lnTo>
                  <a:cubicBezTo>
                    <a:pt x="921" y="300"/>
                    <a:pt x="951" y="284"/>
                    <a:pt x="951" y="269"/>
                  </a:cubicBezTo>
                  <a:lnTo>
                    <a:pt x="951" y="269"/>
                  </a:lnTo>
                  <a:cubicBezTo>
                    <a:pt x="951" y="260"/>
                    <a:pt x="938" y="225"/>
                    <a:pt x="938" y="224"/>
                  </a:cubicBezTo>
                  <a:lnTo>
                    <a:pt x="938" y="224"/>
                  </a:lnTo>
                  <a:cubicBezTo>
                    <a:pt x="931" y="174"/>
                    <a:pt x="901" y="160"/>
                    <a:pt x="901" y="116"/>
                  </a:cubicBezTo>
                  <a:lnTo>
                    <a:pt x="901" y="116"/>
                  </a:lnTo>
                  <a:cubicBezTo>
                    <a:pt x="901" y="39"/>
                    <a:pt x="973" y="33"/>
                    <a:pt x="1019" y="0"/>
                  </a:cubicBezTo>
                  <a:lnTo>
                    <a:pt x="1019" y="22"/>
                  </a:lnTo>
                  <a:lnTo>
                    <a:pt x="1019" y="22"/>
                  </a:lnTo>
                  <a:cubicBezTo>
                    <a:pt x="1010" y="40"/>
                    <a:pt x="1008" y="52"/>
                    <a:pt x="1008" y="70"/>
                  </a:cubicBezTo>
                  <a:lnTo>
                    <a:pt x="1008" y="70"/>
                  </a:lnTo>
                  <a:cubicBezTo>
                    <a:pt x="1008" y="88"/>
                    <a:pt x="1028" y="90"/>
                    <a:pt x="1041" y="90"/>
                  </a:cubicBezTo>
                  <a:lnTo>
                    <a:pt x="1041" y="104"/>
                  </a:lnTo>
                  <a:lnTo>
                    <a:pt x="1041" y="104"/>
                  </a:lnTo>
                  <a:cubicBezTo>
                    <a:pt x="1041" y="114"/>
                    <a:pt x="1026" y="117"/>
                    <a:pt x="1021" y="123"/>
                  </a:cubicBezTo>
                  <a:lnTo>
                    <a:pt x="1021" y="123"/>
                  </a:lnTo>
                  <a:cubicBezTo>
                    <a:pt x="1003" y="141"/>
                    <a:pt x="980" y="158"/>
                    <a:pt x="980" y="191"/>
                  </a:cubicBezTo>
                  <a:lnTo>
                    <a:pt x="980" y="191"/>
                  </a:lnTo>
                  <a:cubicBezTo>
                    <a:pt x="980" y="209"/>
                    <a:pt x="990" y="222"/>
                    <a:pt x="1000" y="224"/>
                  </a:cubicBezTo>
                  <a:lnTo>
                    <a:pt x="1000" y="224"/>
                  </a:lnTo>
                  <a:cubicBezTo>
                    <a:pt x="1000" y="235"/>
                    <a:pt x="1003" y="238"/>
                    <a:pt x="1000" y="244"/>
                  </a:cubicBezTo>
                  <a:lnTo>
                    <a:pt x="1000" y="244"/>
                  </a:lnTo>
                  <a:cubicBezTo>
                    <a:pt x="1021" y="244"/>
                    <a:pt x="1028" y="251"/>
                    <a:pt x="1043" y="251"/>
                  </a:cubicBezTo>
                  <a:lnTo>
                    <a:pt x="1043" y="251"/>
                  </a:lnTo>
                  <a:cubicBezTo>
                    <a:pt x="1047" y="260"/>
                    <a:pt x="1051" y="273"/>
                    <a:pt x="1056" y="273"/>
                  </a:cubicBezTo>
                  <a:lnTo>
                    <a:pt x="1056" y="273"/>
                  </a:lnTo>
                  <a:cubicBezTo>
                    <a:pt x="1105" y="273"/>
                    <a:pt x="1141" y="231"/>
                    <a:pt x="1183" y="237"/>
                  </a:cubicBezTo>
                  <a:lnTo>
                    <a:pt x="1183" y="237"/>
                  </a:lnTo>
                  <a:cubicBezTo>
                    <a:pt x="1181" y="245"/>
                    <a:pt x="1172" y="251"/>
                    <a:pt x="1172" y="257"/>
                  </a:cubicBezTo>
                  <a:lnTo>
                    <a:pt x="1172" y="257"/>
                  </a:lnTo>
                  <a:cubicBezTo>
                    <a:pt x="1172" y="260"/>
                    <a:pt x="1203" y="282"/>
                    <a:pt x="1203" y="282"/>
                  </a:cubicBezTo>
                  <a:lnTo>
                    <a:pt x="1203" y="282"/>
                  </a:lnTo>
                  <a:cubicBezTo>
                    <a:pt x="1223" y="282"/>
                    <a:pt x="1225" y="269"/>
                    <a:pt x="1234" y="266"/>
                  </a:cubicBezTo>
                  <a:lnTo>
                    <a:pt x="1234" y="266"/>
                  </a:lnTo>
                  <a:cubicBezTo>
                    <a:pt x="1265" y="251"/>
                    <a:pt x="1289" y="257"/>
                    <a:pt x="1316" y="244"/>
                  </a:cubicBezTo>
                  <a:lnTo>
                    <a:pt x="1316" y="244"/>
                  </a:lnTo>
                  <a:cubicBezTo>
                    <a:pt x="1333" y="237"/>
                    <a:pt x="1362" y="209"/>
                    <a:pt x="1385" y="209"/>
                  </a:cubicBezTo>
                  <a:lnTo>
                    <a:pt x="1385" y="209"/>
                  </a:lnTo>
                  <a:cubicBezTo>
                    <a:pt x="1408" y="209"/>
                    <a:pt x="1434" y="211"/>
                    <a:pt x="1447" y="217"/>
                  </a:cubicBezTo>
                  <a:lnTo>
                    <a:pt x="1447" y="217"/>
                  </a:lnTo>
                  <a:cubicBezTo>
                    <a:pt x="1443" y="224"/>
                    <a:pt x="1439" y="233"/>
                    <a:pt x="1439" y="237"/>
                  </a:cubicBezTo>
                  <a:lnTo>
                    <a:pt x="1439" y="237"/>
                  </a:lnTo>
                  <a:cubicBezTo>
                    <a:pt x="1487" y="237"/>
                    <a:pt x="1536" y="227"/>
                    <a:pt x="1571" y="227"/>
                  </a:cubicBezTo>
                  <a:lnTo>
                    <a:pt x="1571" y="227"/>
                  </a:lnTo>
                  <a:cubicBezTo>
                    <a:pt x="1605" y="227"/>
                    <a:pt x="1628" y="225"/>
                    <a:pt x="1665" y="225"/>
                  </a:cubicBezTo>
                  <a:lnTo>
                    <a:pt x="1665" y="225"/>
                  </a:lnTo>
                  <a:cubicBezTo>
                    <a:pt x="1703" y="225"/>
                    <a:pt x="1721" y="293"/>
                    <a:pt x="1721" y="333"/>
                  </a:cubicBezTo>
                  <a:lnTo>
                    <a:pt x="1721" y="333"/>
                  </a:lnTo>
                  <a:cubicBezTo>
                    <a:pt x="1721" y="358"/>
                    <a:pt x="1696" y="370"/>
                    <a:pt x="1696" y="394"/>
                  </a:cubicBezTo>
                  <a:lnTo>
                    <a:pt x="1696" y="394"/>
                  </a:lnTo>
                  <a:cubicBezTo>
                    <a:pt x="1696" y="433"/>
                    <a:pt x="1730" y="456"/>
                    <a:pt x="1730" y="491"/>
                  </a:cubicBezTo>
                  <a:lnTo>
                    <a:pt x="1730" y="491"/>
                  </a:lnTo>
                  <a:cubicBezTo>
                    <a:pt x="1730" y="513"/>
                    <a:pt x="1696" y="520"/>
                    <a:pt x="1688" y="531"/>
                  </a:cubicBezTo>
                  <a:lnTo>
                    <a:pt x="1688" y="531"/>
                  </a:lnTo>
                  <a:cubicBezTo>
                    <a:pt x="1666" y="564"/>
                    <a:pt x="1659" y="594"/>
                    <a:pt x="1659" y="638"/>
                  </a:cubicBezTo>
                  <a:lnTo>
                    <a:pt x="1659" y="638"/>
                  </a:lnTo>
                  <a:cubicBezTo>
                    <a:pt x="1659" y="689"/>
                    <a:pt x="1696" y="678"/>
                    <a:pt x="1738" y="678"/>
                  </a:cubicBezTo>
                  <a:lnTo>
                    <a:pt x="1738" y="678"/>
                  </a:lnTo>
                  <a:cubicBezTo>
                    <a:pt x="1797" y="678"/>
                    <a:pt x="1824" y="654"/>
                    <a:pt x="1868" y="654"/>
                  </a:cubicBezTo>
                  <a:lnTo>
                    <a:pt x="1868" y="654"/>
                  </a:lnTo>
                  <a:cubicBezTo>
                    <a:pt x="1917" y="654"/>
                    <a:pt x="1907" y="749"/>
                    <a:pt x="1952" y="749"/>
                  </a:cubicBezTo>
                  <a:lnTo>
                    <a:pt x="1952" y="824"/>
                  </a:lnTo>
                  <a:lnTo>
                    <a:pt x="1952" y="824"/>
                  </a:lnTo>
                  <a:cubicBezTo>
                    <a:pt x="1952" y="830"/>
                    <a:pt x="1958" y="834"/>
                    <a:pt x="1961" y="837"/>
                  </a:cubicBezTo>
                  <a:lnTo>
                    <a:pt x="1971" y="848"/>
                  </a:lnTo>
                  <a:lnTo>
                    <a:pt x="1971" y="848"/>
                  </a:lnTo>
                  <a:cubicBezTo>
                    <a:pt x="1980" y="848"/>
                    <a:pt x="2002" y="839"/>
                    <a:pt x="2015" y="837"/>
                  </a:cubicBezTo>
                  <a:lnTo>
                    <a:pt x="2015" y="837"/>
                  </a:lnTo>
                  <a:cubicBezTo>
                    <a:pt x="2016" y="847"/>
                    <a:pt x="2015" y="856"/>
                    <a:pt x="2016" y="865"/>
                  </a:cubicBezTo>
                  <a:lnTo>
                    <a:pt x="2016" y="865"/>
                  </a:lnTo>
                  <a:cubicBezTo>
                    <a:pt x="1998" y="868"/>
                    <a:pt x="1978" y="877"/>
                    <a:pt x="1978" y="896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7" name="Freeform 65">
              <a:extLst>
                <a:ext uri="{FF2B5EF4-FFF2-40B4-BE49-F238E27FC236}">
                  <a16:creationId xmlns:a16="http://schemas.microsoft.com/office/drawing/2014/main" id="{92C9BE26-1B32-3742-B387-AE3ED3FC2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1182" y="3922974"/>
              <a:ext cx="887133" cy="861211"/>
            </a:xfrm>
            <a:custGeom>
              <a:avLst/>
              <a:gdLst>
                <a:gd name="T0" fmla="*/ 275 w 1360"/>
                <a:gd name="T1" fmla="*/ 980 h 1320"/>
                <a:gd name="T2" fmla="*/ 101 w 1360"/>
                <a:gd name="T3" fmla="*/ 1105 h 1320"/>
                <a:gd name="T4" fmla="*/ 50 w 1360"/>
                <a:gd name="T5" fmla="*/ 1026 h 1320"/>
                <a:gd name="T6" fmla="*/ 2 w 1360"/>
                <a:gd name="T7" fmla="*/ 1007 h 1320"/>
                <a:gd name="T8" fmla="*/ 31 w 1360"/>
                <a:gd name="T9" fmla="*/ 960 h 1320"/>
                <a:gd name="T10" fmla="*/ 41 w 1360"/>
                <a:gd name="T11" fmla="*/ 788 h 1320"/>
                <a:gd name="T12" fmla="*/ 123 w 1360"/>
                <a:gd name="T13" fmla="*/ 724 h 1320"/>
                <a:gd name="T14" fmla="*/ 185 w 1360"/>
                <a:gd name="T15" fmla="*/ 665 h 1320"/>
                <a:gd name="T16" fmla="*/ 351 w 1360"/>
                <a:gd name="T17" fmla="*/ 537 h 1320"/>
                <a:gd name="T18" fmla="*/ 402 w 1360"/>
                <a:gd name="T19" fmla="*/ 421 h 1320"/>
                <a:gd name="T20" fmla="*/ 489 w 1360"/>
                <a:gd name="T21" fmla="*/ 344 h 1320"/>
                <a:gd name="T22" fmla="*/ 479 w 1360"/>
                <a:gd name="T23" fmla="*/ 262 h 1320"/>
                <a:gd name="T24" fmla="*/ 516 w 1360"/>
                <a:gd name="T25" fmla="*/ 236 h 1320"/>
                <a:gd name="T26" fmla="*/ 516 w 1360"/>
                <a:gd name="T27" fmla="*/ 202 h 1320"/>
                <a:gd name="T28" fmla="*/ 531 w 1360"/>
                <a:gd name="T29" fmla="*/ 207 h 1320"/>
                <a:gd name="T30" fmla="*/ 553 w 1360"/>
                <a:gd name="T31" fmla="*/ 216 h 1320"/>
                <a:gd name="T32" fmla="*/ 613 w 1360"/>
                <a:gd name="T33" fmla="*/ 235 h 1320"/>
                <a:gd name="T34" fmla="*/ 617 w 1360"/>
                <a:gd name="T35" fmla="*/ 185 h 1320"/>
                <a:gd name="T36" fmla="*/ 659 w 1360"/>
                <a:gd name="T37" fmla="*/ 156 h 1320"/>
                <a:gd name="T38" fmla="*/ 681 w 1360"/>
                <a:gd name="T39" fmla="*/ 137 h 1320"/>
                <a:gd name="T40" fmla="*/ 760 w 1360"/>
                <a:gd name="T41" fmla="*/ 137 h 1320"/>
                <a:gd name="T42" fmla="*/ 828 w 1360"/>
                <a:gd name="T43" fmla="*/ 119 h 1320"/>
                <a:gd name="T44" fmla="*/ 916 w 1360"/>
                <a:gd name="T45" fmla="*/ 68 h 1320"/>
                <a:gd name="T46" fmla="*/ 927 w 1360"/>
                <a:gd name="T47" fmla="*/ 18 h 1320"/>
                <a:gd name="T48" fmla="*/ 965 w 1360"/>
                <a:gd name="T49" fmla="*/ 45 h 1320"/>
                <a:gd name="T50" fmla="*/ 1024 w 1360"/>
                <a:gd name="T51" fmla="*/ 83 h 1320"/>
                <a:gd name="T52" fmla="*/ 1102 w 1360"/>
                <a:gd name="T53" fmla="*/ 27 h 1320"/>
                <a:gd name="T54" fmla="*/ 1181 w 1360"/>
                <a:gd name="T55" fmla="*/ 9 h 1320"/>
                <a:gd name="T56" fmla="*/ 1200 w 1360"/>
                <a:gd name="T57" fmla="*/ 51 h 1320"/>
                <a:gd name="T58" fmla="*/ 1292 w 1360"/>
                <a:gd name="T59" fmla="*/ 53 h 1320"/>
                <a:gd name="T60" fmla="*/ 1218 w 1360"/>
                <a:gd name="T61" fmla="*/ 97 h 1320"/>
                <a:gd name="T62" fmla="*/ 1310 w 1360"/>
                <a:gd name="T63" fmla="*/ 132 h 1320"/>
                <a:gd name="T64" fmla="*/ 1218 w 1360"/>
                <a:gd name="T65" fmla="*/ 225 h 1320"/>
                <a:gd name="T66" fmla="*/ 1249 w 1360"/>
                <a:gd name="T67" fmla="*/ 376 h 1320"/>
                <a:gd name="T68" fmla="*/ 1286 w 1360"/>
                <a:gd name="T69" fmla="*/ 467 h 1320"/>
                <a:gd name="T70" fmla="*/ 1323 w 1360"/>
                <a:gd name="T71" fmla="*/ 614 h 1320"/>
                <a:gd name="T72" fmla="*/ 1300 w 1360"/>
                <a:gd name="T73" fmla="*/ 637 h 1320"/>
                <a:gd name="T74" fmla="*/ 1194 w 1360"/>
                <a:gd name="T75" fmla="*/ 894 h 1320"/>
                <a:gd name="T76" fmla="*/ 1057 w 1360"/>
                <a:gd name="T77" fmla="*/ 930 h 1320"/>
                <a:gd name="T78" fmla="*/ 906 w 1360"/>
                <a:gd name="T79" fmla="*/ 934 h 1320"/>
                <a:gd name="T80" fmla="*/ 828 w 1360"/>
                <a:gd name="T81" fmla="*/ 871 h 1320"/>
                <a:gd name="T82" fmla="*/ 819 w 1360"/>
                <a:gd name="T83" fmla="*/ 760 h 1320"/>
                <a:gd name="T84" fmla="*/ 819 w 1360"/>
                <a:gd name="T85" fmla="*/ 724 h 1320"/>
                <a:gd name="T86" fmla="*/ 1053 w 1360"/>
                <a:gd name="T87" fmla="*/ 541 h 1320"/>
                <a:gd name="T88" fmla="*/ 947 w 1360"/>
                <a:gd name="T89" fmla="*/ 485 h 1320"/>
                <a:gd name="T90" fmla="*/ 837 w 1360"/>
                <a:gd name="T91" fmla="*/ 601 h 1320"/>
                <a:gd name="T92" fmla="*/ 714 w 1360"/>
                <a:gd name="T93" fmla="*/ 702 h 1320"/>
                <a:gd name="T94" fmla="*/ 608 w 1360"/>
                <a:gd name="T95" fmla="*/ 834 h 1320"/>
                <a:gd name="T96" fmla="*/ 623 w 1360"/>
                <a:gd name="T97" fmla="*/ 904 h 1320"/>
                <a:gd name="T98" fmla="*/ 705 w 1360"/>
                <a:gd name="T99" fmla="*/ 976 h 1320"/>
                <a:gd name="T100" fmla="*/ 580 w 1360"/>
                <a:gd name="T101" fmla="*/ 1141 h 1320"/>
                <a:gd name="T102" fmla="*/ 608 w 1360"/>
                <a:gd name="T103" fmla="*/ 1172 h 1320"/>
                <a:gd name="T104" fmla="*/ 503 w 1360"/>
                <a:gd name="T105" fmla="*/ 1261 h 1320"/>
                <a:gd name="T106" fmla="*/ 375 w 1360"/>
                <a:gd name="T107" fmla="*/ 1233 h 1320"/>
                <a:gd name="T108" fmla="*/ 379 w 1360"/>
                <a:gd name="T109" fmla="*/ 1215 h 1320"/>
                <a:gd name="T110" fmla="*/ 302 w 1360"/>
                <a:gd name="T111" fmla="*/ 1050 h 1320"/>
                <a:gd name="T112" fmla="*/ 315 w 1360"/>
                <a:gd name="T113" fmla="*/ 1026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60" h="1320">
                  <a:moveTo>
                    <a:pt x="315" y="1026"/>
                  </a:moveTo>
                  <a:lnTo>
                    <a:pt x="315" y="1026"/>
                  </a:lnTo>
                  <a:cubicBezTo>
                    <a:pt x="291" y="1015"/>
                    <a:pt x="287" y="999"/>
                    <a:pt x="275" y="980"/>
                  </a:cubicBezTo>
                  <a:lnTo>
                    <a:pt x="275" y="980"/>
                  </a:lnTo>
                  <a:cubicBezTo>
                    <a:pt x="237" y="1035"/>
                    <a:pt x="178" y="1105"/>
                    <a:pt x="101" y="1105"/>
                  </a:cubicBezTo>
                  <a:lnTo>
                    <a:pt x="101" y="1105"/>
                  </a:lnTo>
                  <a:cubicBezTo>
                    <a:pt x="90" y="1105"/>
                    <a:pt x="19" y="1061"/>
                    <a:pt x="19" y="1054"/>
                  </a:cubicBezTo>
                  <a:lnTo>
                    <a:pt x="19" y="1054"/>
                  </a:lnTo>
                  <a:cubicBezTo>
                    <a:pt x="19" y="1039"/>
                    <a:pt x="43" y="1030"/>
                    <a:pt x="50" y="1026"/>
                  </a:cubicBezTo>
                  <a:lnTo>
                    <a:pt x="50" y="999"/>
                  </a:lnTo>
                  <a:lnTo>
                    <a:pt x="50" y="999"/>
                  </a:lnTo>
                  <a:cubicBezTo>
                    <a:pt x="24" y="999"/>
                    <a:pt x="24" y="999"/>
                    <a:pt x="2" y="1007"/>
                  </a:cubicBezTo>
                  <a:lnTo>
                    <a:pt x="2" y="1007"/>
                  </a:lnTo>
                  <a:cubicBezTo>
                    <a:pt x="2" y="995"/>
                    <a:pt x="23" y="973"/>
                    <a:pt x="31" y="960"/>
                  </a:cubicBezTo>
                  <a:lnTo>
                    <a:pt x="31" y="960"/>
                  </a:lnTo>
                  <a:cubicBezTo>
                    <a:pt x="4" y="927"/>
                    <a:pt x="0" y="881"/>
                    <a:pt x="0" y="830"/>
                  </a:cubicBezTo>
                  <a:lnTo>
                    <a:pt x="0" y="830"/>
                  </a:lnTo>
                  <a:cubicBezTo>
                    <a:pt x="0" y="803"/>
                    <a:pt x="30" y="804"/>
                    <a:pt x="41" y="788"/>
                  </a:cubicBezTo>
                  <a:lnTo>
                    <a:pt x="41" y="788"/>
                  </a:lnTo>
                  <a:cubicBezTo>
                    <a:pt x="63" y="757"/>
                    <a:pt x="83" y="734"/>
                    <a:pt x="123" y="724"/>
                  </a:cubicBezTo>
                  <a:lnTo>
                    <a:pt x="123" y="724"/>
                  </a:lnTo>
                  <a:cubicBezTo>
                    <a:pt x="156" y="714"/>
                    <a:pt x="164" y="670"/>
                    <a:pt x="230" y="678"/>
                  </a:cubicBezTo>
                  <a:lnTo>
                    <a:pt x="230" y="678"/>
                  </a:lnTo>
                  <a:cubicBezTo>
                    <a:pt x="210" y="673"/>
                    <a:pt x="202" y="669"/>
                    <a:pt x="185" y="665"/>
                  </a:cubicBezTo>
                  <a:lnTo>
                    <a:pt x="185" y="665"/>
                  </a:lnTo>
                  <a:cubicBezTo>
                    <a:pt x="266" y="645"/>
                    <a:pt x="296" y="581"/>
                    <a:pt x="351" y="537"/>
                  </a:cubicBezTo>
                  <a:lnTo>
                    <a:pt x="351" y="537"/>
                  </a:lnTo>
                  <a:cubicBezTo>
                    <a:pt x="374" y="521"/>
                    <a:pt x="369" y="463"/>
                    <a:pt x="384" y="463"/>
                  </a:cubicBezTo>
                  <a:lnTo>
                    <a:pt x="384" y="463"/>
                  </a:lnTo>
                  <a:cubicBezTo>
                    <a:pt x="384" y="463"/>
                    <a:pt x="402" y="423"/>
                    <a:pt x="402" y="421"/>
                  </a:cubicBezTo>
                  <a:lnTo>
                    <a:pt x="402" y="421"/>
                  </a:lnTo>
                  <a:cubicBezTo>
                    <a:pt x="425" y="385"/>
                    <a:pt x="450" y="359"/>
                    <a:pt x="489" y="344"/>
                  </a:cubicBezTo>
                  <a:lnTo>
                    <a:pt x="489" y="344"/>
                  </a:lnTo>
                  <a:cubicBezTo>
                    <a:pt x="527" y="330"/>
                    <a:pt x="578" y="267"/>
                    <a:pt x="588" y="229"/>
                  </a:cubicBezTo>
                  <a:lnTo>
                    <a:pt x="588" y="229"/>
                  </a:lnTo>
                  <a:cubicBezTo>
                    <a:pt x="542" y="238"/>
                    <a:pt x="523" y="262"/>
                    <a:pt x="479" y="262"/>
                  </a:cubicBezTo>
                  <a:lnTo>
                    <a:pt x="479" y="262"/>
                  </a:lnTo>
                  <a:cubicBezTo>
                    <a:pt x="489" y="249"/>
                    <a:pt x="508" y="240"/>
                    <a:pt x="516" y="236"/>
                  </a:cubicBezTo>
                  <a:lnTo>
                    <a:pt x="516" y="236"/>
                  </a:lnTo>
                  <a:cubicBezTo>
                    <a:pt x="507" y="236"/>
                    <a:pt x="489" y="231"/>
                    <a:pt x="489" y="231"/>
                  </a:cubicBezTo>
                  <a:lnTo>
                    <a:pt x="489" y="231"/>
                  </a:lnTo>
                  <a:cubicBezTo>
                    <a:pt x="492" y="212"/>
                    <a:pt x="502" y="202"/>
                    <a:pt x="516" y="202"/>
                  </a:cubicBezTo>
                  <a:lnTo>
                    <a:pt x="516" y="202"/>
                  </a:lnTo>
                  <a:cubicBezTo>
                    <a:pt x="522" y="202"/>
                    <a:pt x="526" y="207"/>
                    <a:pt x="531" y="207"/>
                  </a:cubicBezTo>
                  <a:lnTo>
                    <a:pt x="531" y="207"/>
                  </a:lnTo>
                  <a:cubicBezTo>
                    <a:pt x="536" y="196"/>
                    <a:pt x="542" y="189"/>
                    <a:pt x="547" y="184"/>
                  </a:cubicBezTo>
                  <a:lnTo>
                    <a:pt x="547" y="184"/>
                  </a:lnTo>
                  <a:cubicBezTo>
                    <a:pt x="557" y="194"/>
                    <a:pt x="558" y="203"/>
                    <a:pt x="553" y="216"/>
                  </a:cubicBezTo>
                  <a:lnTo>
                    <a:pt x="553" y="216"/>
                  </a:lnTo>
                  <a:cubicBezTo>
                    <a:pt x="582" y="216"/>
                    <a:pt x="590" y="235"/>
                    <a:pt x="613" y="235"/>
                  </a:cubicBezTo>
                  <a:lnTo>
                    <a:pt x="613" y="235"/>
                  </a:lnTo>
                  <a:cubicBezTo>
                    <a:pt x="623" y="235"/>
                    <a:pt x="643" y="190"/>
                    <a:pt x="646" y="189"/>
                  </a:cubicBezTo>
                  <a:lnTo>
                    <a:pt x="646" y="189"/>
                  </a:lnTo>
                  <a:cubicBezTo>
                    <a:pt x="633" y="185"/>
                    <a:pt x="633" y="184"/>
                    <a:pt x="617" y="185"/>
                  </a:cubicBezTo>
                  <a:lnTo>
                    <a:pt x="617" y="185"/>
                  </a:lnTo>
                  <a:cubicBezTo>
                    <a:pt x="626" y="170"/>
                    <a:pt x="641" y="156"/>
                    <a:pt x="659" y="156"/>
                  </a:cubicBezTo>
                  <a:lnTo>
                    <a:pt x="659" y="156"/>
                  </a:lnTo>
                  <a:cubicBezTo>
                    <a:pt x="672" y="156"/>
                    <a:pt x="683" y="159"/>
                    <a:pt x="696" y="152"/>
                  </a:cubicBezTo>
                  <a:lnTo>
                    <a:pt x="696" y="152"/>
                  </a:lnTo>
                  <a:cubicBezTo>
                    <a:pt x="687" y="143"/>
                    <a:pt x="688" y="145"/>
                    <a:pt x="681" y="137"/>
                  </a:cubicBezTo>
                  <a:lnTo>
                    <a:pt x="681" y="137"/>
                  </a:lnTo>
                  <a:cubicBezTo>
                    <a:pt x="699" y="119"/>
                    <a:pt x="732" y="121"/>
                    <a:pt x="760" y="115"/>
                  </a:cubicBezTo>
                  <a:lnTo>
                    <a:pt x="760" y="137"/>
                  </a:lnTo>
                  <a:lnTo>
                    <a:pt x="760" y="137"/>
                  </a:lnTo>
                  <a:cubicBezTo>
                    <a:pt x="783" y="132"/>
                    <a:pt x="789" y="89"/>
                    <a:pt x="828" y="88"/>
                  </a:cubicBezTo>
                  <a:lnTo>
                    <a:pt x="828" y="119"/>
                  </a:lnTo>
                  <a:lnTo>
                    <a:pt x="828" y="119"/>
                  </a:lnTo>
                  <a:cubicBezTo>
                    <a:pt x="851" y="75"/>
                    <a:pt x="883" y="86"/>
                    <a:pt x="916" y="68"/>
                  </a:cubicBezTo>
                  <a:lnTo>
                    <a:pt x="916" y="68"/>
                  </a:lnTo>
                  <a:cubicBezTo>
                    <a:pt x="901" y="63"/>
                    <a:pt x="888" y="58"/>
                    <a:pt x="888" y="45"/>
                  </a:cubicBezTo>
                  <a:lnTo>
                    <a:pt x="888" y="45"/>
                  </a:lnTo>
                  <a:cubicBezTo>
                    <a:pt x="888" y="36"/>
                    <a:pt x="921" y="29"/>
                    <a:pt x="927" y="18"/>
                  </a:cubicBezTo>
                  <a:lnTo>
                    <a:pt x="927" y="18"/>
                  </a:lnTo>
                  <a:cubicBezTo>
                    <a:pt x="938" y="31"/>
                    <a:pt x="949" y="45"/>
                    <a:pt x="965" y="45"/>
                  </a:cubicBezTo>
                  <a:lnTo>
                    <a:pt x="965" y="45"/>
                  </a:lnTo>
                  <a:cubicBezTo>
                    <a:pt x="992" y="45"/>
                    <a:pt x="1062" y="0"/>
                    <a:pt x="1062" y="24"/>
                  </a:cubicBezTo>
                  <a:lnTo>
                    <a:pt x="1062" y="24"/>
                  </a:lnTo>
                  <a:cubicBezTo>
                    <a:pt x="1062" y="49"/>
                    <a:pt x="1031" y="56"/>
                    <a:pt x="1024" y="83"/>
                  </a:cubicBezTo>
                  <a:lnTo>
                    <a:pt x="1024" y="83"/>
                  </a:lnTo>
                  <a:cubicBezTo>
                    <a:pt x="1060" y="86"/>
                    <a:pt x="1071" y="44"/>
                    <a:pt x="1102" y="27"/>
                  </a:cubicBezTo>
                  <a:lnTo>
                    <a:pt x="1102" y="27"/>
                  </a:lnTo>
                  <a:cubicBezTo>
                    <a:pt x="1110" y="40"/>
                    <a:pt x="1110" y="49"/>
                    <a:pt x="1112" y="60"/>
                  </a:cubicBezTo>
                  <a:lnTo>
                    <a:pt x="1112" y="60"/>
                  </a:lnTo>
                  <a:cubicBezTo>
                    <a:pt x="1138" y="35"/>
                    <a:pt x="1152" y="27"/>
                    <a:pt x="1181" y="9"/>
                  </a:cubicBezTo>
                  <a:lnTo>
                    <a:pt x="1181" y="9"/>
                  </a:lnTo>
                  <a:cubicBezTo>
                    <a:pt x="1183" y="33"/>
                    <a:pt x="1179" y="49"/>
                    <a:pt x="1200" y="51"/>
                  </a:cubicBezTo>
                  <a:lnTo>
                    <a:pt x="1200" y="51"/>
                  </a:lnTo>
                  <a:cubicBezTo>
                    <a:pt x="1205" y="36"/>
                    <a:pt x="1212" y="24"/>
                    <a:pt x="1227" y="24"/>
                  </a:cubicBezTo>
                  <a:lnTo>
                    <a:pt x="1227" y="24"/>
                  </a:lnTo>
                  <a:cubicBezTo>
                    <a:pt x="1236" y="24"/>
                    <a:pt x="1277" y="45"/>
                    <a:pt x="1292" y="53"/>
                  </a:cubicBezTo>
                  <a:lnTo>
                    <a:pt x="1292" y="53"/>
                  </a:lnTo>
                  <a:cubicBezTo>
                    <a:pt x="1274" y="97"/>
                    <a:pt x="1260" y="83"/>
                    <a:pt x="1218" y="97"/>
                  </a:cubicBezTo>
                  <a:lnTo>
                    <a:pt x="1218" y="97"/>
                  </a:lnTo>
                  <a:cubicBezTo>
                    <a:pt x="1236" y="112"/>
                    <a:pt x="1249" y="114"/>
                    <a:pt x="1249" y="125"/>
                  </a:cubicBezTo>
                  <a:lnTo>
                    <a:pt x="1249" y="125"/>
                  </a:lnTo>
                  <a:cubicBezTo>
                    <a:pt x="1266" y="126"/>
                    <a:pt x="1304" y="132"/>
                    <a:pt x="1310" y="132"/>
                  </a:cubicBezTo>
                  <a:lnTo>
                    <a:pt x="1310" y="132"/>
                  </a:lnTo>
                  <a:cubicBezTo>
                    <a:pt x="1284" y="150"/>
                    <a:pt x="1218" y="184"/>
                    <a:pt x="1218" y="225"/>
                  </a:cubicBezTo>
                  <a:lnTo>
                    <a:pt x="1218" y="225"/>
                  </a:lnTo>
                  <a:cubicBezTo>
                    <a:pt x="1218" y="260"/>
                    <a:pt x="1282" y="259"/>
                    <a:pt x="1282" y="299"/>
                  </a:cubicBezTo>
                  <a:lnTo>
                    <a:pt x="1282" y="299"/>
                  </a:lnTo>
                  <a:cubicBezTo>
                    <a:pt x="1282" y="330"/>
                    <a:pt x="1249" y="344"/>
                    <a:pt x="1249" y="376"/>
                  </a:cubicBezTo>
                  <a:lnTo>
                    <a:pt x="1249" y="376"/>
                  </a:lnTo>
                  <a:cubicBezTo>
                    <a:pt x="1249" y="410"/>
                    <a:pt x="1286" y="431"/>
                    <a:pt x="1286" y="467"/>
                  </a:cubicBezTo>
                  <a:lnTo>
                    <a:pt x="1286" y="467"/>
                  </a:lnTo>
                  <a:cubicBezTo>
                    <a:pt x="1286" y="489"/>
                    <a:pt x="1267" y="500"/>
                    <a:pt x="1267" y="522"/>
                  </a:cubicBezTo>
                  <a:lnTo>
                    <a:pt x="1267" y="522"/>
                  </a:lnTo>
                  <a:cubicBezTo>
                    <a:pt x="1267" y="562"/>
                    <a:pt x="1323" y="573"/>
                    <a:pt x="1323" y="614"/>
                  </a:cubicBezTo>
                  <a:lnTo>
                    <a:pt x="1323" y="614"/>
                  </a:lnTo>
                  <a:cubicBezTo>
                    <a:pt x="1323" y="624"/>
                    <a:pt x="1306" y="634"/>
                    <a:pt x="1300" y="637"/>
                  </a:cubicBezTo>
                  <a:lnTo>
                    <a:pt x="1300" y="637"/>
                  </a:lnTo>
                  <a:cubicBezTo>
                    <a:pt x="1317" y="667"/>
                    <a:pt x="1359" y="674"/>
                    <a:pt x="1359" y="714"/>
                  </a:cubicBezTo>
                  <a:lnTo>
                    <a:pt x="1359" y="714"/>
                  </a:lnTo>
                  <a:cubicBezTo>
                    <a:pt x="1359" y="775"/>
                    <a:pt x="1233" y="843"/>
                    <a:pt x="1194" y="894"/>
                  </a:cubicBezTo>
                  <a:lnTo>
                    <a:pt x="1194" y="894"/>
                  </a:lnTo>
                  <a:cubicBezTo>
                    <a:pt x="1176" y="930"/>
                    <a:pt x="1091" y="936"/>
                    <a:pt x="1057" y="930"/>
                  </a:cubicBezTo>
                  <a:lnTo>
                    <a:pt x="1057" y="930"/>
                  </a:lnTo>
                  <a:cubicBezTo>
                    <a:pt x="1020" y="942"/>
                    <a:pt x="978" y="958"/>
                    <a:pt x="947" y="958"/>
                  </a:cubicBezTo>
                  <a:lnTo>
                    <a:pt x="947" y="958"/>
                  </a:lnTo>
                  <a:cubicBezTo>
                    <a:pt x="923" y="958"/>
                    <a:pt x="906" y="955"/>
                    <a:pt x="906" y="934"/>
                  </a:cubicBezTo>
                  <a:lnTo>
                    <a:pt x="906" y="934"/>
                  </a:lnTo>
                  <a:cubicBezTo>
                    <a:pt x="868" y="934"/>
                    <a:pt x="828" y="909"/>
                    <a:pt x="828" y="871"/>
                  </a:cubicBezTo>
                  <a:lnTo>
                    <a:pt x="828" y="871"/>
                  </a:lnTo>
                  <a:cubicBezTo>
                    <a:pt x="828" y="852"/>
                    <a:pt x="848" y="839"/>
                    <a:pt x="853" y="830"/>
                  </a:cubicBezTo>
                  <a:lnTo>
                    <a:pt x="853" y="830"/>
                  </a:lnTo>
                  <a:cubicBezTo>
                    <a:pt x="835" y="823"/>
                    <a:pt x="819" y="781"/>
                    <a:pt x="819" y="760"/>
                  </a:cubicBezTo>
                  <a:lnTo>
                    <a:pt x="819" y="760"/>
                  </a:lnTo>
                  <a:cubicBezTo>
                    <a:pt x="819" y="747"/>
                    <a:pt x="822" y="737"/>
                    <a:pt x="819" y="724"/>
                  </a:cubicBezTo>
                  <a:lnTo>
                    <a:pt x="819" y="724"/>
                  </a:lnTo>
                  <a:cubicBezTo>
                    <a:pt x="896" y="724"/>
                    <a:pt x="936" y="623"/>
                    <a:pt x="983" y="596"/>
                  </a:cubicBezTo>
                  <a:lnTo>
                    <a:pt x="983" y="596"/>
                  </a:lnTo>
                  <a:cubicBezTo>
                    <a:pt x="1009" y="581"/>
                    <a:pt x="1053" y="572"/>
                    <a:pt x="1053" y="541"/>
                  </a:cubicBezTo>
                  <a:lnTo>
                    <a:pt x="1053" y="541"/>
                  </a:lnTo>
                  <a:cubicBezTo>
                    <a:pt x="1053" y="495"/>
                    <a:pt x="992" y="485"/>
                    <a:pt x="947" y="485"/>
                  </a:cubicBezTo>
                  <a:lnTo>
                    <a:pt x="947" y="485"/>
                  </a:lnTo>
                  <a:cubicBezTo>
                    <a:pt x="886" y="485"/>
                    <a:pt x="837" y="508"/>
                    <a:pt x="837" y="559"/>
                  </a:cubicBezTo>
                  <a:lnTo>
                    <a:pt x="837" y="559"/>
                  </a:lnTo>
                  <a:cubicBezTo>
                    <a:pt x="837" y="581"/>
                    <a:pt x="842" y="590"/>
                    <a:pt x="837" y="601"/>
                  </a:cubicBezTo>
                  <a:lnTo>
                    <a:pt x="837" y="601"/>
                  </a:lnTo>
                  <a:cubicBezTo>
                    <a:pt x="837" y="643"/>
                    <a:pt x="752" y="680"/>
                    <a:pt x="714" y="702"/>
                  </a:cubicBezTo>
                  <a:lnTo>
                    <a:pt x="714" y="702"/>
                  </a:lnTo>
                  <a:cubicBezTo>
                    <a:pt x="683" y="720"/>
                    <a:pt x="650" y="727"/>
                    <a:pt x="631" y="760"/>
                  </a:cubicBezTo>
                  <a:lnTo>
                    <a:pt x="631" y="760"/>
                  </a:lnTo>
                  <a:cubicBezTo>
                    <a:pt x="617" y="786"/>
                    <a:pt x="636" y="821"/>
                    <a:pt x="608" y="834"/>
                  </a:cubicBezTo>
                  <a:lnTo>
                    <a:pt x="608" y="871"/>
                  </a:lnTo>
                  <a:lnTo>
                    <a:pt x="608" y="871"/>
                  </a:lnTo>
                  <a:cubicBezTo>
                    <a:pt x="617" y="878"/>
                    <a:pt x="623" y="891"/>
                    <a:pt x="623" y="904"/>
                  </a:cubicBezTo>
                  <a:lnTo>
                    <a:pt x="623" y="904"/>
                  </a:lnTo>
                  <a:cubicBezTo>
                    <a:pt x="656" y="909"/>
                    <a:pt x="705" y="942"/>
                    <a:pt x="705" y="976"/>
                  </a:cubicBezTo>
                  <a:lnTo>
                    <a:pt x="705" y="976"/>
                  </a:lnTo>
                  <a:cubicBezTo>
                    <a:pt x="705" y="1004"/>
                    <a:pt x="650" y="1050"/>
                    <a:pt x="631" y="1050"/>
                  </a:cubicBezTo>
                  <a:lnTo>
                    <a:pt x="631" y="1050"/>
                  </a:lnTo>
                  <a:cubicBezTo>
                    <a:pt x="595" y="1050"/>
                    <a:pt x="580" y="1103"/>
                    <a:pt x="580" y="1141"/>
                  </a:cubicBezTo>
                  <a:lnTo>
                    <a:pt x="580" y="1141"/>
                  </a:lnTo>
                  <a:cubicBezTo>
                    <a:pt x="580" y="1164"/>
                    <a:pt x="597" y="1171"/>
                    <a:pt x="608" y="1172"/>
                  </a:cubicBezTo>
                  <a:lnTo>
                    <a:pt x="608" y="1172"/>
                  </a:lnTo>
                  <a:cubicBezTo>
                    <a:pt x="603" y="1222"/>
                    <a:pt x="558" y="1226"/>
                    <a:pt x="553" y="1261"/>
                  </a:cubicBezTo>
                  <a:lnTo>
                    <a:pt x="503" y="1261"/>
                  </a:lnTo>
                  <a:lnTo>
                    <a:pt x="503" y="1261"/>
                  </a:lnTo>
                  <a:cubicBezTo>
                    <a:pt x="472" y="1261"/>
                    <a:pt x="461" y="1319"/>
                    <a:pt x="415" y="1319"/>
                  </a:cubicBezTo>
                  <a:lnTo>
                    <a:pt x="415" y="1319"/>
                  </a:lnTo>
                  <a:cubicBezTo>
                    <a:pt x="401" y="1319"/>
                    <a:pt x="375" y="1242"/>
                    <a:pt x="375" y="1233"/>
                  </a:cubicBezTo>
                  <a:lnTo>
                    <a:pt x="375" y="1233"/>
                  </a:lnTo>
                  <a:cubicBezTo>
                    <a:pt x="375" y="1228"/>
                    <a:pt x="379" y="1220"/>
                    <a:pt x="379" y="1215"/>
                  </a:cubicBezTo>
                  <a:lnTo>
                    <a:pt x="379" y="1215"/>
                  </a:lnTo>
                  <a:cubicBezTo>
                    <a:pt x="348" y="1184"/>
                    <a:pt x="351" y="1158"/>
                    <a:pt x="338" y="1118"/>
                  </a:cubicBezTo>
                  <a:lnTo>
                    <a:pt x="338" y="1118"/>
                  </a:lnTo>
                  <a:cubicBezTo>
                    <a:pt x="330" y="1090"/>
                    <a:pt x="302" y="1083"/>
                    <a:pt x="302" y="1050"/>
                  </a:cubicBezTo>
                  <a:lnTo>
                    <a:pt x="302" y="1050"/>
                  </a:lnTo>
                  <a:cubicBezTo>
                    <a:pt x="302" y="1037"/>
                    <a:pt x="313" y="1020"/>
                    <a:pt x="315" y="1017"/>
                  </a:cubicBezTo>
                  <a:lnTo>
                    <a:pt x="315" y="1026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8" name="Freeform 66">
              <a:extLst>
                <a:ext uri="{FF2B5EF4-FFF2-40B4-BE49-F238E27FC236}">
                  <a16:creationId xmlns:a16="http://schemas.microsoft.com/office/drawing/2014/main" id="{2A64656D-B981-B64E-94F9-67CBE40B6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3715" y="3476528"/>
              <a:ext cx="5803808" cy="2157346"/>
            </a:xfrm>
            <a:custGeom>
              <a:avLst/>
              <a:gdLst>
                <a:gd name="T0" fmla="*/ 6211 w 8886"/>
                <a:gd name="T1" fmla="*/ 2565 h 3303"/>
                <a:gd name="T2" fmla="*/ 6344 w 8886"/>
                <a:gd name="T3" fmla="*/ 2189 h 3303"/>
                <a:gd name="T4" fmla="*/ 6200 w 8886"/>
                <a:gd name="T5" fmla="*/ 1869 h 3303"/>
                <a:gd name="T6" fmla="*/ 7016 w 8886"/>
                <a:gd name="T7" fmla="*/ 1695 h 3303"/>
                <a:gd name="T8" fmla="*/ 7492 w 8886"/>
                <a:gd name="T9" fmla="*/ 1439 h 3303"/>
                <a:gd name="T10" fmla="*/ 7208 w 8886"/>
                <a:gd name="T11" fmla="*/ 1787 h 3303"/>
                <a:gd name="T12" fmla="*/ 7309 w 8886"/>
                <a:gd name="T13" fmla="*/ 2089 h 3303"/>
                <a:gd name="T14" fmla="*/ 7446 w 8886"/>
                <a:gd name="T15" fmla="*/ 1796 h 3303"/>
                <a:gd name="T16" fmla="*/ 8262 w 8886"/>
                <a:gd name="T17" fmla="*/ 1301 h 3303"/>
                <a:gd name="T18" fmla="*/ 8711 w 8886"/>
                <a:gd name="T19" fmla="*/ 1283 h 3303"/>
                <a:gd name="T20" fmla="*/ 8500 w 8886"/>
                <a:gd name="T21" fmla="*/ 944 h 3303"/>
                <a:gd name="T22" fmla="*/ 7739 w 8886"/>
                <a:gd name="T23" fmla="*/ 807 h 3303"/>
                <a:gd name="T24" fmla="*/ 6897 w 8886"/>
                <a:gd name="T25" fmla="*/ 660 h 3303"/>
                <a:gd name="T26" fmla="*/ 5962 w 8886"/>
                <a:gd name="T27" fmla="*/ 651 h 3303"/>
                <a:gd name="T28" fmla="*/ 5687 w 8886"/>
                <a:gd name="T29" fmla="*/ 541 h 3303"/>
                <a:gd name="T30" fmla="*/ 5184 w 8886"/>
                <a:gd name="T31" fmla="*/ 476 h 3303"/>
                <a:gd name="T32" fmla="*/ 4542 w 8886"/>
                <a:gd name="T33" fmla="*/ 101 h 3303"/>
                <a:gd name="T34" fmla="*/ 3969 w 8886"/>
                <a:gd name="T35" fmla="*/ 147 h 3303"/>
                <a:gd name="T36" fmla="*/ 3150 w 8886"/>
                <a:gd name="T37" fmla="*/ 486 h 3303"/>
                <a:gd name="T38" fmla="*/ 2869 w 8886"/>
                <a:gd name="T39" fmla="*/ 504 h 3303"/>
                <a:gd name="T40" fmla="*/ 2826 w 8886"/>
                <a:gd name="T41" fmla="*/ 957 h 3303"/>
                <a:gd name="T42" fmla="*/ 2444 w 8886"/>
                <a:gd name="T43" fmla="*/ 687 h 3303"/>
                <a:gd name="T44" fmla="*/ 2124 w 8886"/>
                <a:gd name="T45" fmla="*/ 861 h 3303"/>
                <a:gd name="T46" fmla="*/ 1382 w 8886"/>
                <a:gd name="T47" fmla="*/ 1063 h 3303"/>
                <a:gd name="T48" fmla="*/ 1272 w 8886"/>
                <a:gd name="T49" fmla="*/ 1090 h 3303"/>
                <a:gd name="T50" fmla="*/ 887 w 8886"/>
                <a:gd name="T51" fmla="*/ 1301 h 3303"/>
                <a:gd name="T52" fmla="*/ 951 w 8886"/>
                <a:gd name="T53" fmla="*/ 944 h 3303"/>
                <a:gd name="T54" fmla="*/ 462 w 8886"/>
                <a:gd name="T55" fmla="*/ 907 h 3303"/>
                <a:gd name="T56" fmla="*/ 530 w 8886"/>
                <a:gd name="T57" fmla="*/ 1149 h 3303"/>
                <a:gd name="T58" fmla="*/ 544 w 8886"/>
                <a:gd name="T59" fmla="*/ 1319 h 3303"/>
                <a:gd name="T60" fmla="*/ 484 w 8886"/>
                <a:gd name="T61" fmla="*/ 1640 h 3303"/>
                <a:gd name="T62" fmla="*/ 187 w 8886"/>
                <a:gd name="T63" fmla="*/ 1731 h 3303"/>
                <a:gd name="T64" fmla="*/ 63 w 8886"/>
                <a:gd name="T65" fmla="*/ 1933 h 3303"/>
                <a:gd name="T66" fmla="*/ 160 w 8886"/>
                <a:gd name="T67" fmla="*/ 2052 h 3303"/>
                <a:gd name="T68" fmla="*/ 225 w 8886"/>
                <a:gd name="T69" fmla="*/ 2318 h 3303"/>
                <a:gd name="T70" fmla="*/ 233 w 8886"/>
                <a:gd name="T71" fmla="*/ 2505 h 3303"/>
                <a:gd name="T72" fmla="*/ 456 w 8886"/>
                <a:gd name="T73" fmla="*/ 2664 h 3303"/>
                <a:gd name="T74" fmla="*/ 594 w 8886"/>
                <a:gd name="T75" fmla="*/ 2606 h 3303"/>
                <a:gd name="T76" fmla="*/ 814 w 8886"/>
                <a:gd name="T77" fmla="*/ 2679 h 3303"/>
                <a:gd name="T78" fmla="*/ 933 w 8886"/>
                <a:gd name="T79" fmla="*/ 2600 h 3303"/>
                <a:gd name="T80" fmla="*/ 1178 w 8886"/>
                <a:gd name="T81" fmla="*/ 2914 h 3303"/>
                <a:gd name="T82" fmla="*/ 1389 w 8886"/>
                <a:gd name="T83" fmla="*/ 3082 h 3303"/>
                <a:gd name="T84" fmla="*/ 1493 w 8886"/>
                <a:gd name="T85" fmla="*/ 3067 h 3303"/>
                <a:gd name="T86" fmla="*/ 1570 w 8886"/>
                <a:gd name="T87" fmla="*/ 2995 h 3303"/>
                <a:gd name="T88" fmla="*/ 1449 w 8886"/>
                <a:gd name="T89" fmla="*/ 2633 h 3303"/>
                <a:gd name="T90" fmla="*/ 1809 w 8886"/>
                <a:gd name="T91" fmla="*/ 2677 h 3303"/>
                <a:gd name="T92" fmla="*/ 1625 w 8886"/>
                <a:gd name="T93" fmla="*/ 2780 h 3303"/>
                <a:gd name="T94" fmla="*/ 1748 w 8886"/>
                <a:gd name="T95" fmla="*/ 2978 h 3303"/>
                <a:gd name="T96" fmla="*/ 1763 w 8886"/>
                <a:gd name="T97" fmla="*/ 3142 h 3303"/>
                <a:gd name="T98" fmla="*/ 1855 w 8886"/>
                <a:gd name="T99" fmla="*/ 3137 h 3303"/>
                <a:gd name="T100" fmla="*/ 2151 w 8886"/>
                <a:gd name="T101" fmla="*/ 3205 h 3303"/>
                <a:gd name="T102" fmla="*/ 2230 w 8886"/>
                <a:gd name="T103" fmla="*/ 3302 h 3303"/>
                <a:gd name="T104" fmla="*/ 2404 w 8886"/>
                <a:gd name="T105" fmla="*/ 3165 h 3303"/>
                <a:gd name="T106" fmla="*/ 2527 w 8886"/>
                <a:gd name="T107" fmla="*/ 3199 h 3303"/>
                <a:gd name="T108" fmla="*/ 2679 w 8886"/>
                <a:gd name="T109" fmla="*/ 3109 h 3303"/>
                <a:gd name="T110" fmla="*/ 2873 w 8886"/>
                <a:gd name="T111" fmla="*/ 3179 h 3303"/>
                <a:gd name="T112" fmla="*/ 2884 w 8886"/>
                <a:gd name="T113" fmla="*/ 2987 h 3303"/>
                <a:gd name="T114" fmla="*/ 3443 w 8886"/>
                <a:gd name="T115" fmla="*/ 2465 h 3303"/>
                <a:gd name="T116" fmla="*/ 3992 w 8886"/>
                <a:gd name="T117" fmla="*/ 2355 h 3303"/>
                <a:gd name="T118" fmla="*/ 4450 w 8886"/>
                <a:gd name="T119" fmla="*/ 2318 h 3303"/>
                <a:gd name="T120" fmla="*/ 5404 w 8886"/>
                <a:gd name="T121" fmla="*/ 2126 h 3303"/>
                <a:gd name="T122" fmla="*/ 5861 w 8886"/>
                <a:gd name="T123" fmla="*/ 2520 h 3303"/>
                <a:gd name="T124" fmla="*/ 5815 w 8886"/>
                <a:gd name="T125" fmla="*/ 2721 h 3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86" h="3303">
                  <a:moveTo>
                    <a:pt x="5807" y="2841"/>
                  </a:moveTo>
                  <a:lnTo>
                    <a:pt x="5807" y="2841"/>
                  </a:lnTo>
                  <a:cubicBezTo>
                    <a:pt x="5807" y="2841"/>
                    <a:pt x="5878" y="2859"/>
                    <a:pt x="5935" y="2859"/>
                  </a:cubicBezTo>
                  <a:lnTo>
                    <a:pt x="5935" y="2859"/>
                  </a:lnTo>
                  <a:cubicBezTo>
                    <a:pt x="6039" y="2859"/>
                    <a:pt x="6138" y="2638"/>
                    <a:pt x="6211" y="2565"/>
                  </a:cubicBezTo>
                  <a:lnTo>
                    <a:pt x="6211" y="2565"/>
                  </a:lnTo>
                  <a:cubicBezTo>
                    <a:pt x="6240" y="2536"/>
                    <a:pt x="6281" y="2476"/>
                    <a:pt x="6292" y="2428"/>
                  </a:cubicBezTo>
                  <a:lnTo>
                    <a:pt x="6292" y="2428"/>
                  </a:lnTo>
                  <a:cubicBezTo>
                    <a:pt x="6305" y="2375"/>
                    <a:pt x="6283" y="2341"/>
                    <a:pt x="6312" y="2290"/>
                  </a:cubicBezTo>
                  <a:lnTo>
                    <a:pt x="6312" y="2290"/>
                  </a:lnTo>
                  <a:cubicBezTo>
                    <a:pt x="6322" y="2271"/>
                    <a:pt x="6344" y="2230"/>
                    <a:pt x="6344" y="2189"/>
                  </a:cubicBezTo>
                  <a:lnTo>
                    <a:pt x="6344" y="2189"/>
                  </a:lnTo>
                  <a:cubicBezTo>
                    <a:pt x="6344" y="2140"/>
                    <a:pt x="6265" y="2043"/>
                    <a:pt x="6228" y="2071"/>
                  </a:cubicBezTo>
                  <a:lnTo>
                    <a:pt x="6228" y="2071"/>
                  </a:lnTo>
                  <a:cubicBezTo>
                    <a:pt x="6120" y="2153"/>
                    <a:pt x="6063" y="2026"/>
                    <a:pt x="6063" y="2016"/>
                  </a:cubicBezTo>
                  <a:lnTo>
                    <a:pt x="6063" y="2016"/>
                  </a:lnTo>
                  <a:cubicBezTo>
                    <a:pt x="6063" y="1964"/>
                    <a:pt x="6162" y="1908"/>
                    <a:pt x="6200" y="1869"/>
                  </a:cubicBezTo>
                  <a:lnTo>
                    <a:pt x="6200" y="1869"/>
                  </a:lnTo>
                  <a:cubicBezTo>
                    <a:pt x="6257" y="1812"/>
                    <a:pt x="6332" y="1717"/>
                    <a:pt x="6411" y="1695"/>
                  </a:cubicBezTo>
                  <a:lnTo>
                    <a:pt x="6411" y="1695"/>
                  </a:lnTo>
                  <a:cubicBezTo>
                    <a:pt x="6481" y="1677"/>
                    <a:pt x="6699" y="1658"/>
                    <a:pt x="6759" y="1658"/>
                  </a:cubicBezTo>
                  <a:lnTo>
                    <a:pt x="6759" y="1658"/>
                  </a:lnTo>
                  <a:cubicBezTo>
                    <a:pt x="6834" y="1658"/>
                    <a:pt x="6869" y="1695"/>
                    <a:pt x="6915" y="1695"/>
                  </a:cubicBezTo>
                  <a:lnTo>
                    <a:pt x="7016" y="1695"/>
                  </a:lnTo>
                  <a:lnTo>
                    <a:pt x="7016" y="1695"/>
                  </a:lnTo>
                  <a:cubicBezTo>
                    <a:pt x="7045" y="1574"/>
                    <a:pt x="7100" y="1503"/>
                    <a:pt x="7227" y="1503"/>
                  </a:cubicBezTo>
                  <a:lnTo>
                    <a:pt x="7227" y="1503"/>
                  </a:lnTo>
                  <a:cubicBezTo>
                    <a:pt x="7260" y="1503"/>
                    <a:pt x="7274" y="1494"/>
                    <a:pt x="7337" y="1503"/>
                  </a:cubicBezTo>
                  <a:lnTo>
                    <a:pt x="7337" y="1503"/>
                  </a:lnTo>
                  <a:cubicBezTo>
                    <a:pt x="7305" y="1527"/>
                    <a:pt x="7292" y="1685"/>
                    <a:pt x="7492" y="1439"/>
                  </a:cubicBezTo>
                  <a:lnTo>
                    <a:pt x="7492" y="1439"/>
                  </a:lnTo>
                  <a:cubicBezTo>
                    <a:pt x="7512" y="1435"/>
                    <a:pt x="7608" y="1475"/>
                    <a:pt x="7465" y="1567"/>
                  </a:cubicBezTo>
                  <a:lnTo>
                    <a:pt x="7465" y="1567"/>
                  </a:lnTo>
                  <a:cubicBezTo>
                    <a:pt x="7415" y="1599"/>
                    <a:pt x="7370" y="1583"/>
                    <a:pt x="7337" y="1631"/>
                  </a:cubicBezTo>
                  <a:lnTo>
                    <a:pt x="7337" y="1631"/>
                  </a:lnTo>
                  <a:cubicBezTo>
                    <a:pt x="7298" y="1686"/>
                    <a:pt x="7263" y="1756"/>
                    <a:pt x="7208" y="1787"/>
                  </a:cubicBezTo>
                  <a:lnTo>
                    <a:pt x="7208" y="1787"/>
                  </a:lnTo>
                  <a:cubicBezTo>
                    <a:pt x="7162" y="1812"/>
                    <a:pt x="7098" y="1854"/>
                    <a:pt x="7098" y="1933"/>
                  </a:cubicBezTo>
                  <a:lnTo>
                    <a:pt x="7098" y="1933"/>
                  </a:lnTo>
                  <a:cubicBezTo>
                    <a:pt x="7098" y="2001"/>
                    <a:pt x="7120" y="2223"/>
                    <a:pt x="7171" y="2263"/>
                  </a:cubicBezTo>
                  <a:lnTo>
                    <a:pt x="7171" y="2263"/>
                  </a:lnTo>
                  <a:cubicBezTo>
                    <a:pt x="7208" y="2208"/>
                    <a:pt x="7234" y="2107"/>
                    <a:pt x="7309" y="2089"/>
                  </a:cubicBezTo>
                  <a:lnTo>
                    <a:pt x="7309" y="2089"/>
                  </a:lnTo>
                  <a:cubicBezTo>
                    <a:pt x="7300" y="2038"/>
                    <a:pt x="7382" y="2026"/>
                    <a:pt x="7382" y="1988"/>
                  </a:cubicBezTo>
                  <a:lnTo>
                    <a:pt x="7382" y="1988"/>
                  </a:lnTo>
                  <a:cubicBezTo>
                    <a:pt x="7382" y="1928"/>
                    <a:pt x="7446" y="1911"/>
                    <a:pt x="7446" y="1879"/>
                  </a:cubicBezTo>
                  <a:lnTo>
                    <a:pt x="7446" y="1879"/>
                  </a:lnTo>
                  <a:cubicBezTo>
                    <a:pt x="7446" y="1856"/>
                    <a:pt x="7429" y="1834"/>
                    <a:pt x="7446" y="1796"/>
                  </a:cubicBezTo>
                  <a:lnTo>
                    <a:pt x="7446" y="1796"/>
                  </a:lnTo>
                  <a:cubicBezTo>
                    <a:pt x="7594" y="1479"/>
                    <a:pt x="7730" y="1649"/>
                    <a:pt x="7785" y="1649"/>
                  </a:cubicBezTo>
                  <a:lnTo>
                    <a:pt x="7785" y="1649"/>
                  </a:lnTo>
                  <a:cubicBezTo>
                    <a:pt x="7949" y="1649"/>
                    <a:pt x="8064" y="1442"/>
                    <a:pt x="8207" y="1439"/>
                  </a:cubicBezTo>
                  <a:lnTo>
                    <a:pt x="8207" y="1439"/>
                  </a:lnTo>
                  <a:cubicBezTo>
                    <a:pt x="8479" y="1433"/>
                    <a:pt x="8262" y="1331"/>
                    <a:pt x="8262" y="1301"/>
                  </a:cubicBezTo>
                  <a:lnTo>
                    <a:pt x="8262" y="1301"/>
                  </a:lnTo>
                  <a:cubicBezTo>
                    <a:pt x="8262" y="1223"/>
                    <a:pt x="8368" y="1235"/>
                    <a:pt x="8390" y="1191"/>
                  </a:cubicBezTo>
                  <a:lnTo>
                    <a:pt x="8390" y="1191"/>
                  </a:lnTo>
                  <a:cubicBezTo>
                    <a:pt x="8399" y="1173"/>
                    <a:pt x="8381" y="1127"/>
                    <a:pt x="8417" y="1127"/>
                  </a:cubicBezTo>
                  <a:lnTo>
                    <a:pt x="8417" y="1127"/>
                  </a:lnTo>
                  <a:cubicBezTo>
                    <a:pt x="8533" y="1127"/>
                    <a:pt x="8628" y="1283"/>
                    <a:pt x="8711" y="1283"/>
                  </a:cubicBezTo>
                  <a:lnTo>
                    <a:pt x="8711" y="1283"/>
                  </a:lnTo>
                  <a:cubicBezTo>
                    <a:pt x="8747" y="1283"/>
                    <a:pt x="8754" y="1215"/>
                    <a:pt x="8775" y="1191"/>
                  </a:cubicBezTo>
                  <a:lnTo>
                    <a:pt x="8775" y="1191"/>
                  </a:lnTo>
                  <a:cubicBezTo>
                    <a:pt x="8806" y="1155"/>
                    <a:pt x="8835" y="1159"/>
                    <a:pt x="8885" y="1142"/>
                  </a:cubicBezTo>
                  <a:lnTo>
                    <a:pt x="8885" y="1142"/>
                  </a:lnTo>
                  <a:cubicBezTo>
                    <a:pt x="8819" y="1054"/>
                    <a:pt x="8605" y="1005"/>
                    <a:pt x="8500" y="944"/>
                  </a:cubicBezTo>
                  <a:lnTo>
                    <a:pt x="8500" y="944"/>
                  </a:lnTo>
                  <a:cubicBezTo>
                    <a:pt x="8355" y="859"/>
                    <a:pt x="8163" y="770"/>
                    <a:pt x="7950" y="770"/>
                  </a:cubicBezTo>
                  <a:lnTo>
                    <a:pt x="7950" y="770"/>
                  </a:lnTo>
                  <a:cubicBezTo>
                    <a:pt x="7891" y="770"/>
                    <a:pt x="7851" y="782"/>
                    <a:pt x="7859" y="807"/>
                  </a:cubicBezTo>
                  <a:lnTo>
                    <a:pt x="7859" y="807"/>
                  </a:lnTo>
                  <a:cubicBezTo>
                    <a:pt x="7915" y="985"/>
                    <a:pt x="7774" y="805"/>
                    <a:pt x="7739" y="807"/>
                  </a:cubicBezTo>
                  <a:lnTo>
                    <a:pt x="7318" y="797"/>
                  </a:lnTo>
                  <a:lnTo>
                    <a:pt x="7318" y="797"/>
                  </a:lnTo>
                  <a:cubicBezTo>
                    <a:pt x="7294" y="702"/>
                    <a:pt x="7232" y="669"/>
                    <a:pt x="7108" y="669"/>
                  </a:cubicBezTo>
                  <a:lnTo>
                    <a:pt x="7108" y="669"/>
                  </a:lnTo>
                  <a:cubicBezTo>
                    <a:pt x="7039" y="669"/>
                    <a:pt x="6937" y="695"/>
                    <a:pt x="6897" y="660"/>
                  </a:cubicBezTo>
                  <a:lnTo>
                    <a:pt x="6897" y="660"/>
                  </a:lnTo>
                  <a:cubicBezTo>
                    <a:pt x="6860" y="629"/>
                    <a:pt x="6858" y="585"/>
                    <a:pt x="6805" y="568"/>
                  </a:cubicBezTo>
                  <a:lnTo>
                    <a:pt x="6805" y="568"/>
                  </a:lnTo>
                  <a:cubicBezTo>
                    <a:pt x="6693" y="532"/>
                    <a:pt x="6572" y="504"/>
                    <a:pt x="6430" y="504"/>
                  </a:cubicBezTo>
                  <a:lnTo>
                    <a:pt x="6430" y="504"/>
                  </a:lnTo>
                  <a:cubicBezTo>
                    <a:pt x="6287" y="504"/>
                    <a:pt x="6267" y="579"/>
                    <a:pt x="6255" y="651"/>
                  </a:cubicBezTo>
                  <a:lnTo>
                    <a:pt x="5962" y="651"/>
                  </a:lnTo>
                  <a:lnTo>
                    <a:pt x="5962" y="651"/>
                  </a:lnTo>
                  <a:cubicBezTo>
                    <a:pt x="5911" y="651"/>
                    <a:pt x="5904" y="609"/>
                    <a:pt x="5843" y="605"/>
                  </a:cubicBezTo>
                  <a:lnTo>
                    <a:pt x="5843" y="605"/>
                  </a:lnTo>
                  <a:cubicBezTo>
                    <a:pt x="5838" y="630"/>
                    <a:pt x="5826" y="687"/>
                    <a:pt x="5797" y="687"/>
                  </a:cubicBezTo>
                  <a:lnTo>
                    <a:pt x="5797" y="687"/>
                  </a:lnTo>
                  <a:cubicBezTo>
                    <a:pt x="5720" y="687"/>
                    <a:pt x="5687" y="592"/>
                    <a:pt x="5687" y="541"/>
                  </a:cubicBezTo>
                  <a:lnTo>
                    <a:pt x="5687" y="541"/>
                  </a:lnTo>
                  <a:cubicBezTo>
                    <a:pt x="5687" y="528"/>
                    <a:pt x="5835" y="435"/>
                    <a:pt x="5458" y="403"/>
                  </a:cubicBezTo>
                  <a:lnTo>
                    <a:pt x="5458" y="403"/>
                  </a:lnTo>
                  <a:cubicBezTo>
                    <a:pt x="5411" y="400"/>
                    <a:pt x="5385" y="420"/>
                    <a:pt x="5385" y="476"/>
                  </a:cubicBezTo>
                  <a:lnTo>
                    <a:pt x="5184" y="476"/>
                  </a:lnTo>
                  <a:lnTo>
                    <a:pt x="5184" y="476"/>
                  </a:lnTo>
                  <a:cubicBezTo>
                    <a:pt x="5123" y="460"/>
                    <a:pt x="4806" y="424"/>
                    <a:pt x="4766" y="357"/>
                  </a:cubicBezTo>
                  <a:lnTo>
                    <a:pt x="4766" y="357"/>
                  </a:lnTo>
                  <a:cubicBezTo>
                    <a:pt x="4525" y="554"/>
                    <a:pt x="4579" y="431"/>
                    <a:pt x="4579" y="431"/>
                  </a:cubicBezTo>
                  <a:lnTo>
                    <a:pt x="4579" y="431"/>
                  </a:lnTo>
                  <a:cubicBezTo>
                    <a:pt x="4636" y="360"/>
                    <a:pt x="5189" y="210"/>
                    <a:pt x="4735" y="101"/>
                  </a:cubicBezTo>
                  <a:lnTo>
                    <a:pt x="4542" y="101"/>
                  </a:lnTo>
                  <a:lnTo>
                    <a:pt x="4542" y="101"/>
                  </a:lnTo>
                  <a:cubicBezTo>
                    <a:pt x="4524" y="50"/>
                    <a:pt x="4483" y="0"/>
                    <a:pt x="4405" y="0"/>
                  </a:cubicBezTo>
                  <a:lnTo>
                    <a:pt x="4405" y="0"/>
                  </a:lnTo>
                  <a:cubicBezTo>
                    <a:pt x="4310" y="0"/>
                    <a:pt x="4271" y="72"/>
                    <a:pt x="4222" y="110"/>
                  </a:cubicBezTo>
                  <a:lnTo>
                    <a:pt x="4222" y="110"/>
                  </a:lnTo>
                  <a:cubicBezTo>
                    <a:pt x="4185" y="138"/>
                    <a:pt x="3948" y="233"/>
                    <a:pt x="3969" y="147"/>
                  </a:cubicBezTo>
                  <a:lnTo>
                    <a:pt x="3969" y="147"/>
                  </a:lnTo>
                  <a:cubicBezTo>
                    <a:pt x="3908" y="165"/>
                    <a:pt x="3651" y="183"/>
                    <a:pt x="3516" y="303"/>
                  </a:cubicBezTo>
                  <a:lnTo>
                    <a:pt x="3516" y="303"/>
                  </a:lnTo>
                  <a:cubicBezTo>
                    <a:pt x="3488" y="328"/>
                    <a:pt x="3480" y="403"/>
                    <a:pt x="3437" y="403"/>
                  </a:cubicBezTo>
                  <a:lnTo>
                    <a:pt x="3437" y="403"/>
                  </a:lnTo>
                  <a:cubicBezTo>
                    <a:pt x="3377" y="403"/>
                    <a:pt x="3150" y="381"/>
                    <a:pt x="3150" y="486"/>
                  </a:cubicBezTo>
                  <a:lnTo>
                    <a:pt x="3150" y="486"/>
                  </a:lnTo>
                  <a:cubicBezTo>
                    <a:pt x="3150" y="508"/>
                    <a:pt x="3170" y="530"/>
                    <a:pt x="3177" y="559"/>
                  </a:cubicBezTo>
                  <a:lnTo>
                    <a:pt x="3177" y="559"/>
                  </a:lnTo>
                  <a:cubicBezTo>
                    <a:pt x="3137" y="585"/>
                    <a:pt x="3122" y="559"/>
                    <a:pt x="2994" y="559"/>
                  </a:cubicBezTo>
                  <a:lnTo>
                    <a:pt x="2994" y="559"/>
                  </a:lnTo>
                  <a:cubicBezTo>
                    <a:pt x="2885" y="705"/>
                    <a:pt x="2895" y="537"/>
                    <a:pt x="2869" y="504"/>
                  </a:cubicBezTo>
                  <a:lnTo>
                    <a:pt x="2869" y="504"/>
                  </a:lnTo>
                  <a:cubicBezTo>
                    <a:pt x="2860" y="563"/>
                    <a:pt x="2822" y="588"/>
                    <a:pt x="2774" y="614"/>
                  </a:cubicBezTo>
                  <a:lnTo>
                    <a:pt x="2774" y="614"/>
                  </a:lnTo>
                  <a:cubicBezTo>
                    <a:pt x="2789" y="666"/>
                    <a:pt x="2867" y="718"/>
                    <a:pt x="2811" y="779"/>
                  </a:cubicBezTo>
                  <a:lnTo>
                    <a:pt x="2811" y="779"/>
                  </a:lnTo>
                  <a:cubicBezTo>
                    <a:pt x="2772" y="821"/>
                    <a:pt x="2885" y="957"/>
                    <a:pt x="2826" y="957"/>
                  </a:cubicBezTo>
                  <a:lnTo>
                    <a:pt x="2826" y="957"/>
                  </a:lnTo>
                  <a:cubicBezTo>
                    <a:pt x="2749" y="957"/>
                    <a:pt x="2728" y="680"/>
                    <a:pt x="2728" y="624"/>
                  </a:cubicBezTo>
                  <a:lnTo>
                    <a:pt x="2728" y="624"/>
                  </a:lnTo>
                  <a:cubicBezTo>
                    <a:pt x="2728" y="561"/>
                    <a:pt x="2830" y="535"/>
                    <a:pt x="2673" y="504"/>
                  </a:cubicBezTo>
                  <a:lnTo>
                    <a:pt x="2673" y="504"/>
                  </a:lnTo>
                  <a:cubicBezTo>
                    <a:pt x="2595" y="488"/>
                    <a:pt x="2444" y="617"/>
                    <a:pt x="2444" y="687"/>
                  </a:cubicBezTo>
                  <a:lnTo>
                    <a:pt x="2444" y="687"/>
                  </a:lnTo>
                  <a:cubicBezTo>
                    <a:pt x="2444" y="771"/>
                    <a:pt x="2483" y="827"/>
                    <a:pt x="2527" y="871"/>
                  </a:cubicBezTo>
                  <a:lnTo>
                    <a:pt x="2527" y="871"/>
                  </a:lnTo>
                  <a:cubicBezTo>
                    <a:pt x="2629" y="1030"/>
                    <a:pt x="2385" y="852"/>
                    <a:pt x="2294" y="828"/>
                  </a:cubicBezTo>
                  <a:lnTo>
                    <a:pt x="2294" y="828"/>
                  </a:lnTo>
                  <a:cubicBezTo>
                    <a:pt x="2044" y="764"/>
                    <a:pt x="2124" y="849"/>
                    <a:pt x="2124" y="861"/>
                  </a:cubicBezTo>
                  <a:lnTo>
                    <a:pt x="2124" y="861"/>
                  </a:lnTo>
                  <a:cubicBezTo>
                    <a:pt x="2116" y="1003"/>
                    <a:pt x="2056" y="889"/>
                    <a:pt x="2023" y="889"/>
                  </a:cubicBezTo>
                  <a:lnTo>
                    <a:pt x="2023" y="889"/>
                  </a:lnTo>
                  <a:cubicBezTo>
                    <a:pt x="1966" y="889"/>
                    <a:pt x="1850" y="966"/>
                    <a:pt x="1766" y="926"/>
                  </a:cubicBezTo>
                  <a:lnTo>
                    <a:pt x="1766" y="926"/>
                  </a:lnTo>
                  <a:cubicBezTo>
                    <a:pt x="1724" y="818"/>
                    <a:pt x="1449" y="1063"/>
                    <a:pt x="1382" y="1063"/>
                  </a:cubicBezTo>
                  <a:lnTo>
                    <a:pt x="1382" y="1063"/>
                  </a:lnTo>
                  <a:cubicBezTo>
                    <a:pt x="1359" y="1063"/>
                    <a:pt x="1328" y="1047"/>
                    <a:pt x="1336" y="1026"/>
                  </a:cubicBezTo>
                  <a:lnTo>
                    <a:pt x="1336" y="1026"/>
                  </a:lnTo>
                  <a:cubicBezTo>
                    <a:pt x="1364" y="952"/>
                    <a:pt x="1323" y="792"/>
                    <a:pt x="1244" y="1036"/>
                  </a:cubicBezTo>
                  <a:lnTo>
                    <a:pt x="1244" y="1036"/>
                  </a:lnTo>
                  <a:cubicBezTo>
                    <a:pt x="1239" y="1051"/>
                    <a:pt x="1272" y="1058"/>
                    <a:pt x="1272" y="1090"/>
                  </a:cubicBezTo>
                  <a:lnTo>
                    <a:pt x="1272" y="1090"/>
                  </a:lnTo>
                  <a:cubicBezTo>
                    <a:pt x="1272" y="1155"/>
                    <a:pt x="1176" y="1110"/>
                    <a:pt x="1125" y="1127"/>
                  </a:cubicBezTo>
                  <a:lnTo>
                    <a:pt x="1125" y="1127"/>
                  </a:lnTo>
                  <a:cubicBezTo>
                    <a:pt x="1074" y="1144"/>
                    <a:pt x="1099" y="1319"/>
                    <a:pt x="887" y="1228"/>
                  </a:cubicBezTo>
                  <a:lnTo>
                    <a:pt x="887" y="1301"/>
                  </a:lnTo>
                  <a:lnTo>
                    <a:pt x="887" y="1301"/>
                  </a:lnTo>
                  <a:cubicBezTo>
                    <a:pt x="783" y="1292"/>
                    <a:pt x="796" y="1180"/>
                    <a:pt x="759" y="1127"/>
                  </a:cubicBezTo>
                  <a:lnTo>
                    <a:pt x="759" y="1127"/>
                  </a:lnTo>
                  <a:cubicBezTo>
                    <a:pt x="837" y="1127"/>
                    <a:pt x="881" y="1124"/>
                    <a:pt x="956" y="1145"/>
                  </a:cubicBezTo>
                  <a:lnTo>
                    <a:pt x="956" y="1145"/>
                  </a:lnTo>
                  <a:cubicBezTo>
                    <a:pt x="1059" y="1171"/>
                    <a:pt x="1264" y="1044"/>
                    <a:pt x="951" y="944"/>
                  </a:cubicBezTo>
                  <a:lnTo>
                    <a:pt x="951" y="944"/>
                  </a:lnTo>
                  <a:cubicBezTo>
                    <a:pt x="862" y="915"/>
                    <a:pt x="663" y="816"/>
                    <a:pt x="603" y="816"/>
                  </a:cubicBezTo>
                  <a:lnTo>
                    <a:pt x="603" y="816"/>
                  </a:lnTo>
                  <a:cubicBezTo>
                    <a:pt x="598" y="816"/>
                    <a:pt x="596" y="808"/>
                    <a:pt x="554" y="814"/>
                  </a:cubicBezTo>
                  <a:lnTo>
                    <a:pt x="554" y="814"/>
                  </a:lnTo>
                  <a:cubicBezTo>
                    <a:pt x="528" y="832"/>
                    <a:pt x="462" y="866"/>
                    <a:pt x="462" y="907"/>
                  </a:cubicBezTo>
                  <a:lnTo>
                    <a:pt x="462" y="907"/>
                  </a:lnTo>
                  <a:cubicBezTo>
                    <a:pt x="462" y="942"/>
                    <a:pt x="526" y="941"/>
                    <a:pt x="526" y="981"/>
                  </a:cubicBezTo>
                  <a:lnTo>
                    <a:pt x="526" y="981"/>
                  </a:lnTo>
                  <a:cubicBezTo>
                    <a:pt x="526" y="1012"/>
                    <a:pt x="493" y="1026"/>
                    <a:pt x="493" y="1058"/>
                  </a:cubicBezTo>
                  <a:lnTo>
                    <a:pt x="493" y="1058"/>
                  </a:lnTo>
                  <a:cubicBezTo>
                    <a:pt x="493" y="1092"/>
                    <a:pt x="530" y="1113"/>
                    <a:pt x="530" y="1149"/>
                  </a:cubicBezTo>
                  <a:lnTo>
                    <a:pt x="530" y="1149"/>
                  </a:lnTo>
                  <a:cubicBezTo>
                    <a:pt x="530" y="1171"/>
                    <a:pt x="511" y="1182"/>
                    <a:pt x="511" y="1204"/>
                  </a:cubicBezTo>
                  <a:lnTo>
                    <a:pt x="511" y="1204"/>
                  </a:lnTo>
                  <a:cubicBezTo>
                    <a:pt x="511" y="1244"/>
                    <a:pt x="567" y="1255"/>
                    <a:pt x="567" y="1296"/>
                  </a:cubicBezTo>
                  <a:lnTo>
                    <a:pt x="567" y="1296"/>
                  </a:lnTo>
                  <a:cubicBezTo>
                    <a:pt x="567" y="1306"/>
                    <a:pt x="550" y="1316"/>
                    <a:pt x="544" y="1319"/>
                  </a:cubicBezTo>
                  <a:lnTo>
                    <a:pt x="544" y="1319"/>
                  </a:lnTo>
                  <a:cubicBezTo>
                    <a:pt x="561" y="1349"/>
                    <a:pt x="603" y="1356"/>
                    <a:pt x="603" y="1396"/>
                  </a:cubicBezTo>
                  <a:lnTo>
                    <a:pt x="603" y="1396"/>
                  </a:lnTo>
                  <a:cubicBezTo>
                    <a:pt x="603" y="1457"/>
                    <a:pt x="477" y="1525"/>
                    <a:pt x="438" y="1576"/>
                  </a:cubicBezTo>
                  <a:lnTo>
                    <a:pt x="438" y="1576"/>
                  </a:lnTo>
                  <a:cubicBezTo>
                    <a:pt x="453" y="1596"/>
                    <a:pt x="471" y="1606"/>
                    <a:pt x="484" y="1640"/>
                  </a:cubicBezTo>
                  <a:lnTo>
                    <a:pt x="484" y="1640"/>
                  </a:lnTo>
                  <a:cubicBezTo>
                    <a:pt x="462" y="1655"/>
                    <a:pt x="407" y="1681"/>
                    <a:pt x="383" y="1681"/>
                  </a:cubicBezTo>
                  <a:lnTo>
                    <a:pt x="383" y="1681"/>
                  </a:lnTo>
                  <a:cubicBezTo>
                    <a:pt x="352" y="1681"/>
                    <a:pt x="332" y="1668"/>
                    <a:pt x="292" y="1668"/>
                  </a:cubicBezTo>
                  <a:lnTo>
                    <a:pt x="292" y="1668"/>
                  </a:lnTo>
                  <a:cubicBezTo>
                    <a:pt x="251" y="1668"/>
                    <a:pt x="159" y="1705"/>
                    <a:pt x="187" y="1731"/>
                  </a:cubicBezTo>
                  <a:lnTo>
                    <a:pt x="187" y="1731"/>
                  </a:lnTo>
                  <a:cubicBezTo>
                    <a:pt x="279" y="1818"/>
                    <a:pt x="231" y="1851"/>
                    <a:pt x="209" y="1851"/>
                  </a:cubicBezTo>
                  <a:lnTo>
                    <a:pt x="209" y="1851"/>
                  </a:lnTo>
                  <a:cubicBezTo>
                    <a:pt x="173" y="1851"/>
                    <a:pt x="167" y="1805"/>
                    <a:pt x="135" y="1805"/>
                  </a:cubicBezTo>
                  <a:lnTo>
                    <a:pt x="135" y="1805"/>
                  </a:lnTo>
                  <a:cubicBezTo>
                    <a:pt x="103" y="1805"/>
                    <a:pt x="63" y="1889"/>
                    <a:pt x="63" y="1933"/>
                  </a:cubicBezTo>
                  <a:lnTo>
                    <a:pt x="63" y="1933"/>
                  </a:lnTo>
                  <a:cubicBezTo>
                    <a:pt x="63" y="2005"/>
                    <a:pt x="4" y="1995"/>
                    <a:pt x="0" y="2059"/>
                  </a:cubicBezTo>
                  <a:lnTo>
                    <a:pt x="0" y="2059"/>
                  </a:lnTo>
                  <a:cubicBezTo>
                    <a:pt x="24" y="2057"/>
                    <a:pt x="47" y="2054"/>
                    <a:pt x="66" y="2054"/>
                  </a:cubicBezTo>
                  <a:lnTo>
                    <a:pt x="66" y="2054"/>
                  </a:lnTo>
                  <a:cubicBezTo>
                    <a:pt x="100" y="2054"/>
                    <a:pt x="123" y="2052"/>
                    <a:pt x="160" y="2052"/>
                  </a:cubicBezTo>
                  <a:lnTo>
                    <a:pt x="160" y="2052"/>
                  </a:lnTo>
                  <a:cubicBezTo>
                    <a:pt x="198" y="2052"/>
                    <a:pt x="216" y="2120"/>
                    <a:pt x="216" y="2160"/>
                  </a:cubicBezTo>
                  <a:lnTo>
                    <a:pt x="216" y="2160"/>
                  </a:lnTo>
                  <a:cubicBezTo>
                    <a:pt x="216" y="2185"/>
                    <a:pt x="191" y="2197"/>
                    <a:pt x="191" y="2221"/>
                  </a:cubicBezTo>
                  <a:lnTo>
                    <a:pt x="191" y="2221"/>
                  </a:lnTo>
                  <a:cubicBezTo>
                    <a:pt x="191" y="2260"/>
                    <a:pt x="225" y="2283"/>
                    <a:pt x="225" y="2318"/>
                  </a:cubicBezTo>
                  <a:lnTo>
                    <a:pt x="225" y="2318"/>
                  </a:lnTo>
                  <a:cubicBezTo>
                    <a:pt x="225" y="2340"/>
                    <a:pt x="191" y="2347"/>
                    <a:pt x="183" y="2358"/>
                  </a:cubicBezTo>
                  <a:lnTo>
                    <a:pt x="183" y="2358"/>
                  </a:lnTo>
                  <a:cubicBezTo>
                    <a:pt x="161" y="2391"/>
                    <a:pt x="154" y="2421"/>
                    <a:pt x="154" y="2465"/>
                  </a:cubicBezTo>
                  <a:lnTo>
                    <a:pt x="154" y="2465"/>
                  </a:lnTo>
                  <a:cubicBezTo>
                    <a:pt x="154" y="2516"/>
                    <a:pt x="191" y="2505"/>
                    <a:pt x="233" y="2505"/>
                  </a:cubicBezTo>
                  <a:lnTo>
                    <a:pt x="233" y="2505"/>
                  </a:lnTo>
                  <a:cubicBezTo>
                    <a:pt x="292" y="2505"/>
                    <a:pt x="319" y="2481"/>
                    <a:pt x="363" y="2481"/>
                  </a:cubicBezTo>
                  <a:lnTo>
                    <a:pt x="363" y="2481"/>
                  </a:lnTo>
                  <a:cubicBezTo>
                    <a:pt x="412" y="2481"/>
                    <a:pt x="402" y="2576"/>
                    <a:pt x="447" y="2576"/>
                  </a:cubicBezTo>
                  <a:lnTo>
                    <a:pt x="447" y="2651"/>
                  </a:lnTo>
                  <a:lnTo>
                    <a:pt x="447" y="2651"/>
                  </a:lnTo>
                  <a:cubicBezTo>
                    <a:pt x="447" y="2657"/>
                    <a:pt x="453" y="2661"/>
                    <a:pt x="456" y="2664"/>
                  </a:cubicBezTo>
                  <a:lnTo>
                    <a:pt x="466" y="2675"/>
                  </a:lnTo>
                  <a:lnTo>
                    <a:pt x="466" y="2675"/>
                  </a:lnTo>
                  <a:cubicBezTo>
                    <a:pt x="475" y="2675"/>
                    <a:pt x="497" y="2666"/>
                    <a:pt x="510" y="2664"/>
                  </a:cubicBezTo>
                  <a:lnTo>
                    <a:pt x="510" y="2664"/>
                  </a:lnTo>
                  <a:cubicBezTo>
                    <a:pt x="550" y="2653"/>
                    <a:pt x="554" y="2606"/>
                    <a:pt x="594" y="2606"/>
                  </a:cubicBezTo>
                  <a:lnTo>
                    <a:pt x="594" y="2606"/>
                  </a:lnTo>
                  <a:cubicBezTo>
                    <a:pt x="627" y="2606"/>
                    <a:pt x="711" y="2743"/>
                    <a:pt x="737" y="2743"/>
                  </a:cubicBezTo>
                  <a:lnTo>
                    <a:pt x="737" y="2743"/>
                  </a:lnTo>
                  <a:cubicBezTo>
                    <a:pt x="762" y="2743"/>
                    <a:pt x="850" y="2705"/>
                    <a:pt x="865" y="2686"/>
                  </a:cubicBezTo>
                  <a:lnTo>
                    <a:pt x="865" y="2686"/>
                  </a:lnTo>
                  <a:cubicBezTo>
                    <a:pt x="862" y="2686"/>
                    <a:pt x="814" y="2679"/>
                    <a:pt x="814" y="2679"/>
                  </a:cubicBezTo>
                  <a:lnTo>
                    <a:pt x="814" y="2679"/>
                  </a:lnTo>
                  <a:cubicBezTo>
                    <a:pt x="806" y="2679"/>
                    <a:pt x="783" y="2674"/>
                    <a:pt x="783" y="2651"/>
                  </a:cubicBezTo>
                  <a:lnTo>
                    <a:pt x="783" y="2651"/>
                  </a:lnTo>
                  <a:cubicBezTo>
                    <a:pt x="783" y="2637"/>
                    <a:pt x="916" y="2588"/>
                    <a:pt x="966" y="2569"/>
                  </a:cubicBezTo>
                  <a:lnTo>
                    <a:pt x="966" y="2569"/>
                  </a:lnTo>
                  <a:cubicBezTo>
                    <a:pt x="966" y="2569"/>
                    <a:pt x="942" y="2597"/>
                    <a:pt x="933" y="2600"/>
                  </a:cubicBezTo>
                  <a:lnTo>
                    <a:pt x="933" y="2600"/>
                  </a:lnTo>
                  <a:cubicBezTo>
                    <a:pt x="936" y="2612"/>
                    <a:pt x="984" y="2661"/>
                    <a:pt x="878" y="2689"/>
                  </a:cubicBezTo>
                  <a:lnTo>
                    <a:pt x="878" y="2689"/>
                  </a:lnTo>
                  <a:cubicBezTo>
                    <a:pt x="924" y="2796"/>
                    <a:pt x="1135" y="2778"/>
                    <a:pt x="1135" y="2923"/>
                  </a:cubicBezTo>
                  <a:lnTo>
                    <a:pt x="1142" y="2922"/>
                  </a:lnTo>
                  <a:lnTo>
                    <a:pt x="1142" y="2922"/>
                  </a:lnTo>
                  <a:cubicBezTo>
                    <a:pt x="1153" y="2917"/>
                    <a:pt x="1165" y="2914"/>
                    <a:pt x="1178" y="2914"/>
                  </a:cubicBezTo>
                  <a:lnTo>
                    <a:pt x="1178" y="2914"/>
                  </a:lnTo>
                  <a:cubicBezTo>
                    <a:pt x="1238" y="2914"/>
                    <a:pt x="1235" y="2949"/>
                    <a:pt x="1253" y="2987"/>
                  </a:cubicBezTo>
                  <a:lnTo>
                    <a:pt x="1253" y="2987"/>
                  </a:lnTo>
                  <a:cubicBezTo>
                    <a:pt x="1257" y="2995"/>
                    <a:pt x="1294" y="3016"/>
                    <a:pt x="1297" y="3016"/>
                  </a:cubicBezTo>
                  <a:lnTo>
                    <a:pt x="1297" y="3016"/>
                  </a:lnTo>
                  <a:cubicBezTo>
                    <a:pt x="1331" y="3027"/>
                    <a:pt x="1338" y="3082"/>
                    <a:pt x="1389" y="3082"/>
                  </a:cubicBezTo>
                  <a:lnTo>
                    <a:pt x="1389" y="3082"/>
                  </a:lnTo>
                  <a:cubicBezTo>
                    <a:pt x="1429" y="3082"/>
                    <a:pt x="1428" y="3049"/>
                    <a:pt x="1455" y="3040"/>
                  </a:cubicBezTo>
                  <a:lnTo>
                    <a:pt x="1455" y="3040"/>
                  </a:lnTo>
                  <a:cubicBezTo>
                    <a:pt x="1470" y="3035"/>
                    <a:pt x="1468" y="3036"/>
                    <a:pt x="1480" y="3035"/>
                  </a:cubicBezTo>
                  <a:lnTo>
                    <a:pt x="1480" y="3035"/>
                  </a:lnTo>
                  <a:cubicBezTo>
                    <a:pt x="1486" y="3046"/>
                    <a:pt x="1486" y="3060"/>
                    <a:pt x="1493" y="3067"/>
                  </a:cubicBezTo>
                  <a:lnTo>
                    <a:pt x="1493" y="3067"/>
                  </a:lnTo>
                  <a:cubicBezTo>
                    <a:pt x="1492" y="3071"/>
                    <a:pt x="1493" y="3075"/>
                    <a:pt x="1493" y="3078"/>
                  </a:cubicBezTo>
                  <a:lnTo>
                    <a:pt x="1519" y="3082"/>
                  </a:lnTo>
                  <a:lnTo>
                    <a:pt x="1519" y="3082"/>
                  </a:lnTo>
                  <a:cubicBezTo>
                    <a:pt x="1541" y="3053"/>
                    <a:pt x="1541" y="3009"/>
                    <a:pt x="1570" y="2995"/>
                  </a:cubicBezTo>
                  <a:lnTo>
                    <a:pt x="1570" y="2995"/>
                  </a:lnTo>
                  <a:cubicBezTo>
                    <a:pt x="1521" y="2967"/>
                    <a:pt x="1446" y="2857"/>
                    <a:pt x="1446" y="2794"/>
                  </a:cubicBezTo>
                  <a:lnTo>
                    <a:pt x="1446" y="2794"/>
                  </a:lnTo>
                  <a:cubicBezTo>
                    <a:pt x="1446" y="2776"/>
                    <a:pt x="1405" y="2749"/>
                    <a:pt x="1405" y="2721"/>
                  </a:cubicBezTo>
                  <a:lnTo>
                    <a:pt x="1405" y="2721"/>
                  </a:lnTo>
                  <a:cubicBezTo>
                    <a:pt x="1405" y="2712"/>
                    <a:pt x="1440" y="2644"/>
                    <a:pt x="1449" y="2633"/>
                  </a:cubicBezTo>
                  <a:lnTo>
                    <a:pt x="1449" y="2633"/>
                  </a:lnTo>
                  <a:cubicBezTo>
                    <a:pt x="1459" y="2639"/>
                    <a:pt x="1513" y="2608"/>
                    <a:pt x="1519" y="2606"/>
                  </a:cubicBezTo>
                  <a:lnTo>
                    <a:pt x="1519" y="2606"/>
                  </a:lnTo>
                  <a:cubicBezTo>
                    <a:pt x="1567" y="2588"/>
                    <a:pt x="1596" y="2574"/>
                    <a:pt x="1657" y="2574"/>
                  </a:cubicBezTo>
                  <a:lnTo>
                    <a:pt x="1657" y="2574"/>
                  </a:lnTo>
                  <a:cubicBezTo>
                    <a:pt x="1755" y="2574"/>
                    <a:pt x="1772" y="2622"/>
                    <a:pt x="1809" y="2677"/>
                  </a:cubicBezTo>
                  <a:lnTo>
                    <a:pt x="1809" y="2677"/>
                  </a:lnTo>
                  <a:cubicBezTo>
                    <a:pt x="1781" y="2699"/>
                    <a:pt x="1745" y="2679"/>
                    <a:pt x="1711" y="2679"/>
                  </a:cubicBezTo>
                  <a:lnTo>
                    <a:pt x="1711" y="2679"/>
                  </a:lnTo>
                  <a:cubicBezTo>
                    <a:pt x="1662" y="2679"/>
                    <a:pt x="1589" y="2727"/>
                    <a:pt x="1583" y="2725"/>
                  </a:cubicBezTo>
                  <a:lnTo>
                    <a:pt x="1583" y="2725"/>
                  </a:lnTo>
                  <a:cubicBezTo>
                    <a:pt x="1585" y="2761"/>
                    <a:pt x="1614" y="2760"/>
                    <a:pt x="1625" y="2780"/>
                  </a:cubicBezTo>
                  <a:lnTo>
                    <a:pt x="1625" y="2780"/>
                  </a:lnTo>
                  <a:cubicBezTo>
                    <a:pt x="1660" y="2841"/>
                    <a:pt x="1710" y="2864"/>
                    <a:pt x="1710" y="2936"/>
                  </a:cubicBezTo>
                  <a:lnTo>
                    <a:pt x="1710" y="2936"/>
                  </a:lnTo>
                  <a:cubicBezTo>
                    <a:pt x="1724" y="2928"/>
                    <a:pt x="1759" y="2910"/>
                    <a:pt x="1772" y="2908"/>
                  </a:cubicBezTo>
                  <a:lnTo>
                    <a:pt x="1772" y="2908"/>
                  </a:lnTo>
                  <a:cubicBezTo>
                    <a:pt x="1774" y="2936"/>
                    <a:pt x="1803" y="2950"/>
                    <a:pt x="1803" y="2978"/>
                  </a:cubicBezTo>
                  <a:lnTo>
                    <a:pt x="1748" y="2978"/>
                  </a:lnTo>
                  <a:lnTo>
                    <a:pt x="1748" y="2978"/>
                  </a:lnTo>
                  <a:cubicBezTo>
                    <a:pt x="1732" y="2978"/>
                    <a:pt x="1715" y="2996"/>
                    <a:pt x="1711" y="3024"/>
                  </a:cubicBezTo>
                  <a:lnTo>
                    <a:pt x="1711" y="3024"/>
                  </a:lnTo>
                  <a:cubicBezTo>
                    <a:pt x="1750" y="3029"/>
                    <a:pt x="1776" y="3066"/>
                    <a:pt x="1776" y="3101"/>
                  </a:cubicBezTo>
                  <a:lnTo>
                    <a:pt x="1776" y="3101"/>
                  </a:lnTo>
                  <a:cubicBezTo>
                    <a:pt x="1776" y="3121"/>
                    <a:pt x="1763" y="3126"/>
                    <a:pt x="1763" y="3142"/>
                  </a:cubicBezTo>
                  <a:lnTo>
                    <a:pt x="1763" y="3142"/>
                  </a:lnTo>
                  <a:cubicBezTo>
                    <a:pt x="1763" y="3159"/>
                    <a:pt x="1779" y="3179"/>
                    <a:pt x="1781" y="3181"/>
                  </a:cubicBezTo>
                  <a:lnTo>
                    <a:pt x="1781" y="3181"/>
                  </a:lnTo>
                  <a:cubicBezTo>
                    <a:pt x="1781" y="3165"/>
                    <a:pt x="1803" y="3165"/>
                    <a:pt x="1819" y="3159"/>
                  </a:cubicBezTo>
                  <a:lnTo>
                    <a:pt x="1819" y="3159"/>
                  </a:lnTo>
                  <a:cubicBezTo>
                    <a:pt x="1842" y="3152"/>
                    <a:pt x="1836" y="3144"/>
                    <a:pt x="1855" y="3137"/>
                  </a:cubicBezTo>
                  <a:lnTo>
                    <a:pt x="1855" y="3137"/>
                  </a:lnTo>
                  <a:cubicBezTo>
                    <a:pt x="1889" y="3124"/>
                    <a:pt x="1910" y="3133"/>
                    <a:pt x="1937" y="3113"/>
                  </a:cubicBezTo>
                  <a:lnTo>
                    <a:pt x="1937" y="3113"/>
                  </a:lnTo>
                  <a:cubicBezTo>
                    <a:pt x="1978" y="3136"/>
                    <a:pt x="2001" y="3137"/>
                    <a:pt x="2039" y="3150"/>
                  </a:cubicBezTo>
                  <a:lnTo>
                    <a:pt x="2039" y="3150"/>
                  </a:lnTo>
                  <a:cubicBezTo>
                    <a:pt x="2084" y="3165"/>
                    <a:pt x="2098" y="3205"/>
                    <a:pt x="2151" y="3205"/>
                  </a:cubicBezTo>
                  <a:lnTo>
                    <a:pt x="2151" y="3205"/>
                  </a:lnTo>
                  <a:cubicBezTo>
                    <a:pt x="2153" y="3216"/>
                    <a:pt x="2164" y="3220"/>
                    <a:pt x="2166" y="3227"/>
                  </a:cubicBezTo>
                  <a:lnTo>
                    <a:pt x="2166" y="3227"/>
                  </a:lnTo>
                  <a:cubicBezTo>
                    <a:pt x="2172" y="3246"/>
                    <a:pt x="2166" y="3268"/>
                    <a:pt x="2175" y="3293"/>
                  </a:cubicBezTo>
                  <a:lnTo>
                    <a:pt x="2175" y="3293"/>
                  </a:lnTo>
                  <a:cubicBezTo>
                    <a:pt x="2196" y="3270"/>
                    <a:pt x="2212" y="3302"/>
                    <a:pt x="2230" y="3302"/>
                  </a:cubicBezTo>
                  <a:lnTo>
                    <a:pt x="2230" y="3302"/>
                  </a:lnTo>
                  <a:cubicBezTo>
                    <a:pt x="2252" y="3302"/>
                    <a:pt x="2261" y="3283"/>
                    <a:pt x="2272" y="3273"/>
                  </a:cubicBezTo>
                  <a:lnTo>
                    <a:pt x="2272" y="3273"/>
                  </a:lnTo>
                  <a:cubicBezTo>
                    <a:pt x="2287" y="3258"/>
                    <a:pt x="2309" y="3258"/>
                    <a:pt x="2323" y="3243"/>
                  </a:cubicBezTo>
                  <a:lnTo>
                    <a:pt x="2323" y="3243"/>
                  </a:lnTo>
                  <a:cubicBezTo>
                    <a:pt x="2354" y="3212"/>
                    <a:pt x="2359" y="3165"/>
                    <a:pt x="2404" y="3165"/>
                  </a:cubicBezTo>
                  <a:lnTo>
                    <a:pt x="2404" y="3165"/>
                  </a:lnTo>
                  <a:cubicBezTo>
                    <a:pt x="2422" y="3165"/>
                    <a:pt x="2417" y="3172"/>
                    <a:pt x="2433" y="3172"/>
                  </a:cubicBezTo>
                  <a:lnTo>
                    <a:pt x="2433" y="3172"/>
                  </a:lnTo>
                  <a:cubicBezTo>
                    <a:pt x="2437" y="3194"/>
                    <a:pt x="2481" y="3179"/>
                    <a:pt x="2492" y="3179"/>
                  </a:cubicBezTo>
                  <a:lnTo>
                    <a:pt x="2492" y="3179"/>
                  </a:lnTo>
                  <a:cubicBezTo>
                    <a:pt x="2506" y="3179"/>
                    <a:pt x="2512" y="3199"/>
                    <a:pt x="2527" y="3199"/>
                  </a:cubicBezTo>
                  <a:lnTo>
                    <a:pt x="2527" y="3199"/>
                  </a:lnTo>
                  <a:cubicBezTo>
                    <a:pt x="2562" y="3199"/>
                    <a:pt x="2591" y="3178"/>
                    <a:pt x="2606" y="3154"/>
                  </a:cubicBezTo>
                  <a:lnTo>
                    <a:pt x="2606" y="3154"/>
                  </a:lnTo>
                  <a:cubicBezTo>
                    <a:pt x="2609" y="3156"/>
                    <a:pt x="2613" y="3154"/>
                    <a:pt x="2616" y="3154"/>
                  </a:cubicBezTo>
                  <a:lnTo>
                    <a:pt x="2616" y="3154"/>
                  </a:lnTo>
                  <a:cubicBezTo>
                    <a:pt x="2633" y="3154"/>
                    <a:pt x="2640" y="3109"/>
                    <a:pt x="2679" y="3109"/>
                  </a:cubicBezTo>
                  <a:lnTo>
                    <a:pt x="2679" y="3109"/>
                  </a:lnTo>
                  <a:cubicBezTo>
                    <a:pt x="2716" y="3109"/>
                    <a:pt x="2675" y="3205"/>
                    <a:pt x="2717" y="3205"/>
                  </a:cubicBezTo>
                  <a:lnTo>
                    <a:pt x="2717" y="3205"/>
                  </a:lnTo>
                  <a:cubicBezTo>
                    <a:pt x="2760" y="3205"/>
                    <a:pt x="2774" y="3174"/>
                    <a:pt x="2811" y="3174"/>
                  </a:cubicBezTo>
                  <a:lnTo>
                    <a:pt x="2811" y="3174"/>
                  </a:lnTo>
                  <a:cubicBezTo>
                    <a:pt x="2835" y="3174"/>
                    <a:pt x="2849" y="3174"/>
                    <a:pt x="2873" y="3179"/>
                  </a:cubicBezTo>
                  <a:lnTo>
                    <a:pt x="2875" y="3170"/>
                  </a:lnTo>
                  <a:lnTo>
                    <a:pt x="2875" y="3170"/>
                  </a:lnTo>
                  <a:cubicBezTo>
                    <a:pt x="2868" y="3126"/>
                    <a:pt x="2857" y="3117"/>
                    <a:pt x="2811" y="3106"/>
                  </a:cubicBezTo>
                  <a:lnTo>
                    <a:pt x="2811" y="3106"/>
                  </a:lnTo>
                  <a:cubicBezTo>
                    <a:pt x="2816" y="3069"/>
                    <a:pt x="2855" y="2987"/>
                    <a:pt x="2884" y="2987"/>
                  </a:cubicBezTo>
                  <a:lnTo>
                    <a:pt x="2884" y="2987"/>
                  </a:lnTo>
                  <a:cubicBezTo>
                    <a:pt x="3053" y="2987"/>
                    <a:pt x="3169" y="2899"/>
                    <a:pt x="3169" y="2694"/>
                  </a:cubicBezTo>
                  <a:lnTo>
                    <a:pt x="3169" y="2694"/>
                  </a:lnTo>
                  <a:cubicBezTo>
                    <a:pt x="3262" y="2681"/>
                    <a:pt x="3268" y="2568"/>
                    <a:pt x="3324" y="2574"/>
                  </a:cubicBezTo>
                  <a:lnTo>
                    <a:pt x="3324" y="2574"/>
                  </a:lnTo>
                  <a:cubicBezTo>
                    <a:pt x="3472" y="2592"/>
                    <a:pt x="3413" y="2490"/>
                    <a:pt x="3443" y="2465"/>
                  </a:cubicBezTo>
                  <a:lnTo>
                    <a:pt x="3443" y="2465"/>
                  </a:lnTo>
                  <a:cubicBezTo>
                    <a:pt x="3516" y="2401"/>
                    <a:pt x="3628" y="2399"/>
                    <a:pt x="3718" y="2346"/>
                  </a:cubicBezTo>
                  <a:lnTo>
                    <a:pt x="3718" y="2346"/>
                  </a:lnTo>
                  <a:cubicBezTo>
                    <a:pt x="3730" y="2338"/>
                    <a:pt x="3761" y="2300"/>
                    <a:pt x="3791" y="2300"/>
                  </a:cubicBezTo>
                  <a:lnTo>
                    <a:pt x="3791" y="2300"/>
                  </a:lnTo>
                  <a:cubicBezTo>
                    <a:pt x="3839" y="2300"/>
                    <a:pt x="3915" y="2355"/>
                    <a:pt x="3992" y="2355"/>
                  </a:cubicBezTo>
                  <a:lnTo>
                    <a:pt x="3992" y="2355"/>
                  </a:lnTo>
                  <a:cubicBezTo>
                    <a:pt x="4093" y="2355"/>
                    <a:pt x="4073" y="2217"/>
                    <a:pt x="4130" y="2217"/>
                  </a:cubicBezTo>
                  <a:lnTo>
                    <a:pt x="4130" y="2217"/>
                  </a:lnTo>
                  <a:cubicBezTo>
                    <a:pt x="4163" y="2217"/>
                    <a:pt x="4275" y="2235"/>
                    <a:pt x="4285" y="2263"/>
                  </a:cubicBezTo>
                  <a:lnTo>
                    <a:pt x="4285" y="2263"/>
                  </a:lnTo>
                  <a:cubicBezTo>
                    <a:pt x="4328" y="2382"/>
                    <a:pt x="4405" y="2318"/>
                    <a:pt x="4450" y="2318"/>
                  </a:cubicBezTo>
                  <a:lnTo>
                    <a:pt x="4450" y="2318"/>
                  </a:lnTo>
                  <a:cubicBezTo>
                    <a:pt x="4565" y="2318"/>
                    <a:pt x="4597" y="2409"/>
                    <a:pt x="4717" y="2409"/>
                  </a:cubicBezTo>
                  <a:lnTo>
                    <a:pt x="4717" y="2409"/>
                  </a:lnTo>
                  <a:cubicBezTo>
                    <a:pt x="4817" y="2409"/>
                    <a:pt x="4952" y="2313"/>
                    <a:pt x="5083" y="2364"/>
                  </a:cubicBezTo>
                  <a:lnTo>
                    <a:pt x="5083" y="2364"/>
                  </a:lnTo>
                  <a:cubicBezTo>
                    <a:pt x="5258" y="2432"/>
                    <a:pt x="5172" y="2126"/>
                    <a:pt x="5404" y="2126"/>
                  </a:cubicBezTo>
                  <a:lnTo>
                    <a:pt x="5404" y="2126"/>
                  </a:lnTo>
                  <a:cubicBezTo>
                    <a:pt x="5566" y="2126"/>
                    <a:pt x="5561" y="2256"/>
                    <a:pt x="5623" y="2355"/>
                  </a:cubicBezTo>
                  <a:lnTo>
                    <a:pt x="5623" y="2355"/>
                  </a:lnTo>
                  <a:cubicBezTo>
                    <a:pt x="5647" y="2393"/>
                    <a:pt x="5730" y="2397"/>
                    <a:pt x="5761" y="2428"/>
                  </a:cubicBezTo>
                  <a:lnTo>
                    <a:pt x="5761" y="2428"/>
                  </a:lnTo>
                  <a:cubicBezTo>
                    <a:pt x="5784" y="2452"/>
                    <a:pt x="5807" y="2520"/>
                    <a:pt x="5861" y="2520"/>
                  </a:cubicBezTo>
                  <a:lnTo>
                    <a:pt x="5861" y="2520"/>
                  </a:lnTo>
                  <a:cubicBezTo>
                    <a:pt x="5922" y="2520"/>
                    <a:pt x="5933" y="2465"/>
                    <a:pt x="6008" y="2465"/>
                  </a:cubicBezTo>
                  <a:lnTo>
                    <a:pt x="6008" y="2510"/>
                  </a:lnTo>
                  <a:lnTo>
                    <a:pt x="6008" y="2510"/>
                  </a:lnTo>
                  <a:cubicBezTo>
                    <a:pt x="5967" y="2551"/>
                    <a:pt x="5953" y="2648"/>
                    <a:pt x="5907" y="2675"/>
                  </a:cubicBezTo>
                  <a:lnTo>
                    <a:pt x="5907" y="2675"/>
                  </a:lnTo>
                  <a:cubicBezTo>
                    <a:pt x="5865" y="2699"/>
                    <a:pt x="5791" y="2705"/>
                    <a:pt x="5815" y="2721"/>
                  </a:cubicBezTo>
                  <a:lnTo>
                    <a:pt x="5815" y="2721"/>
                  </a:lnTo>
                  <a:cubicBezTo>
                    <a:pt x="5876" y="2762"/>
                    <a:pt x="5807" y="2841"/>
                    <a:pt x="5807" y="284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39" name="Freeform 67">
              <a:extLst>
                <a:ext uri="{FF2B5EF4-FFF2-40B4-BE49-F238E27FC236}">
                  <a16:creationId xmlns:a16="http://schemas.microsoft.com/office/drawing/2014/main" id="{7F4DE8B9-84AE-CB44-9534-E2FC0BA64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9" y="4864834"/>
              <a:ext cx="2088218" cy="1319178"/>
            </a:xfrm>
            <a:custGeom>
              <a:avLst/>
              <a:gdLst>
                <a:gd name="T0" fmla="*/ 2431 w 3198"/>
                <a:gd name="T1" fmla="*/ 1240 h 2020"/>
                <a:gd name="T2" fmla="*/ 2420 w 3198"/>
                <a:gd name="T3" fmla="*/ 1149 h 2020"/>
                <a:gd name="T4" fmla="*/ 2484 w 3198"/>
                <a:gd name="T5" fmla="*/ 1046 h 2020"/>
                <a:gd name="T6" fmla="*/ 2418 w 3198"/>
                <a:gd name="T7" fmla="*/ 1065 h 2020"/>
                <a:gd name="T8" fmla="*/ 2334 w 3198"/>
                <a:gd name="T9" fmla="*/ 1011 h 2020"/>
                <a:gd name="T10" fmla="*/ 2374 w 3198"/>
                <a:gd name="T11" fmla="*/ 936 h 2020"/>
                <a:gd name="T12" fmla="*/ 2482 w 3198"/>
                <a:gd name="T13" fmla="*/ 844 h 2020"/>
                <a:gd name="T14" fmla="*/ 2482 w 3198"/>
                <a:gd name="T15" fmla="*/ 954 h 2020"/>
                <a:gd name="T16" fmla="*/ 2693 w 3198"/>
                <a:gd name="T17" fmla="*/ 920 h 2020"/>
                <a:gd name="T18" fmla="*/ 2673 w 3198"/>
                <a:gd name="T19" fmla="*/ 998 h 2020"/>
                <a:gd name="T20" fmla="*/ 2717 w 3198"/>
                <a:gd name="T21" fmla="*/ 1021 h 2020"/>
                <a:gd name="T22" fmla="*/ 2737 w 3198"/>
                <a:gd name="T23" fmla="*/ 1081 h 2020"/>
                <a:gd name="T24" fmla="*/ 2755 w 3198"/>
                <a:gd name="T25" fmla="*/ 1112 h 2020"/>
                <a:gd name="T26" fmla="*/ 2748 w 3198"/>
                <a:gd name="T27" fmla="*/ 1186 h 2020"/>
                <a:gd name="T28" fmla="*/ 2774 w 3198"/>
                <a:gd name="T29" fmla="*/ 1227 h 2020"/>
                <a:gd name="T30" fmla="*/ 2867 w 3198"/>
                <a:gd name="T31" fmla="*/ 1189 h 2020"/>
                <a:gd name="T32" fmla="*/ 2836 w 3198"/>
                <a:gd name="T33" fmla="*/ 965 h 2020"/>
                <a:gd name="T34" fmla="*/ 2860 w 3198"/>
                <a:gd name="T35" fmla="*/ 874 h 2020"/>
                <a:gd name="T36" fmla="*/ 2996 w 3198"/>
                <a:gd name="T37" fmla="*/ 715 h 2020"/>
                <a:gd name="T38" fmla="*/ 3096 w 3198"/>
                <a:gd name="T39" fmla="*/ 549 h 2020"/>
                <a:gd name="T40" fmla="*/ 3197 w 3198"/>
                <a:gd name="T41" fmla="*/ 339 h 2020"/>
                <a:gd name="T42" fmla="*/ 2950 w 3198"/>
                <a:gd name="T43" fmla="*/ 302 h 2020"/>
                <a:gd name="T44" fmla="*/ 2593 w 3198"/>
                <a:gd name="T45" fmla="*/ 0 h 2020"/>
                <a:gd name="T46" fmla="*/ 1906 w 3198"/>
                <a:gd name="T47" fmla="*/ 283 h 2020"/>
                <a:gd name="T48" fmla="*/ 1475 w 3198"/>
                <a:gd name="T49" fmla="*/ 137 h 2020"/>
                <a:gd name="T50" fmla="*/ 1181 w 3198"/>
                <a:gd name="T51" fmla="*/ 229 h 2020"/>
                <a:gd name="T52" fmla="*/ 907 w 3198"/>
                <a:gd name="T53" fmla="*/ 220 h 2020"/>
                <a:gd name="T54" fmla="*/ 513 w 3198"/>
                <a:gd name="T55" fmla="*/ 448 h 2020"/>
                <a:gd name="T56" fmla="*/ 73 w 3198"/>
                <a:gd name="T57" fmla="*/ 861 h 2020"/>
                <a:gd name="T58" fmla="*/ 62 w 3198"/>
                <a:gd name="T59" fmla="*/ 1053 h 2020"/>
                <a:gd name="T60" fmla="*/ 128 w 3198"/>
                <a:gd name="T61" fmla="*/ 1124 h 2020"/>
                <a:gd name="T62" fmla="*/ 286 w 3198"/>
                <a:gd name="T63" fmla="*/ 1131 h 2020"/>
                <a:gd name="T64" fmla="*/ 276 w 3198"/>
                <a:gd name="T65" fmla="*/ 1271 h 2020"/>
                <a:gd name="T66" fmla="*/ 262 w 3198"/>
                <a:gd name="T67" fmla="*/ 1337 h 2020"/>
                <a:gd name="T68" fmla="*/ 273 w 3198"/>
                <a:gd name="T69" fmla="*/ 1412 h 2020"/>
                <a:gd name="T70" fmla="*/ 377 w 3198"/>
                <a:gd name="T71" fmla="*/ 1466 h 2020"/>
                <a:gd name="T72" fmla="*/ 527 w 3198"/>
                <a:gd name="T73" fmla="*/ 1513 h 2020"/>
                <a:gd name="T74" fmla="*/ 579 w 3198"/>
                <a:gd name="T75" fmla="*/ 1551 h 2020"/>
                <a:gd name="T76" fmla="*/ 775 w 3198"/>
                <a:gd name="T77" fmla="*/ 1589 h 2020"/>
                <a:gd name="T78" fmla="*/ 872 w 3198"/>
                <a:gd name="T79" fmla="*/ 1583 h 2020"/>
                <a:gd name="T80" fmla="*/ 1061 w 3198"/>
                <a:gd name="T81" fmla="*/ 1546 h 2020"/>
                <a:gd name="T82" fmla="*/ 1143 w 3198"/>
                <a:gd name="T83" fmla="*/ 1522 h 2020"/>
                <a:gd name="T84" fmla="*/ 1270 w 3198"/>
                <a:gd name="T85" fmla="*/ 1583 h 2020"/>
                <a:gd name="T86" fmla="*/ 1264 w 3198"/>
                <a:gd name="T87" fmla="*/ 1805 h 2020"/>
                <a:gd name="T88" fmla="*/ 1310 w 3198"/>
                <a:gd name="T89" fmla="*/ 1814 h 2020"/>
                <a:gd name="T90" fmla="*/ 1407 w 3198"/>
                <a:gd name="T91" fmla="*/ 1946 h 2020"/>
                <a:gd name="T92" fmla="*/ 1447 w 3198"/>
                <a:gd name="T93" fmla="*/ 1942 h 2020"/>
                <a:gd name="T94" fmla="*/ 1467 w 3198"/>
                <a:gd name="T95" fmla="*/ 1898 h 2020"/>
                <a:gd name="T96" fmla="*/ 1575 w 3198"/>
                <a:gd name="T97" fmla="*/ 1887 h 2020"/>
                <a:gd name="T98" fmla="*/ 1728 w 3198"/>
                <a:gd name="T99" fmla="*/ 1882 h 2020"/>
                <a:gd name="T100" fmla="*/ 1880 w 3198"/>
                <a:gd name="T101" fmla="*/ 1973 h 2020"/>
                <a:gd name="T102" fmla="*/ 1913 w 3198"/>
                <a:gd name="T103" fmla="*/ 1980 h 2020"/>
                <a:gd name="T104" fmla="*/ 2068 w 3198"/>
                <a:gd name="T105" fmla="*/ 1924 h 2020"/>
                <a:gd name="T106" fmla="*/ 2136 w 3198"/>
                <a:gd name="T107" fmla="*/ 1903 h 2020"/>
                <a:gd name="T108" fmla="*/ 2320 w 3198"/>
                <a:gd name="T109" fmla="*/ 1790 h 2020"/>
                <a:gd name="T110" fmla="*/ 2481 w 3198"/>
                <a:gd name="T111" fmla="*/ 1587 h 2020"/>
                <a:gd name="T112" fmla="*/ 2457 w 3198"/>
                <a:gd name="T113" fmla="*/ 1317 h 2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98" h="2020">
                  <a:moveTo>
                    <a:pt x="2436" y="1275"/>
                  </a:moveTo>
                  <a:lnTo>
                    <a:pt x="2433" y="1275"/>
                  </a:lnTo>
                  <a:lnTo>
                    <a:pt x="2433" y="1275"/>
                  </a:lnTo>
                  <a:cubicBezTo>
                    <a:pt x="2433" y="1275"/>
                    <a:pt x="2431" y="1246"/>
                    <a:pt x="2431" y="1240"/>
                  </a:cubicBezTo>
                  <a:lnTo>
                    <a:pt x="2431" y="1240"/>
                  </a:lnTo>
                  <a:cubicBezTo>
                    <a:pt x="2416" y="1238"/>
                    <a:pt x="2382" y="1220"/>
                    <a:pt x="2382" y="1194"/>
                  </a:cubicBezTo>
                  <a:lnTo>
                    <a:pt x="2382" y="1194"/>
                  </a:lnTo>
                  <a:cubicBezTo>
                    <a:pt x="2382" y="1172"/>
                    <a:pt x="2413" y="1170"/>
                    <a:pt x="2420" y="1149"/>
                  </a:cubicBezTo>
                  <a:lnTo>
                    <a:pt x="2420" y="1149"/>
                  </a:lnTo>
                  <a:cubicBezTo>
                    <a:pt x="2436" y="1099"/>
                    <a:pt x="2515" y="1099"/>
                    <a:pt x="2552" y="1062"/>
                  </a:cubicBezTo>
                  <a:lnTo>
                    <a:pt x="2552" y="1062"/>
                  </a:lnTo>
                  <a:cubicBezTo>
                    <a:pt x="2537" y="1042"/>
                    <a:pt x="2510" y="1062"/>
                    <a:pt x="2484" y="1046"/>
                  </a:cubicBezTo>
                  <a:lnTo>
                    <a:pt x="2484" y="1046"/>
                  </a:lnTo>
                  <a:cubicBezTo>
                    <a:pt x="2472" y="1039"/>
                    <a:pt x="2464" y="1024"/>
                    <a:pt x="2444" y="1024"/>
                  </a:cubicBezTo>
                  <a:lnTo>
                    <a:pt x="2444" y="1024"/>
                  </a:lnTo>
                  <a:cubicBezTo>
                    <a:pt x="2429" y="1024"/>
                    <a:pt x="2429" y="1065"/>
                    <a:pt x="2418" y="1065"/>
                  </a:cubicBezTo>
                  <a:lnTo>
                    <a:pt x="2418" y="1065"/>
                  </a:lnTo>
                  <a:cubicBezTo>
                    <a:pt x="2404" y="1065"/>
                    <a:pt x="2385" y="1070"/>
                    <a:pt x="2371" y="1061"/>
                  </a:cubicBezTo>
                  <a:lnTo>
                    <a:pt x="2371" y="1061"/>
                  </a:lnTo>
                  <a:cubicBezTo>
                    <a:pt x="2349" y="1046"/>
                    <a:pt x="2356" y="1028"/>
                    <a:pt x="2334" y="1011"/>
                  </a:cubicBezTo>
                  <a:lnTo>
                    <a:pt x="2334" y="1011"/>
                  </a:lnTo>
                  <a:cubicBezTo>
                    <a:pt x="2327" y="1006"/>
                    <a:pt x="2295" y="998"/>
                    <a:pt x="2295" y="980"/>
                  </a:cubicBezTo>
                  <a:lnTo>
                    <a:pt x="2295" y="980"/>
                  </a:lnTo>
                  <a:cubicBezTo>
                    <a:pt x="2295" y="941"/>
                    <a:pt x="2349" y="954"/>
                    <a:pt x="2374" y="936"/>
                  </a:cubicBezTo>
                  <a:lnTo>
                    <a:pt x="2374" y="936"/>
                  </a:lnTo>
                  <a:cubicBezTo>
                    <a:pt x="2396" y="920"/>
                    <a:pt x="2438" y="892"/>
                    <a:pt x="2453" y="869"/>
                  </a:cubicBezTo>
                  <a:lnTo>
                    <a:pt x="2453" y="869"/>
                  </a:lnTo>
                  <a:cubicBezTo>
                    <a:pt x="2457" y="862"/>
                    <a:pt x="2464" y="844"/>
                    <a:pt x="2482" y="844"/>
                  </a:cubicBezTo>
                  <a:lnTo>
                    <a:pt x="2482" y="844"/>
                  </a:lnTo>
                  <a:cubicBezTo>
                    <a:pt x="2497" y="844"/>
                    <a:pt x="2517" y="869"/>
                    <a:pt x="2517" y="879"/>
                  </a:cubicBezTo>
                  <a:lnTo>
                    <a:pt x="2517" y="879"/>
                  </a:lnTo>
                  <a:cubicBezTo>
                    <a:pt x="2517" y="909"/>
                    <a:pt x="2482" y="921"/>
                    <a:pt x="2482" y="954"/>
                  </a:cubicBezTo>
                  <a:lnTo>
                    <a:pt x="2482" y="954"/>
                  </a:lnTo>
                  <a:cubicBezTo>
                    <a:pt x="2534" y="954"/>
                    <a:pt x="2576" y="900"/>
                    <a:pt x="2635" y="900"/>
                  </a:cubicBezTo>
                  <a:lnTo>
                    <a:pt x="2635" y="900"/>
                  </a:lnTo>
                  <a:cubicBezTo>
                    <a:pt x="2657" y="900"/>
                    <a:pt x="2666" y="920"/>
                    <a:pt x="2693" y="920"/>
                  </a:cubicBezTo>
                  <a:lnTo>
                    <a:pt x="2693" y="920"/>
                  </a:lnTo>
                  <a:cubicBezTo>
                    <a:pt x="2684" y="938"/>
                    <a:pt x="2693" y="938"/>
                    <a:pt x="2693" y="960"/>
                  </a:cubicBezTo>
                  <a:lnTo>
                    <a:pt x="2693" y="960"/>
                  </a:lnTo>
                  <a:cubicBezTo>
                    <a:pt x="2693" y="978"/>
                    <a:pt x="2673" y="977"/>
                    <a:pt x="2673" y="998"/>
                  </a:cubicBezTo>
                  <a:lnTo>
                    <a:pt x="2673" y="998"/>
                  </a:lnTo>
                  <a:cubicBezTo>
                    <a:pt x="2673" y="1008"/>
                    <a:pt x="2678" y="1030"/>
                    <a:pt x="2691" y="1030"/>
                  </a:cubicBezTo>
                  <a:lnTo>
                    <a:pt x="2691" y="1030"/>
                  </a:lnTo>
                  <a:cubicBezTo>
                    <a:pt x="2697" y="1030"/>
                    <a:pt x="2704" y="1021"/>
                    <a:pt x="2717" y="1021"/>
                  </a:cubicBezTo>
                  <a:lnTo>
                    <a:pt x="2717" y="1021"/>
                  </a:lnTo>
                  <a:cubicBezTo>
                    <a:pt x="2739" y="1021"/>
                    <a:pt x="2767" y="1035"/>
                    <a:pt x="2767" y="1057"/>
                  </a:cubicBezTo>
                  <a:lnTo>
                    <a:pt x="2767" y="1057"/>
                  </a:lnTo>
                  <a:cubicBezTo>
                    <a:pt x="2767" y="1070"/>
                    <a:pt x="2752" y="1081"/>
                    <a:pt x="2737" y="1081"/>
                  </a:cubicBezTo>
                  <a:lnTo>
                    <a:pt x="2737" y="1099"/>
                  </a:lnTo>
                  <a:lnTo>
                    <a:pt x="2737" y="1099"/>
                  </a:lnTo>
                  <a:cubicBezTo>
                    <a:pt x="2741" y="1103"/>
                    <a:pt x="2744" y="1111"/>
                    <a:pt x="2755" y="1112"/>
                  </a:cubicBezTo>
                  <a:lnTo>
                    <a:pt x="2755" y="1112"/>
                  </a:lnTo>
                  <a:cubicBezTo>
                    <a:pt x="2755" y="1123"/>
                    <a:pt x="2765" y="1132"/>
                    <a:pt x="2765" y="1143"/>
                  </a:cubicBezTo>
                  <a:lnTo>
                    <a:pt x="2765" y="1143"/>
                  </a:lnTo>
                  <a:cubicBezTo>
                    <a:pt x="2765" y="1149"/>
                    <a:pt x="2748" y="1172"/>
                    <a:pt x="2748" y="1186"/>
                  </a:cubicBezTo>
                  <a:lnTo>
                    <a:pt x="2748" y="1186"/>
                  </a:lnTo>
                  <a:cubicBezTo>
                    <a:pt x="2748" y="1193"/>
                    <a:pt x="2748" y="1202"/>
                    <a:pt x="2757" y="1204"/>
                  </a:cubicBezTo>
                  <a:lnTo>
                    <a:pt x="2757" y="1204"/>
                  </a:lnTo>
                  <a:cubicBezTo>
                    <a:pt x="2755" y="1213"/>
                    <a:pt x="2747" y="1218"/>
                    <a:pt x="2747" y="1227"/>
                  </a:cubicBezTo>
                  <a:lnTo>
                    <a:pt x="2774" y="1227"/>
                  </a:lnTo>
                  <a:lnTo>
                    <a:pt x="2774" y="1227"/>
                  </a:lnTo>
                  <a:cubicBezTo>
                    <a:pt x="2785" y="1216"/>
                    <a:pt x="2788" y="1216"/>
                    <a:pt x="2811" y="1211"/>
                  </a:cubicBezTo>
                  <a:lnTo>
                    <a:pt x="2811" y="1211"/>
                  </a:lnTo>
                  <a:cubicBezTo>
                    <a:pt x="2811" y="1194"/>
                    <a:pt x="2856" y="1193"/>
                    <a:pt x="2867" y="1189"/>
                  </a:cubicBezTo>
                  <a:lnTo>
                    <a:pt x="2867" y="1189"/>
                  </a:lnTo>
                  <a:cubicBezTo>
                    <a:pt x="2893" y="1182"/>
                    <a:pt x="2904" y="1162"/>
                    <a:pt x="2904" y="1119"/>
                  </a:cubicBezTo>
                  <a:lnTo>
                    <a:pt x="2904" y="1119"/>
                  </a:lnTo>
                  <a:cubicBezTo>
                    <a:pt x="2904" y="1048"/>
                    <a:pt x="2876" y="1006"/>
                    <a:pt x="2836" y="965"/>
                  </a:cubicBezTo>
                  <a:lnTo>
                    <a:pt x="2836" y="965"/>
                  </a:lnTo>
                  <a:cubicBezTo>
                    <a:pt x="2819" y="949"/>
                    <a:pt x="2801" y="932"/>
                    <a:pt x="2805" y="901"/>
                  </a:cubicBezTo>
                  <a:lnTo>
                    <a:pt x="2805" y="901"/>
                  </a:lnTo>
                  <a:cubicBezTo>
                    <a:pt x="2827" y="901"/>
                    <a:pt x="2845" y="889"/>
                    <a:pt x="2860" y="874"/>
                  </a:cubicBezTo>
                  <a:lnTo>
                    <a:pt x="2860" y="874"/>
                  </a:lnTo>
                  <a:cubicBezTo>
                    <a:pt x="2873" y="861"/>
                    <a:pt x="2906" y="843"/>
                    <a:pt x="2913" y="828"/>
                  </a:cubicBezTo>
                  <a:lnTo>
                    <a:pt x="2913" y="828"/>
                  </a:lnTo>
                  <a:cubicBezTo>
                    <a:pt x="2937" y="779"/>
                    <a:pt x="2952" y="749"/>
                    <a:pt x="2996" y="715"/>
                  </a:cubicBezTo>
                  <a:lnTo>
                    <a:pt x="2996" y="715"/>
                  </a:lnTo>
                  <a:cubicBezTo>
                    <a:pt x="2996" y="715"/>
                    <a:pt x="3065" y="636"/>
                    <a:pt x="3004" y="595"/>
                  </a:cubicBezTo>
                  <a:lnTo>
                    <a:pt x="3004" y="595"/>
                  </a:lnTo>
                  <a:cubicBezTo>
                    <a:pt x="2980" y="579"/>
                    <a:pt x="3054" y="573"/>
                    <a:pt x="3096" y="549"/>
                  </a:cubicBezTo>
                  <a:lnTo>
                    <a:pt x="3096" y="549"/>
                  </a:lnTo>
                  <a:cubicBezTo>
                    <a:pt x="3142" y="522"/>
                    <a:pt x="3156" y="425"/>
                    <a:pt x="3197" y="384"/>
                  </a:cubicBezTo>
                  <a:lnTo>
                    <a:pt x="3197" y="339"/>
                  </a:lnTo>
                  <a:lnTo>
                    <a:pt x="3197" y="339"/>
                  </a:lnTo>
                  <a:cubicBezTo>
                    <a:pt x="3122" y="339"/>
                    <a:pt x="3111" y="394"/>
                    <a:pt x="3050" y="394"/>
                  </a:cubicBezTo>
                  <a:lnTo>
                    <a:pt x="3050" y="394"/>
                  </a:lnTo>
                  <a:cubicBezTo>
                    <a:pt x="2996" y="394"/>
                    <a:pt x="2973" y="326"/>
                    <a:pt x="2950" y="302"/>
                  </a:cubicBezTo>
                  <a:lnTo>
                    <a:pt x="2950" y="302"/>
                  </a:lnTo>
                  <a:cubicBezTo>
                    <a:pt x="2919" y="271"/>
                    <a:pt x="2836" y="267"/>
                    <a:pt x="2812" y="229"/>
                  </a:cubicBezTo>
                  <a:lnTo>
                    <a:pt x="2812" y="229"/>
                  </a:lnTo>
                  <a:cubicBezTo>
                    <a:pt x="2750" y="130"/>
                    <a:pt x="2755" y="0"/>
                    <a:pt x="2593" y="0"/>
                  </a:cubicBezTo>
                  <a:lnTo>
                    <a:pt x="2593" y="0"/>
                  </a:lnTo>
                  <a:cubicBezTo>
                    <a:pt x="2361" y="0"/>
                    <a:pt x="2447" y="306"/>
                    <a:pt x="2272" y="238"/>
                  </a:cubicBezTo>
                  <a:lnTo>
                    <a:pt x="2272" y="238"/>
                  </a:lnTo>
                  <a:cubicBezTo>
                    <a:pt x="2141" y="187"/>
                    <a:pt x="2006" y="283"/>
                    <a:pt x="1906" y="283"/>
                  </a:cubicBezTo>
                  <a:lnTo>
                    <a:pt x="1906" y="283"/>
                  </a:lnTo>
                  <a:cubicBezTo>
                    <a:pt x="1786" y="283"/>
                    <a:pt x="1754" y="192"/>
                    <a:pt x="1639" y="192"/>
                  </a:cubicBezTo>
                  <a:lnTo>
                    <a:pt x="1639" y="192"/>
                  </a:lnTo>
                  <a:cubicBezTo>
                    <a:pt x="1594" y="192"/>
                    <a:pt x="1517" y="256"/>
                    <a:pt x="1475" y="137"/>
                  </a:cubicBezTo>
                  <a:lnTo>
                    <a:pt x="1475" y="137"/>
                  </a:lnTo>
                  <a:cubicBezTo>
                    <a:pt x="1464" y="109"/>
                    <a:pt x="1352" y="91"/>
                    <a:pt x="1319" y="91"/>
                  </a:cubicBezTo>
                  <a:lnTo>
                    <a:pt x="1319" y="91"/>
                  </a:lnTo>
                  <a:cubicBezTo>
                    <a:pt x="1262" y="91"/>
                    <a:pt x="1282" y="229"/>
                    <a:pt x="1181" y="229"/>
                  </a:cubicBezTo>
                  <a:lnTo>
                    <a:pt x="1181" y="229"/>
                  </a:lnTo>
                  <a:cubicBezTo>
                    <a:pt x="1104" y="229"/>
                    <a:pt x="1028" y="174"/>
                    <a:pt x="980" y="174"/>
                  </a:cubicBezTo>
                  <a:lnTo>
                    <a:pt x="980" y="174"/>
                  </a:lnTo>
                  <a:cubicBezTo>
                    <a:pt x="950" y="174"/>
                    <a:pt x="919" y="212"/>
                    <a:pt x="907" y="220"/>
                  </a:cubicBezTo>
                  <a:lnTo>
                    <a:pt x="907" y="220"/>
                  </a:lnTo>
                  <a:cubicBezTo>
                    <a:pt x="817" y="273"/>
                    <a:pt x="705" y="275"/>
                    <a:pt x="632" y="339"/>
                  </a:cubicBezTo>
                  <a:lnTo>
                    <a:pt x="632" y="339"/>
                  </a:lnTo>
                  <a:cubicBezTo>
                    <a:pt x="602" y="364"/>
                    <a:pt x="661" y="466"/>
                    <a:pt x="513" y="448"/>
                  </a:cubicBezTo>
                  <a:lnTo>
                    <a:pt x="513" y="448"/>
                  </a:lnTo>
                  <a:cubicBezTo>
                    <a:pt x="457" y="442"/>
                    <a:pt x="451" y="555"/>
                    <a:pt x="358" y="568"/>
                  </a:cubicBezTo>
                  <a:lnTo>
                    <a:pt x="358" y="568"/>
                  </a:lnTo>
                  <a:cubicBezTo>
                    <a:pt x="358" y="773"/>
                    <a:pt x="242" y="861"/>
                    <a:pt x="73" y="861"/>
                  </a:cubicBezTo>
                  <a:lnTo>
                    <a:pt x="73" y="861"/>
                  </a:lnTo>
                  <a:cubicBezTo>
                    <a:pt x="44" y="861"/>
                    <a:pt x="5" y="943"/>
                    <a:pt x="0" y="980"/>
                  </a:cubicBezTo>
                  <a:lnTo>
                    <a:pt x="0" y="980"/>
                  </a:lnTo>
                  <a:cubicBezTo>
                    <a:pt x="46" y="991"/>
                    <a:pt x="57" y="1000"/>
                    <a:pt x="64" y="1044"/>
                  </a:cubicBezTo>
                  <a:lnTo>
                    <a:pt x="62" y="1053"/>
                  </a:lnTo>
                  <a:lnTo>
                    <a:pt x="62" y="1053"/>
                  </a:lnTo>
                  <a:cubicBezTo>
                    <a:pt x="62" y="1085"/>
                    <a:pt x="78" y="1075"/>
                    <a:pt x="106" y="1085"/>
                  </a:cubicBezTo>
                  <a:lnTo>
                    <a:pt x="106" y="1085"/>
                  </a:lnTo>
                  <a:cubicBezTo>
                    <a:pt x="126" y="1090"/>
                    <a:pt x="117" y="1114"/>
                    <a:pt x="128" y="1124"/>
                  </a:cubicBezTo>
                  <a:lnTo>
                    <a:pt x="128" y="1124"/>
                  </a:lnTo>
                  <a:cubicBezTo>
                    <a:pt x="155" y="1152"/>
                    <a:pt x="176" y="1152"/>
                    <a:pt x="210" y="1163"/>
                  </a:cubicBezTo>
                  <a:lnTo>
                    <a:pt x="210" y="1163"/>
                  </a:lnTo>
                  <a:cubicBezTo>
                    <a:pt x="242" y="1157"/>
                    <a:pt x="255" y="1131"/>
                    <a:pt x="286" y="1131"/>
                  </a:cubicBezTo>
                  <a:lnTo>
                    <a:pt x="286" y="1131"/>
                  </a:lnTo>
                  <a:cubicBezTo>
                    <a:pt x="302" y="1131"/>
                    <a:pt x="344" y="1163"/>
                    <a:pt x="344" y="1182"/>
                  </a:cubicBezTo>
                  <a:lnTo>
                    <a:pt x="344" y="1182"/>
                  </a:lnTo>
                  <a:cubicBezTo>
                    <a:pt x="344" y="1231"/>
                    <a:pt x="276" y="1224"/>
                    <a:pt x="276" y="1271"/>
                  </a:cubicBezTo>
                  <a:lnTo>
                    <a:pt x="276" y="1271"/>
                  </a:lnTo>
                  <a:cubicBezTo>
                    <a:pt x="276" y="1291"/>
                    <a:pt x="304" y="1297"/>
                    <a:pt x="304" y="1317"/>
                  </a:cubicBezTo>
                  <a:lnTo>
                    <a:pt x="304" y="1317"/>
                  </a:lnTo>
                  <a:cubicBezTo>
                    <a:pt x="304" y="1341"/>
                    <a:pt x="282" y="1337"/>
                    <a:pt x="262" y="1337"/>
                  </a:cubicBezTo>
                  <a:lnTo>
                    <a:pt x="262" y="1354"/>
                  </a:lnTo>
                  <a:lnTo>
                    <a:pt x="262" y="1354"/>
                  </a:lnTo>
                  <a:cubicBezTo>
                    <a:pt x="268" y="1376"/>
                    <a:pt x="266" y="1391"/>
                    <a:pt x="273" y="1412"/>
                  </a:cubicBezTo>
                  <a:lnTo>
                    <a:pt x="273" y="1412"/>
                  </a:lnTo>
                  <a:cubicBezTo>
                    <a:pt x="276" y="1424"/>
                    <a:pt x="295" y="1422"/>
                    <a:pt x="302" y="1424"/>
                  </a:cubicBezTo>
                  <a:lnTo>
                    <a:pt x="302" y="1424"/>
                  </a:lnTo>
                  <a:cubicBezTo>
                    <a:pt x="335" y="1435"/>
                    <a:pt x="344" y="1458"/>
                    <a:pt x="377" y="1466"/>
                  </a:cubicBezTo>
                  <a:lnTo>
                    <a:pt x="377" y="1466"/>
                  </a:lnTo>
                  <a:cubicBezTo>
                    <a:pt x="417" y="1475"/>
                    <a:pt x="438" y="1464"/>
                    <a:pt x="460" y="1486"/>
                  </a:cubicBezTo>
                  <a:lnTo>
                    <a:pt x="460" y="1486"/>
                  </a:lnTo>
                  <a:cubicBezTo>
                    <a:pt x="482" y="1508"/>
                    <a:pt x="500" y="1500"/>
                    <a:pt x="527" y="1513"/>
                  </a:cubicBezTo>
                  <a:lnTo>
                    <a:pt x="527" y="1513"/>
                  </a:lnTo>
                  <a:cubicBezTo>
                    <a:pt x="542" y="1520"/>
                    <a:pt x="542" y="1533"/>
                    <a:pt x="550" y="1548"/>
                  </a:cubicBezTo>
                  <a:lnTo>
                    <a:pt x="550" y="1548"/>
                  </a:lnTo>
                  <a:cubicBezTo>
                    <a:pt x="555" y="1561"/>
                    <a:pt x="570" y="1546"/>
                    <a:pt x="579" y="1551"/>
                  </a:cubicBezTo>
                  <a:lnTo>
                    <a:pt x="579" y="1551"/>
                  </a:lnTo>
                  <a:cubicBezTo>
                    <a:pt x="606" y="1570"/>
                    <a:pt x="623" y="1597"/>
                    <a:pt x="665" y="1597"/>
                  </a:cubicBezTo>
                  <a:lnTo>
                    <a:pt x="742" y="1597"/>
                  </a:lnTo>
                  <a:lnTo>
                    <a:pt x="742" y="1597"/>
                  </a:lnTo>
                  <a:cubicBezTo>
                    <a:pt x="758" y="1597"/>
                    <a:pt x="764" y="1589"/>
                    <a:pt x="775" y="1589"/>
                  </a:cubicBezTo>
                  <a:lnTo>
                    <a:pt x="775" y="1589"/>
                  </a:lnTo>
                  <a:cubicBezTo>
                    <a:pt x="784" y="1589"/>
                    <a:pt x="791" y="1616"/>
                    <a:pt x="793" y="1629"/>
                  </a:cubicBezTo>
                  <a:lnTo>
                    <a:pt x="793" y="1629"/>
                  </a:lnTo>
                  <a:cubicBezTo>
                    <a:pt x="818" y="1616"/>
                    <a:pt x="826" y="1583"/>
                    <a:pt x="872" y="1583"/>
                  </a:cubicBezTo>
                  <a:lnTo>
                    <a:pt x="872" y="1583"/>
                  </a:lnTo>
                  <a:cubicBezTo>
                    <a:pt x="912" y="1583"/>
                    <a:pt x="931" y="1605"/>
                    <a:pt x="962" y="1605"/>
                  </a:cubicBezTo>
                  <a:lnTo>
                    <a:pt x="962" y="1605"/>
                  </a:lnTo>
                  <a:cubicBezTo>
                    <a:pt x="988" y="1605"/>
                    <a:pt x="1048" y="1553"/>
                    <a:pt x="1061" y="1546"/>
                  </a:cubicBezTo>
                  <a:lnTo>
                    <a:pt x="1061" y="1546"/>
                  </a:lnTo>
                  <a:cubicBezTo>
                    <a:pt x="1071" y="1539"/>
                    <a:pt x="1075" y="1531"/>
                    <a:pt x="1083" y="1525"/>
                  </a:cubicBezTo>
                  <a:lnTo>
                    <a:pt x="1083" y="1525"/>
                  </a:lnTo>
                  <a:cubicBezTo>
                    <a:pt x="1097" y="1510"/>
                    <a:pt x="1121" y="1530"/>
                    <a:pt x="1143" y="1522"/>
                  </a:cubicBezTo>
                  <a:lnTo>
                    <a:pt x="1160" y="1506"/>
                  </a:lnTo>
                  <a:lnTo>
                    <a:pt x="1171" y="1506"/>
                  </a:lnTo>
                  <a:lnTo>
                    <a:pt x="1171" y="1506"/>
                  </a:lnTo>
                  <a:cubicBezTo>
                    <a:pt x="1186" y="1565"/>
                    <a:pt x="1224" y="1561"/>
                    <a:pt x="1270" y="1583"/>
                  </a:cubicBezTo>
                  <a:lnTo>
                    <a:pt x="1270" y="1583"/>
                  </a:lnTo>
                  <a:cubicBezTo>
                    <a:pt x="1286" y="1610"/>
                    <a:pt x="1312" y="1623"/>
                    <a:pt x="1312" y="1661"/>
                  </a:cubicBezTo>
                  <a:lnTo>
                    <a:pt x="1312" y="1661"/>
                  </a:lnTo>
                  <a:cubicBezTo>
                    <a:pt x="1312" y="1735"/>
                    <a:pt x="1264" y="1737"/>
                    <a:pt x="1264" y="1805"/>
                  </a:cubicBezTo>
                  <a:lnTo>
                    <a:pt x="1264" y="1805"/>
                  </a:lnTo>
                  <a:cubicBezTo>
                    <a:pt x="1264" y="1810"/>
                    <a:pt x="1266" y="1823"/>
                    <a:pt x="1271" y="1823"/>
                  </a:cubicBezTo>
                  <a:lnTo>
                    <a:pt x="1271" y="1823"/>
                  </a:lnTo>
                  <a:cubicBezTo>
                    <a:pt x="1286" y="1823"/>
                    <a:pt x="1295" y="1814"/>
                    <a:pt x="1310" y="1814"/>
                  </a:cubicBezTo>
                  <a:lnTo>
                    <a:pt x="1310" y="1814"/>
                  </a:lnTo>
                  <a:cubicBezTo>
                    <a:pt x="1324" y="1814"/>
                    <a:pt x="1328" y="1865"/>
                    <a:pt x="1348" y="1869"/>
                  </a:cubicBezTo>
                  <a:lnTo>
                    <a:pt x="1348" y="1869"/>
                  </a:lnTo>
                  <a:cubicBezTo>
                    <a:pt x="1348" y="1905"/>
                    <a:pt x="1371" y="1946"/>
                    <a:pt x="1407" y="1946"/>
                  </a:cubicBezTo>
                  <a:lnTo>
                    <a:pt x="1407" y="1946"/>
                  </a:lnTo>
                  <a:cubicBezTo>
                    <a:pt x="1420" y="1946"/>
                    <a:pt x="1425" y="1942"/>
                    <a:pt x="1436" y="1942"/>
                  </a:cubicBezTo>
                  <a:lnTo>
                    <a:pt x="1447" y="1942"/>
                  </a:lnTo>
                  <a:lnTo>
                    <a:pt x="1447" y="1942"/>
                  </a:lnTo>
                  <a:cubicBezTo>
                    <a:pt x="1447" y="1957"/>
                    <a:pt x="1454" y="1962"/>
                    <a:pt x="1458" y="1962"/>
                  </a:cubicBezTo>
                  <a:lnTo>
                    <a:pt x="1458" y="1962"/>
                  </a:lnTo>
                  <a:cubicBezTo>
                    <a:pt x="1464" y="1962"/>
                    <a:pt x="1467" y="1951"/>
                    <a:pt x="1467" y="1946"/>
                  </a:cubicBezTo>
                  <a:lnTo>
                    <a:pt x="1467" y="1898"/>
                  </a:lnTo>
                  <a:lnTo>
                    <a:pt x="1467" y="1898"/>
                  </a:lnTo>
                  <a:cubicBezTo>
                    <a:pt x="1467" y="1898"/>
                    <a:pt x="1510" y="1885"/>
                    <a:pt x="1517" y="1887"/>
                  </a:cubicBezTo>
                  <a:lnTo>
                    <a:pt x="1575" y="1887"/>
                  </a:lnTo>
                  <a:lnTo>
                    <a:pt x="1575" y="1887"/>
                  </a:lnTo>
                  <a:cubicBezTo>
                    <a:pt x="1601" y="1900"/>
                    <a:pt x="1621" y="1861"/>
                    <a:pt x="1649" y="1861"/>
                  </a:cubicBezTo>
                  <a:lnTo>
                    <a:pt x="1649" y="1861"/>
                  </a:lnTo>
                  <a:cubicBezTo>
                    <a:pt x="1678" y="1861"/>
                    <a:pt x="1696" y="1882"/>
                    <a:pt x="1728" y="1882"/>
                  </a:cubicBezTo>
                  <a:lnTo>
                    <a:pt x="1728" y="1882"/>
                  </a:lnTo>
                  <a:cubicBezTo>
                    <a:pt x="1728" y="1929"/>
                    <a:pt x="1764" y="1944"/>
                    <a:pt x="1792" y="1953"/>
                  </a:cubicBezTo>
                  <a:lnTo>
                    <a:pt x="1792" y="1953"/>
                  </a:lnTo>
                  <a:cubicBezTo>
                    <a:pt x="1823" y="1967"/>
                    <a:pt x="1845" y="1957"/>
                    <a:pt x="1880" y="1973"/>
                  </a:cubicBezTo>
                  <a:lnTo>
                    <a:pt x="1880" y="1973"/>
                  </a:lnTo>
                  <a:cubicBezTo>
                    <a:pt x="1878" y="1982"/>
                    <a:pt x="1872" y="2019"/>
                    <a:pt x="1889" y="2019"/>
                  </a:cubicBezTo>
                  <a:lnTo>
                    <a:pt x="1889" y="2019"/>
                  </a:lnTo>
                  <a:cubicBezTo>
                    <a:pt x="1909" y="2019"/>
                    <a:pt x="1898" y="1995"/>
                    <a:pt x="1913" y="1980"/>
                  </a:cubicBezTo>
                  <a:lnTo>
                    <a:pt x="1913" y="1980"/>
                  </a:lnTo>
                  <a:cubicBezTo>
                    <a:pt x="1926" y="1967"/>
                    <a:pt x="1962" y="1962"/>
                    <a:pt x="1977" y="1955"/>
                  </a:cubicBezTo>
                  <a:lnTo>
                    <a:pt x="1977" y="1955"/>
                  </a:lnTo>
                  <a:cubicBezTo>
                    <a:pt x="2011" y="1939"/>
                    <a:pt x="2047" y="1946"/>
                    <a:pt x="2068" y="1924"/>
                  </a:cubicBezTo>
                  <a:lnTo>
                    <a:pt x="2068" y="1924"/>
                  </a:lnTo>
                  <a:cubicBezTo>
                    <a:pt x="2068" y="1924"/>
                    <a:pt x="2086" y="1889"/>
                    <a:pt x="2091" y="1889"/>
                  </a:cubicBezTo>
                  <a:lnTo>
                    <a:pt x="2091" y="1889"/>
                  </a:lnTo>
                  <a:cubicBezTo>
                    <a:pt x="2109" y="1889"/>
                    <a:pt x="2118" y="1903"/>
                    <a:pt x="2136" y="1903"/>
                  </a:cubicBezTo>
                  <a:lnTo>
                    <a:pt x="2136" y="1903"/>
                  </a:lnTo>
                  <a:cubicBezTo>
                    <a:pt x="2220" y="1903"/>
                    <a:pt x="2241" y="1852"/>
                    <a:pt x="2292" y="1823"/>
                  </a:cubicBezTo>
                  <a:lnTo>
                    <a:pt x="2292" y="1823"/>
                  </a:lnTo>
                  <a:cubicBezTo>
                    <a:pt x="2307" y="1816"/>
                    <a:pt x="2316" y="1808"/>
                    <a:pt x="2320" y="1790"/>
                  </a:cubicBezTo>
                  <a:lnTo>
                    <a:pt x="2320" y="1790"/>
                  </a:lnTo>
                  <a:cubicBezTo>
                    <a:pt x="2363" y="1790"/>
                    <a:pt x="2376" y="1722"/>
                    <a:pt x="2393" y="1687"/>
                  </a:cubicBezTo>
                  <a:lnTo>
                    <a:pt x="2393" y="1687"/>
                  </a:lnTo>
                  <a:cubicBezTo>
                    <a:pt x="2404" y="1666"/>
                    <a:pt x="2453" y="1592"/>
                    <a:pt x="2481" y="1587"/>
                  </a:cubicBezTo>
                  <a:lnTo>
                    <a:pt x="2481" y="1587"/>
                  </a:lnTo>
                  <a:cubicBezTo>
                    <a:pt x="2481" y="1546"/>
                    <a:pt x="2508" y="1528"/>
                    <a:pt x="2508" y="1475"/>
                  </a:cubicBezTo>
                  <a:lnTo>
                    <a:pt x="2508" y="1475"/>
                  </a:lnTo>
                  <a:cubicBezTo>
                    <a:pt x="2508" y="1396"/>
                    <a:pt x="2490" y="1367"/>
                    <a:pt x="2457" y="1317"/>
                  </a:cubicBezTo>
                  <a:lnTo>
                    <a:pt x="2457" y="1317"/>
                  </a:lnTo>
                  <a:cubicBezTo>
                    <a:pt x="2451" y="1308"/>
                    <a:pt x="2451" y="1286"/>
                    <a:pt x="2435" y="1277"/>
                  </a:cubicBezTo>
                  <a:lnTo>
                    <a:pt x="2436" y="1275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0" name="Freeform 68">
              <a:extLst>
                <a:ext uri="{FF2B5EF4-FFF2-40B4-BE49-F238E27FC236}">
                  <a16:creationId xmlns:a16="http://schemas.microsoft.com/office/drawing/2014/main" id="{9D54AC45-4641-5B4A-A358-518489B06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75803" y="3879770"/>
              <a:ext cx="120973" cy="51845"/>
            </a:xfrm>
            <a:custGeom>
              <a:avLst/>
              <a:gdLst>
                <a:gd name="T0" fmla="*/ 18 w 184"/>
                <a:gd name="T1" fmla="*/ 80 h 81"/>
                <a:gd name="T2" fmla="*/ 18 w 184"/>
                <a:gd name="T3" fmla="*/ 80 h 81"/>
                <a:gd name="T4" fmla="*/ 0 w 184"/>
                <a:gd name="T5" fmla="*/ 61 h 81"/>
                <a:gd name="T6" fmla="*/ 0 w 184"/>
                <a:gd name="T7" fmla="*/ 61 h 81"/>
                <a:gd name="T8" fmla="*/ 86 w 184"/>
                <a:gd name="T9" fmla="*/ 0 h 81"/>
                <a:gd name="T10" fmla="*/ 86 w 184"/>
                <a:gd name="T11" fmla="*/ 0 h 81"/>
                <a:gd name="T12" fmla="*/ 183 w 184"/>
                <a:gd name="T13" fmla="*/ 46 h 81"/>
                <a:gd name="T14" fmla="*/ 183 w 184"/>
                <a:gd name="T15" fmla="*/ 46 h 81"/>
                <a:gd name="T16" fmla="*/ 18 w 184"/>
                <a:gd name="T17" fmla="*/ 8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81">
                  <a:moveTo>
                    <a:pt x="18" y="80"/>
                  </a:moveTo>
                  <a:lnTo>
                    <a:pt x="18" y="80"/>
                  </a:lnTo>
                  <a:cubicBezTo>
                    <a:pt x="7" y="80"/>
                    <a:pt x="0" y="70"/>
                    <a:pt x="0" y="61"/>
                  </a:cubicBezTo>
                  <a:lnTo>
                    <a:pt x="0" y="61"/>
                  </a:lnTo>
                  <a:cubicBezTo>
                    <a:pt x="0" y="34"/>
                    <a:pt x="54" y="0"/>
                    <a:pt x="86" y="0"/>
                  </a:cubicBezTo>
                  <a:lnTo>
                    <a:pt x="86" y="0"/>
                  </a:lnTo>
                  <a:cubicBezTo>
                    <a:pt x="113" y="0"/>
                    <a:pt x="183" y="19"/>
                    <a:pt x="183" y="46"/>
                  </a:cubicBezTo>
                  <a:lnTo>
                    <a:pt x="183" y="46"/>
                  </a:lnTo>
                  <a:cubicBezTo>
                    <a:pt x="183" y="70"/>
                    <a:pt x="38" y="80"/>
                    <a:pt x="18" y="8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1" name="Freeform 69">
              <a:extLst>
                <a:ext uri="{FF2B5EF4-FFF2-40B4-BE49-F238E27FC236}">
                  <a16:creationId xmlns:a16="http://schemas.microsoft.com/office/drawing/2014/main" id="{85640930-80AF-834D-A8D8-4771521D2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2884" y="3980579"/>
              <a:ext cx="48966" cy="25924"/>
            </a:xfrm>
            <a:custGeom>
              <a:avLst/>
              <a:gdLst>
                <a:gd name="T0" fmla="*/ 55 w 75"/>
                <a:gd name="T1" fmla="*/ 40 h 41"/>
                <a:gd name="T2" fmla="*/ 55 w 75"/>
                <a:gd name="T3" fmla="*/ 40 h 41"/>
                <a:gd name="T4" fmla="*/ 74 w 75"/>
                <a:gd name="T5" fmla="*/ 22 h 41"/>
                <a:gd name="T6" fmla="*/ 74 w 75"/>
                <a:gd name="T7" fmla="*/ 22 h 41"/>
                <a:gd name="T8" fmla="*/ 61 w 75"/>
                <a:gd name="T9" fmla="*/ 0 h 41"/>
                <a:gd name="T10" fmla="*/ 0 w 75"/>
                <a:gd name="T11" fmla="*/ 0 h 41"/>
                <a:gd name="T12" fmla="*/ 0 w 75"/>
                <a:gd name="T13" fmla="*/ 0 h 41"/>
                <a:gd name="T14" fmla="*/ 55 w 75"/>
                <a:gd name="T15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41">
                  <a:moveTo>
                    <a:pt x="55" y="40"/>
                  </a:moveTo>
                  <a:lnTo>
                    <a:pt x="55" y="40"/>
                  </a:lnTo>
                  <a:cubicBezTo>
                    <a:pt x="65" y="40"/>
                    <a:pt x="74" y="31"/>
                    <a:pt x="74" y="22"/>
                  </a:cubicBezTo>
                  <a:lnTo>
                    <a:pt x="74" y="22"/>
                  </a:lnTo>
                  <a:cubicBezTo>
                    <a:pt x="74" y="11"/>
                    <a:pt x="63" y="7"/>
                    <a:pt x="61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11" y="22"/>
                    <a:pt x="29" y="40"/>
                    <a:pt x="55" y="4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2" name="Freeform 70">
              <a:extLst>
                <a:ext uri="{FF2B5EF4-FFF2-40B4-BE49-F238E27FC236}">
                  <a16:creationId xmlns:a16="http://schemas.microsoft.com/office/drawing/2014/main" id="{89AF5FC6-12C1-0C4F-9E65-ADCBBDC6F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01087" y="3600380"/>
              <a:ext cx="23042" cy="28803"/>
            </a:xfrm>
            <a:custGeom>
              <a:avLst/>
              <a:gdLst>
                <a:gd name="T0" fmla="*/ 33 w 34"/>
                <a:gd name="T1" fmla="*/ 18 h 43"/>
                <a:gd name="T2" fmla="*/ 15 w 34"/>
                <a:gd name="T3" fmla="*/ 0 h 43"/>
                <a:gd name="T4" fmla="*/ 15 w 34"/>
                <a:gd name="T5" fmla="*/ 0 h 43"/>
                <a:gd name="T6" fmla="*/ 0 w 34"/>
                <a:gd name="T7" fmla="*/ 28 h 43"/>
                <a:gd name="T8" fmla="*/ 0 w 34"/>
                <a:gd name="T9" fmla="*/ 28 h 43"/>
                <a:gd name="T10" fmla="*/ 15 w 34"/>
                <a:gd name="T11" fmla="*/ 42 h 43"/>
                <a:gd name="T12" fmla="*/ 15 w 34"/>
                <a:gd name="T13" fmla="*/ 42 h 43"/>
                <a:gd name="T14" fmla="*/ 33 w 34"/>
                <a:gd name="T15" fmla="*/ 15 h 43"/>
                <a:gd name="T16" fmla="*/ 28 w 34"/>
                <a:gd name="T17" fmla="*/ 15 h 43"/>
                <a:gd name="T18" fmla="*/ 33 w 34"/>
                <a:gd name="T19" fmla="*/ 1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43">
                  <a:moveTo>
                    <a:pt x="33" y="18"/>
                  </a:moveTo>
                  <a:lnTo>
                    <a:pt x="15" y="0"/>
                  </a:lnTo>
                  <a:lnTo>
                    <a:pt x="15" y="0"/>
                  </a:lnTo>
                  <a:cubicBezTo>
                    <a:pt x="8" y="10"/>
                    <a:pt x="0" y="16"/>
                    <a:pt x="0" y="28"/>
                  </a:cubicBezTo>
                  <a:lnTo>
                    <a:pt x="0" y="28"/>
                  </a:lnTo>
                  <a:cubicBezTo>
                    <a:pt x="0" y="39"/>
                    <a:pt x="6" y="42"/>
                    <a:pt x="15" y="42"/>
                  </a:cubicBezTo>
                  <a:lnTo>
                    <a:pt x="15" y="42"/>
                  </a:lnTo>
                  <a:cubicBezTo>
                    <a:pt x="30" y="42"/>
                    <a:pt x="31" y="26"/>
                    <a:pt x="33" y="15"/>
                  </a:cubicBezTo>
                  <a:lnTo>
                    <a:pt x="28" y="15"/>
                  </a:lnTo>
                  <a:lnTo>
                    <a:pt x="33" y="18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3" name="Freeform 71">
              <a:extLst>
                <a:ext uri="{FF2B5EF4-FFF2-40B4-BE49-F238E27FC236}">
                  <a16:creationId xmlns:a16="http://schemas.microsoft.com/office/drawing/2014/main" id="{BDE9D531-5FDF-F44D-ACBE-2CB301733A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97484" y="3686789"/>
              <a:ext cx="54725" cy="31684"/>
            </a:xfrm>
            <a:custGeom>
              <a:avLst/>
              <a:gdLst>
                <a:gd name="T0" fmla="*/ 83 w 84"/>
                <a:gd name="T1" fmla="*/ 36 h 50"/>
                <a:gd name="T2" fmla="*/ 83 w 84"/>
                <a:gd name="T3" fmla="*/ 36 h 50"/>
                <a:gd name="T4" fmla="*/ 40 w 84"/>
                <a:gd name="T5" fmla="*/ 49 h 50"/>
                <a:gd name="T6" fmla="*/ 40 w 84"/>
                <a:gd name="T7" fmla="*/ 49 h 50"/>
                <a:gd name="T8" fmla="*/ 0 w 84"/>
                <a:gd name="T9" fmla="*/ 28 h 50"/>
                <a:gd name="T10" fmla="*/ 0 w 84"/>
                <a:gd name="T11" fmla="*/ 28 h 50"/>
                <a:gd name="T12" fmla="*/ 40 w 84"/>
                <a:gd name="T13" fmla="*/ 0 h 50"/>
                <a:gd name="T14" fmla="*/ 40 w 84"/>
                <a:gd name="T15" fmla="*/ 0 h 50"/>
                <a:gd name="T16" fmla="*/ 83 w 84"/>
                <a:gd name="T17" fmla="*/ 28 h 50"/>
                <a:gd name="T18" fmla="*/ 83 w 84"/>
                <a:gd name="T19" fmla="*/ 28 h 50"/>
                <a:gd name="T20" fmla="*/ 68 w 84"/>
                <a:gd name="T21" fmla="*/ 49 h 50"/>
                <a:gd name="T22" fmla="*/ 83 w 84"/>
                <a:gd name="T23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50">
                  <a:moveTo>
                    <a:pt x="83" y="36"/>
                  </a:moveTo>
                  <a:lnTo>
                    <a:pt x="83" y="36"/>
                  </a:lnTo>
                  <a:cubicBezTo>
                    <a:pt x="69" y="44"/>
                    <a:pt x="57" y="49"/>
                    <a:pt x="40" y="49"/>
                  </a:cubicBezTo>
                  <a:lnTo>
                    <a:pt x="40" y="49"/>
                  </a:lnTo>
                  <a:cubicBezTo>
                    <a:pt x="20" y="49"/>
                    <a:pt x="0" y="44"/>
                    <a:pt x="0" y="28"/>
                  </a:cubicBezTo>
                  <a:lnTo>
                    <a:pt x="0" y="28"/>
                  </a:lnTo>
                  <a:cubicBezTo>
                    <a:pt x="0" y="9"/>
                    <a:pt x="22" y="0"/>
                    <a:pt x="40" y="0"/>
                  </a:cubicBezTo>
                  <a:lnTo>
                    <a:pt x="40" y="0"/>
                  </a:lnTo>
                  <a:cubicBezTo>
                    <a:pt x="66" y="0"/>
                    <a:pt x="83" y="5"/>
                    <a:pt x="83" y="28"/>
                  </a:cubicBezTo>
                  <a:lnTo>
                    <a:pt x="83" y="28"/>
                  </a:lnTo>
                  <a:cubicBezTo>
                    <a:pt x="83" y="39"/>
                    <a:pt x="73" y="44"/>
                    <a:pt x="68" y="49"/>
                  </a:cubicBezTo>
                  <a:lnTo>
                    <a:pt x="83" y="36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4" name="Freeform 72">
              <a:extLst>
                <a:ext uri="{FF2B5EF4-FFF2-40B4-BE49-F238E27FC236}">
                  <a16:creationId xmlns:a16="http://schemas.microsoft.com/office/drawing/2014/main" id="{E351F536-BB09-FD41-AF28-60BFF928B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4078" y="3338273"/>
              <a:ext cx="207382" cy="118091"/>
            </a:xfrm>
            <a:custGeom>
              <a:avLst/>
              <a:gdLst>
                <a:gd name="T0" fmla="*/ 27 w 317"/>
                <a:gd name="T1" fmla="*/ 178 h 179"/>
                <a:gd name="T2" fmla="*/ 27 w 317"/>
                <a:gd name="T3" fmla="*/ 178 h 179"/>
                <a:gd name="T4" fmla="*/ 0 w 317"/>
                <a:gd name="T5" fmla="*/ 151 h 179"/>
                <a:gd name="T6" fmla="*/ 0 w 317"/>
                <a:gd name="T7" fmla="*/ 151 h 179"/>
                <a:gd name="T8" fmla="*/ 33 w 317"/>
                <a:gd name="T9" fmla="*/ 110 h 179"/>
                <a:gd name="T10" fmla="*/ 33 w 317"/>
                <a:gd name="T11" fmla="*/ 110 h 179"/>
                <a:gd name="T12" fmla="*/ 164 w 317"/>
                <a:gd name="T13" fmla="*/ 0 h 179"/>
                <a:gd name="T14" fmla="*/ 188 w 317"/>
                <a:gd name="T15" fmla="*/ 0 h 179"/>
                <a:gd name="T16" fmla="*/ 188 w 317"/>
                <a:gd name="T17" fmla="*/ 0 h 179"/>
                <a:gd name="T18" fmla="*/ 182 w 317"/>
                <a:gd name="T19" fmla="*/ 41 h 179"/>
                <a:gd name="T20" fmla="*/ 182 w 317"/>
                <a:gd name="T21" fmla="*/ 41 h 179"/>
                <a:gd name="T22" fmla="*/ 216 w 317"/>
                <a:gd name="T23" fmla="*/ 23 h 179"/>
                <a:gd name="T24" fmla="*/ 216 w 317"/>
                <a:gd name="T25" fmla="*/ 23 h 179"/>
                <a:gd name="T26" fmla="*/ 316 w 317"/>
                <a:gd name="T27" fmla="*/ 96 h 179"/>
                <a:gd name="T28" fmla="*/ 316 w 317"/>
                <a:gd name="T29" fmla="*/ 96 h 179"/>
                <a:gd name="T30" fmla="*/ 188 w 317"/>
                <a:gd name="T31" fmla="*/ 141 h 179"/>
                <a:gd name="T32" fmla="*/ 188 w 317"/>
                <a:gd name="T33" fmla="*/ 141 h 179"/>
                <a:gd name="T34" fmla="*/ 124 w 317"/>
                <a:gd name="T35" fmla="*/ 151 h 179"/>
                <a:gd name="T36" fmla="*/ 27 w 317"/>
                <a:gd name="T37" fmla="*/ 17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7" h="179">
                  <a:moveTo>
                    <a:pt x="27" y="178"/>
                  </a:moveTo>
                  <a:lnTo>
                    <a:pt x="27" y="178"/>
                  </a:lnTo>
                  <a:cubicBezTo>
                    <a:pt x="5" y="178"/>
                    <a:pt x="0" y="169"/>
                    <a:pt x="0" y="151"/>
                  </a:cubicBezTo>
                  <a:lnTo>
                    <a:pt x="0" y="151"/>
                  </a:lnTo>
                  <a:cubicBezTo>
                    <a:pt x="0" y="121"/>
                    <a:pt x="21" y="121"/>
                    <a:pt x="33" y="110"/>
                  </a:cubicBezTo>
                  <a:lnTo>
                    <a:pt x="33" y="110"/>
                  </a:lnTo>
                  <a:cubicBezTo>
                    <a:pt x="74" y="68"/>
                    <a:pt x="91" y="0"/>
                    <a:pt x="164" y="0"/>
                  </a:cubicBezTo>
                  <a:lnTo>
                    <a:pt x="188" y="0"/>
                  </a:lnTo>
                  <a:lnTo>
                    <a:pt x="188" y="0"/>
                  </a:lnTo>
                  <a:cubicBezTo>
                    <a:pt x="188" y="26"/>
                    <a:pt x="197" y="26"/>
                    <a:pt x="182" y="41"/>
                  </a:cubicBezTo>
                  <a:lnTo>
                    <a:pt x="182" y="41"/>
                  </a:lnTo>
                  <a:cubicBezTo>
                    <a:pt x="195" y="37"/>
                    <a:pt x="203" y="23"/>
                    <a:pt x="216" y="23"/>
                  </a:cubicBezTo>
                  <a:lnTo>
                    <a:pt x="216" y="23"/>
                  </a:lnTo>
                  <a:cubicBezTo>
                    <a:pt x="241" y="23"/>
                    <a:pt x="316" y="70"/>
                    <a:pt x="316" y="96"/>
                  </a:cubicBezTo>
                  <a:lnTo>
                    <a:pt x="316" y="96"/>
                  </a:lnTo>
                  <a:cubicBezTo>
                    <a:pt x="316" y="140"/>
                    <a:pt x="221" y="147"/>
                    <a:pt x="188" y="141"/>
                  </a:cubicBezTo>
                  <a:lnTo>
                    <a:pt x="188" y="141"/>
                  </a:lnTo>
                  <a:cubicBezTo>
                    <a:pt x="180" y="141"/>
                    <a:pt x="124" y="151"/>
                    <a:pt x="124" y="151"/>
                  </a:cubicBezTo>
                  <a:lnTo>
                    <a:pt x="27" y="178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5" name="Freeform 73">
              <a:extLst>
                <a:ext uri="{FF2B5EF4-FFF2-40B4-BE49-F238E27FC236}">
                  <a16:creationId xmlns:a16="http://schemas.microsoft.com/office/drawing/2014/main" id="{DDEF05D5-4AB2-624D-9BAD-913962D6CF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6048" y="3283547"/>
              <a:ext cx="80648" cy="43205"/>
            </a:xfrm>
            <a:custGeom>
              <a:avLst/>
              <a:gdLst>
                <a:gd name="T0" fmla="*/ 50 w 123"/>
                <a:gd name="T1" fmla="*/ 0 h 65"/>
                <a:gd name="T2" fmla="*/ 50 w 123"/>
                <a:gd name="T3" fmla="*/ 0 h 65"/>
                <a:gd name="T4" fmla="*/ 122 w 123"/>
                <a:gd name="T5" fmla="*/ 27 h 65"/>
                <a:gd name="T6" fmla="*/ 122 w 123"/>
                <a:gd name="T7" fmla="*/ 27 h 65"/>
                <a:gd name="T8" fmla="*/ 37 w 123"/>
                <a:gd name="T9" fmla="*/ 64 h 65"/>
                <a:gd name="T10" fmla="*/ 37 w 123"/>
                <a:gd name="T11" fmla="*/ 64 h 65"/>
                <a:gd name="T12" fmla="*/ 0 w 123"/>
                <a:gd name="T13" fmla="*/ 18 h 65"/>
                <a:gd name="T14" fmla="*/ 0 w 123"/>
                <a:gd name="T15" fmla="*/ 18 h 65"/>
                <a:gd name="T16" fmla="*/ 50 w 123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65">
                  <a:moveTo>
                    <a:pt x="50" y="0"/>
                  </a:moveTo>
                  <a:lnTo>
                    <a:pt x="50" y="0"/>
                  </a:lnTo>
                  <a:cubicBezTo>
                    <a:pt x="58" y="0"/>
                    <a:pt x="110" y="23"/>
                    <a:pt x="122" y="27"/>
                  </a:cubicBezTo>
                  <a:lnTo>
                    <a:pt x="122" y="27"/>
                  </a:lnTo>
                  <a:cubicBezTo>
                    <a:pt x="119" y="61"/>
                    <a:pt x="58" y="64"/>
                    <a:pt x="37" y="64"/>
                  </a:cubicBezTo>
                  <a:lnTo>
                    <a:pt x="37" y="64"/>
                  </a:lnTo>
                  <a:cubicBezTo>
                    <a:pt x="25" y="64"/>
                    <a:pt x="0" y="34"/>
                    <a:pt x="0" y="18"/>
                  </a:cubicBezTo>
                  <a:lnTo>
                    <a:pt x="0" y="18"/>
                  </a:lnTo>
                  <a:cubicBezTo>
                    <a:pt x="0" y="0"/>
                    <a:pt x="38" y="0"/>
                    <a:pt x="50" y="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6" name="Freeform 74">
              <a:extLst>
                <a:ext uri="{FF2B5EF4-FFF2-40B4-BE49-F238E27FC236}">
                  <a16:creationId xmlns:a16="http://schemas.microsoft.com/office/drawing/2014/main" id="{CE39768F-E12A-8141-B66D-CC3F595676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11972" y="3191377"/>
              <a:ext cx="285149" cy="201621"/>
            </a:xfrm>
            <a:custGeom>
              <a:avLst/>
              <a:gdLst>
                <a:gd name="T0" fmla="*/ 412 w 438"/>
                <a:gd name="T1" fmla="*/ 281 h 309"/>
                <a:gd name="T2" fmla="*/ 412 w 438"/>
                <a:gd name="T3" fmla="*/ 281 h 309"/>
                <a:gd name="T4" fmla="*/ 376 w 438"/>
                <a:gd name="T5" fmla="*/ 308 h 309"/>
                <a:gd name="T6" fmla="*/ 376 w 438"/>
                <a:gd name="T7" fmla="*/ 308 h 309"/>
                <a:gd name="T8" fmla="*/ 170 w 438"/>
                <a:gd name="T9" fmla="*/ 275 h 309"/>
                <a:gd name="T10" fmla="*/ 170 w 438"/>
                <a:gd name="T11" fmla="*/ 275 h 309"/>
                <a:gd name="T12" fmla="*/ 74 w 438"/>
                <a:gd name="T13" fmla="*/ 209 h 309"/>
                <a:gd name="T14" fmla="*/ 74 w 438"/>
                <a:gd name="T15" fmla="*/ 209 h 309"/>
                <a:gd name="T16" fmla="*/ 211 w 438"/>
                <a:gd name="T17" fmla="*/ 150 h 309"/>
                <a:gd name="T18" fmla="*/ 211 w 438"/>
                <a:gd name="T19" fmla="*/ 150 h 309"/>
                <a:gd name="T20" fmla="*/ 134 w 438"/>
                <a:gd name="T21" fmla="*/ 147 h 309"/>
                <a:gd name="T22" fmla="*/ 134 w 438"/>
                <a:gd name="T23" fmla="*/ 147 h 309"/>
                <a:gd name="T24" fmla="*/ 0 w 438"/>
                <a:gd name="T25" fmla="*/ 109 h 309"/>
                <a:gd name="T26" fmla="*/ 0 w 438"/>
                <a:gd name="T27" fmla="*/ 109 h 309"/>
                <a:gd name="T28" fmla="*/ 193 w 438"/>
                <a:gd name="T29" fmla="*/ 0 h 309"/>
                <a:gd name="T30" fmla="*/ 193 w 438"/>
                <a:gd name="T31" fmla="*/ 0 h 309"/>
                <a:gd name="T32" fmla="*/ 303 w 438"/>
                <a:gd name="T33" fmla="*/ 71 h 309"/>
                <a:gd name="T34" fmla="*/ 303 w 438"/>
                <a:gd name="T35" fmla="*/ 71 h 309"/>
                <a:gd name="T36" fmla="*/ 280 w 438"/>
                <a:gd name="T37" fmla="*/ 73 h 309"/>
                <a:gd name="T38" fmla="*/ 280 w 438"/>
                <a:gd name="T39" fmla="*/ 73 h 309"/>
                <a:gd name="T40" fmla="*/ 280 w 438"/>
                <a:gd name="T41" fmla="*/ 110 h 309"/>
                <a:gd name="T42" fmla="*/ 280 w 438"/>
                <a:gd name="T43" fmla="*/ 110 h 309"/>
                <a:gd name="T44" fmla="*/ 246 w 438"/>
                <a:gd name="T45" fmla="*/ 143 h 309"/>
                <a:gd name="T46" fmla="*/ 246 w 438"/>
                <a:gd name="T47" fmla="*/ 143 h 309"/>
                <a:gd name="T48" fmla="*/ 285 w 438"/>
                <a:gd name="T49" fmla="*/ 143 h 309"/>
                <a:gd name="T50" fmla="*/ 285 w 438"/>
                <a:gd name="T51" fmla="*/ 143 h 309"/>
                <a:gd name="T52" fmla="*/ 339 w 438"/>
                <a:gd name="T53" fmla="*/ 161 h 309"/>
                <a:gd name="T54" fmla="*/ 376 w 438"/>
                <a:gd name="T55" fmla="*/ 161 h 309"/>
                <a:gd name="T56" fmla="*/ 376 w 438"/>
                <a:gd name="T57" fmla="*/ 161 h 309"/>
                <a:gd name="T58" fmla="*/ 437 w 438"/>
                <a:gd name="T59" fmla="*/ 199 h 309"/>
                <a:gd name="T60" fmla="*/ 437 w 438"/>
                <a:gd name="T61" fmla="*/ 199 h 309"/>
                <a:gd name="T62" fmla="*/ 422 w 438"/>
                <a:gd name="T63" fmla="*/ 235 h 309"/>
                <a:gd name="T64" fmla="*/ 422 w 438"/>
                <a:gd name="T65" fmla="*/ 235 h 309"/>
                <a:gd name="T66" fmla="*/ 385 w 438"/>
                <a:gd name="T67" fmla="*/ 258 h 309"/>
                <a:gd name="T68" fmla="*/ 385 w 438"/>
                <a:gd name="T69" fmla="*/ 258 h 309"/>
                <a:gd name="T70" fmla="*/ 412 w 438"/>
                <a:gd name="T71" fmla="*/ 2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09">
                  <a:moveTo>
                    <a:pt x="412" y="281"/>
                  </a:moveTo>
                  <a:lnTo>
                    <a:pt x="412" y="281"/>
                  </a:lnTo>
                  <a:cubicBezTo>
                    <a:pt x="412" y="297"/>
                    <a:pt x="392" y="308"/>
                    <a:pt x="376" y="308"/>
                  </a:cubicBezTo>
                  <a:lnTo>
                    <a:pt x="376" y="308"/>
                  </a:lnTo>
                  <a:cubicBezTo>
                    <a:pt x="295" y="308"/>
                    <a:pt x="237" y="275"/>
                    <a:pt x="170" y="275"/>
                  </a:cubicBezTo>
                  <a:lnTo>
                    <a:pt x="170" y="275"/>
                  </a:lnTo>
                  <a:cubicBezTo>
                    <a:pt x="149" y="275"/>
                    <a:pt x="101" y="224"/>
                    <a:pt x="74" y="209"/>
                  </a:cubicBezTo>
                  <a:lnTo>
                    <a:pt x="74" y="209"/>
                  </a:lnTo>
                  <a:cubicBezTo>
                    <a:pt x="134" y="189"/>
                    <a:pt x="152" y="169"/>
                    <a:pt x="211" y="150"/>
                  </a:cubicBezTo>
                  <a:lnTo>
                    <a:pt x="211" y="150"/>
                  </a:lnTo>
                  <a:cubicBezTo>
                    <a:pt x="193" y="150"/>
                    <a:pt x="145" y="147"/>
                    <a:pt x="134" y="147"/>
                  </a:cubicBezTo>
                  <a:lnTo>
                    <a:pt x="134" y="147"/>
                  </a:lnTo>
                  <a:cubicBezTo>
                    <a:pt x="82" y="147"/>
                    <a:pt x="48" y="132"/>
                    <a:pt x="0" y="109"/>
                  </a:cubicBezTo>
                  <a:lnTo>
                    <a:pt x="0" y="109"/>
                  </a:lnTo>
                  <a:cubicBezTo>
                    <a:pt x="77" y="86"/>
                    <a:pt x="105" y="0"/>
                    <a:pt x="193" y="0"/>
                  </a:cubicBezTo>
                  <a:lnTo>
                    <a:pt x="193" y="0"/>
                  </a:lnTo>
                  <a:cubicBezTo>
                    <a:pt x="244" y="0"/>
                    <a:pt x="273" y="50"/>
                    <a:pt x="303" y="71"/>
                  </a:cubicBezTo>
                  <a:lnTo>
                    <a:pt x="303" y="71"/>
                  </a:lnTo>
                  <a:cubicBezTo>
                    <a:pt x="285" y="79"/>
                    <a:pt x="288" y="76"/>
                    <a:pt x="280" y="73"/>
                  </a:cubicBezTo>
                  <a:lnTo>
                    <a:pt x="280" y="73"/>
                  </a:lnTo>
                  <a:cubicBezTo>
                    <a:pt x="283" y="96"/>
                    <a:pt x="280" y="101"/>
                    <a:pt x="280" y="110"/>
                  </a:cubicBezTo>
                  <a:lnTo>
                    <a:pt x="280" y="110"/>
                  </a:lnTo>
                  <a:cubicBezTo>
                    <a:pt x="280" y="121"/>
                    <a:pt x="260" y="136"/>
                    <a:pt x="246" y="143"/>
                  </a:cubicBezTo>
                  <a:lnTo>
                    <a:pt x="246" y="143"/>
                  </a:lnTo>
                  <a:cubicBezTo>
                    <a:pt x="264" y="138"/>
                    <a:pt x="270" y="143"/>
                    <a:pt x="285" y="143"/>
                  </a:cubicBezTo>
                  <a:lnTo>
                    <a:pt x="285" y="143"/>
                  </a:lnTo>
                  <a:cubicBezTo>
                    <a:pt x="306" y="143"/>
                    <a:pt x="317" y="161"/>
                    <a:pt x="339" y="161"/>
                  </a:cubicBezTo>
                  <a:lnTo>
                    <a:pt x="376" y="161"/>
                  </a:lnTo>
                  <a:lnTo>
                    <a:pt x="376" y="161"/>
                  </a:lnTo>
                  <a:cubicBezTo>
                    <a:pt x="412" y="161"/>
                    <a:pt x="412" y="174"/>
                    <a:pt x="437" y="199"/>
                  </a:cubicBezTo>
                  <a:lnTo>
                    <a:pt x="437" y="199"/>
                  </a:lnTo>
                  <a:cubicBezTo>
                    <a:pt x="418" y="212"/>
                    <a:pt x="422" y="217"/>
                    <a:pt x="422" y="235"/>
                  </a:cubicBezTo>
                  <a:lnTo>
                    <a:pt x="422" y="235"/>
                  </a:lnTo>
                  <a:cubicBezTo>
                    <a:pt x="422" y="253"/>
                    <a:pt x="396" y="255"/>
                    <a:pt x="385" y="258"/>
                  </a:cubicBezTo>
                  <a:lnTo>
                    <a:pt x="385" y="258"/>
                  </a:lnTo>
                  <a:cubicBezTo>
                    <a:pt x="398" y="262"/>
                    <a:pt x="412" y="268"/>
                    <a:pt x="412" y="281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7" name="Freeform 75">
              <a:extLst>
                <a:ext uri="{FF2B5EF4-FFF2-40B4-BE49-F238E27FC236}">
                  <a16:creationId xmlns:a16="http://schemas.microsoft.com/office/drawing/2014/main" id="{D57F11F5-074F-8E46-9EA4-489023ACD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32945" y="3511091"/>
              <a:ext cx="37443" cy="25922"/>
            </a:xfrm>
            <a:custGeom>
              <a:avLst/>
              <a:gdLst>
                <a:gd name="T0" fmla="*/ 0 w 56"/>
                <a:gd name="T1" fmla="*/ 18 h 38"/>
                <a:gd name="T2" fmla="*/ 0 w 56"/>
                <a:gd name="T3" fmla="*/ 18 h 38"/>
                <a:gd name="T4" fmla="*/ 27 w 56"/>
                <a:gd name="T5" fmla="*/ 0 h 38"/>
                <a:gd name="T6" fmla="*/ 55 w 56"/>
                <a:gd name="T7" fmla="*/ 0 h 38"/>
                <a:gd name="T8" fmla="*/ 55 w 56"/>
                <a:gd name="T9" fmla="*/ 0 h 38"/>
                <a:gd name="T10" fmla="*/ 18 w 56"/>
                <a:gd name="T11" fmla="*/ 37 h 38"/>
                <a:gd name="T12" fmla="*/ 18 w 56"/>
                <a:gd name="T13" fmla="*/ 37 h 38"/>
                <a:gd name="T14" fmla="*/ 0 w 56"/>
                <a:gd name="T15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8">
                  <a:moveTo>
                    <a:pt x="0" y="18"/>
                  </a:moveTo>
                  <a:lnTo>
                    <a:pt x="0" y="18"/>
                  </a:lnTo>
                  <a:cubicBezTo>
                    <a:pt x="11" y="12"/>
                    <a:pt x="20" y="6"/>
                    <a:pt x="27" y="0"/>
                  </a:cubicBezTo>
                  <a:lnTo>
                    <a:pt x="55" y="0"/>
                  </a:lnTo>
                  <a:lnTo>
                    <a:pt x="55" y="0"/>
                  </a:lnTo>
                  <a:cubicBezTo>
                    <a:pt x="51" y="26"/>
                    <a:pt x="40" y="37"/>
                    <a:pt x="18" y="37"/>
                  </a:cubicBezTo>
                  <a:lnTo>
                    <a:pt x="18" y="37"/>
                  </a:lnTo>
                  <a:cubicBezTo>
                    <a:pt x="9" y="37"/>
                    <a:pt x="2" y="27"/>
                    <a:pt x="0" y="18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8" name="Freeform 76">
              <a:extLst>
                <a:ext uri="{FF2B5EF4-FFF2-40B4-BE49-F238E27FC236}">
                  <a16:creationId xmlns:a16="http://schemas.microsoft.com/office/drawing/2014/main" id="{10EF0816-A1D5-D140-A91E-F963ABF9A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54367" y="3200019"/>
              <a:ext cx="48964" cy="17282"/>
            </a:xfrm>
            <a:custGeom>
              <a:avLst/>
              <a:gdLst>
                <a:gd name="T0" fmla="*/ 73 w 74"/>
                <a:gd name="T1" fmla="*/ 15 h 25"/>
                <a:gd name="T2" fmla="*/ 73 w 74"/>
                <a:gd name="T3" fmla="*/ 15 h 25"/>
                <a:gd name="T4" fmla="*/ 0 w 74"/>
                <a:gd name="T5" fmla="*/ 0 h 25"/>
                <a:gd name="T6" fmla="*/ 68 w 74"/>
                <a:gd name="T7" fmla="*/ 0 h 25"/>
                <a:gd name="T8" fmla="*/ 73 w 74"/>
                <a:gd name="T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25">
                  <a:moveTo>
                    <a:pt x="73" y="15"/>
                  </a:moveTo>
                  <a:lnTo>
                    <a:pt x="73" y="15"/>
                  </a:lnTo>
                  <a:cubicBezTo>
                    <a:pt x="46" y="19"/>
                    <a:pt x="11" y="24"/>
                    <a:pt x="0" y="0"/>
                  </a:cubicBezTo>
                  <a:lnTo>
                    <a:pt x="68" y="0"/>
                  </a:lnTo>
                  <a:lnTo>
                    <a:pt x="73" y="15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49" name="Freeform 77">
              <a:extLst>
                <a:ext uri="{FF2B5EF4-FFF2-40B4-BE49-F238E27FC236}">
                  <a16:creationId xmlns:a16="http://schemas.microsoft.com/office/drawing/2014/main" id="{A076BBDD-7752-3D41-8F3B-3325F1384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18906" y="3427562"/>
              <a:ext cx="40324" cy="20163"/>
            </a:xfrm>
            <a:custGeom>
              <a:avLst/>
              <a:gdLst>
                <a:gd name="T0" fmla="*/ 60 w 61"/>
                <a:gd name="T1" fmla="*/ 2 h 31"/>
                <a:gd name="T2" fmla="*/ 60 w 61"/>
                <a:gd name="T3" fmla="*/ 2 h 31"/>
                <a:gd name="T4" fmla="*/ 36 w 61"/>
                <a:gd name="T5" fmla="*/ 30 h 31"/>
                <a:gd name="T6" fmla="*/ 36 w 61"/>
                <a:gd name="T7" fmla="*/ 30 h 31"/>
                <a:gd name="T8" fmla="*/ 0 w 61"/>
                <a:gd name="T9" fmla="*/ 8 h 31"/>
                <a:gd name="T10" fmla="*/ 0 w 61"/>
                <a:gd name="T11" fmla="*/ 8 h 31"/>
                <a:gd name="T12" fmla="*/ 60 w 61"/>
                <a:gd name="T13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31">
                  <a:moveTo>
                    <a:pt x="60" y="2"/>
                  </a:moveTo>
                  <a:lnTo>
                    <a:pt x="60" y="2"/>
                  </a:lnTo>
                  <a:cubicBezTo>
                    <a:pt x="59" y="15"/>
                    <a:pt x="49" y="30"/>
                    <a:pt x="36" y="30"/>
                  </a:cubicBezTo>
                  <a:lnTo>
                    <a:pt x="36" y="30"/>
                  </a:lnTo>
                  <a:cubicBezTo>
                    <a:pt x="15" y="30"/>
                    <a:pt x="5" y="16"/>
                    <a:pt x="0" y="8"/>
                  </a:cubicBezTo>
                  <a:lnTo>
                    <a:pt x="0" y="8"/>
                  </a:lnTo>
                  <a:cubicBezTo>
                    <a:pt x="39" y="0"/>
                    <a:pt x="44" y="10"/>
                    <a:pt x="60" y="2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0" name="Freeform 78">
              <a:extLst>
                <a:ext uri="{FF2B5EF4-FFF2-40B4-BE49-F238E27FC236}">
                  <a16:creationId xmlns:a16="http://schemas.microsoft.com/office/drawing/2014/main" id="{EFC8A1BA-21E3-1C4F-B812-BE39E47083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3242" y="3228822"/>
              <a:ext cx="241945" cy="74888"/>
            </a:xfrm>
            <a:custGeom>
              <a:avLst/>
              <a:gdLst>
                <a:gd name="T0" fmla="*/ 315 w 372"/>
                <a:gd name="T1" fmla="*/ 55 h 113"/>
                <a:gd name="T2" fmla="*/ 315 w 372"/>
                <a:gd name="T3" fmla="*/ 55 h 113"/>
                <a:gd name="T4" fmla="*/ 238 w 372"/>
                <a:gd name="T5" fmla="*/ 70 h 113"/>
                <a:gd name="T6" fmla="*/ 238 w 372"/>
                <a:gd name="T7" fmla="*/ 70 h 113"/>
                <a:gd name="T8" fmla="*/ 202 w 372"/>
                <a:gd name="T9" fmla="*/ 110 h 113"/>
                <a:gd name="T10" fmla="*/ 202 w 372"/>
                <a:gd name="T11" fmla="*/ 110 h 113"/>
                <a:gd name="T12" fmla="*/ 181 w 372"/>
                <a:gd name="T13" fmla="*/ 92 h 113"/>
                <a:gd name="T14" fmla="*/ 183 w 372"/>
                <a:gd name="T15" fmla="*/ 92 h 113"/>
                <a:gd name="T16" fmla="*/ 183 w 372"/>
                <a:gd name="T17" fmla="*/ 92 h 113"/>
                <a:gd name="T18" fmla="*/ 132 w 372"/>
                <a:gd name="T19" fmla="*/ 70 h 113"/>
                <a:gd name="T20" fmla="*/ 132 w 372"/>
                <a:gd name="T21" fmla="*/ 70 h 113"/>
                <a:gd name="T22" fmla="*/ 170 w 372"/>
                <a:gd name="T23" fmla="*/ 55 h 113"/>
                <a:gd name="T24" fmla="*/ 170 w 372"/>
                <a:gd name="T25" fmla="*/ 55 h 113"/>
                <a:gd name="T26" fmla="*/ 137 w 372"/>
                <a:gd name="T27" fmla="*/ 52 h 113"/>
                <a:gd name="T28" fmla="*/ 137 w 372"/>
                <a:gd name="T29" fmla="*/ 52 h 113"/>
                <a:gd name="T30" fmla="*/ 165 w 372"/>
                <a:gd name="T31" fmla="*/ 35 h 113"/>
                <a:gd name="T32" fmla="*/ 165 w 372"/>
                <a:gd name="T33" fmla="*/ 35 h 113"/>
                <a:gd name="T34" fmla="*/ 123 w 372"/>
                <a:gd name="T35" fmla="*/ 18 h 113"/>
                <a:gd name="T36" fmla="*/ 123 w 372"/>
                <a:gd name="T37" fmla="*/ 18 h 113"/>
                <a:gd name="T38" fmla="*/ 40 w 372"/>
                <a:gd name="T39" fmla="*/ 42 h 113"/>
                <a:gd name="T40" fmla="*/ 40 w 372"/>
                <a:gd name="T41" fmla="*/ 42 h 113"/>
                <a:gd name="T42" fmla="*/ 0 w 372"/>
                <a:gd name="T43" fmla="*/ 35 h 113"/>
                <a:gd name="T44" fmla="*/ 0 w 372"/>
                <a:gd name="T45" fmla="*/ 35 h 113"/>
                <a:gd name="T46" fmla="*/ 141 w 372"/>
                <a:gd name="T47" fmla="*/ 0 h 113"/>
                <a:gd name="T48" fmla="*/ 141 w 372"/>
                <a:gd name="T49" fmla="*/ 0 h 113"/>
                <a:gd name="T50" fmla="*/ 247 w 372"/>
                <a:gd name="T51" fmla="*/ 24 h 113"/>
                <a:gd name="T52" fmla="*/ 247 w 372"/>
                <a:gd name="T53" fmla="*/ 24 h 113"/>
                <a:gd name="T54" fmla="*/ 315 w 372"/>
                <a:gd name="T55" fmla="*/ 0 h 113"/>
                <a:gd name="T56" fmla="*/ 315 w 372"/>
                <a:gd name="T57" fmla="*/ 0 h 113"/>
                <a:gd name="T58" fmla="*/ 371 w 372"/>
                <a:gd name="T59" fmla="*/ 18 h 113"/>
                <a:gd name="T60" fmla="*/ 371 w 372"/>
                <a:gd name="T61" fmla="*/ 18 h 113"/>
                <a:gd name="T62" fmla="*/ 321 w 372"/>
                <a:gd name="T63" fmla="*/ 52 h 113"/>
                <a:gd name="T64" fmla="*/ 321 w 372"/>
                <a:gd name="T65" fmla="*/ 52 h 113"/>
                <a:gd name="T66" fmla="*/ 302 w 372"/>
                <a:gd name="T67" fmla="*/ 52 h 113"/>
                <a:gd name="T68" fmla="*/ 302 w 372"/>
                <a:gd name="T69" fmla="*/ 70 h 113"/>
                <a:gd name="T70" fmla="*/ 315 w 372"/>
                <a:gd name="T71" fmla="*/ 5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2" h="113">
                  <a:moveTo>
                    <a:pt x="315" y="55"/>
                  </a:moveTo>
                  <a:lnTo>
                    <a:pt x="315" y="55"/>
                  </a:lnTo>
                  <a:cubicBezTo>
                    <a:pt x="284" y="79"/>
                    <a:pt x="268" y="54"/>
                    <a:pt x="238" y="70"/>
                  </a:cubicBezTo>
                  <a:lnTo>
                    <a:pt x="238" y="70"/>
                  </a:lnTo>
                  <a:cubicBezTo>
                    <a:pt x="222" y="79"/>
                    <a:pt x="218" y="112"/>
                    <a:pt x="202" y="110"/>
                  </a:cubicBezTo>
                  <a:lnTo>
                    <a:pt x="202" y="110"/>
                  </a:lnTo>
                  <a:cubicBezTo>
                    <a:pt x="192" y="108"/>
                    <a:pt x="187" y="99"/>
                    <a:pt x="181" y="92"/>
                  </a:cubicBezTo>
                  <a:lnTo>
                    <a:pt x="183" y="92"/>
                  </a:lnTo>
                  <a:lnTo>
                    <a:pt x="183" y="92"/>
                  </a:lnTo>
                  <a:cubicBezTo>
                    <a:pt x="156" y="92"/>
                    <a:pt x="137" y="86"/>
                    <a:pt x="132" y="70"/>
                  </a:cubicBezTo>
                  <a:lnTo>
                    <a:pt x="132" y="70"/>
                  </a:lnTo>
                  <a:cubicBezTo>
                    <a:pt x="147" y="62"/>
                    <a:pt x="156" y="59"/>
                    <a:pt x="170" y="55"/>
                  </a:cubicBezTo>
                  <a:lnTo>
                    <a:pt x="170" y="55"/>
                  </a:lnTo>
                  <a:cubicBezTo>
                    <a:pt x="154" y="55"/>
                    <a:pt x="145" y="54"/>
                    <a:pt x="137" y="52"/>
                  </a:cubicBezTo>
                  <a:lnTo>
                    <a:pt x="137" y="52"/>
                  </a:lnTo>
                  <a:cubicBezTo>
                    <a:pt x="147" y="46"/>
                    <a:pt x="156" y="42"/>
                    <a:pt x="165" y="35"/>
                  </a:cubicBezTo>
                  <a:lnTo>
                    <a:pt x="165" y="35"/>
                  </a:lnTo>
                  <a:cubicBezTo>
                    <a:pt x="149" y="29"/>
                    <a:pt x="140" y="18"/>
                    <a:pt x="123" y="18"/>
                  </a:cubicBezTo>
                  <a:lnTo>
                    <a:pt x="123" y="18"/>
                  </a:lnTo>
                  <a:cubicBezTo>
                    <a:pt x="103" y="18"/>
                    <a:pt x="68" y="42"/>
                    <a:pt x="40" y="42"/>
                  </a:cubicBezTo>
                  <a:lnTo>
                    <a:pt x="40" y="42"/>
                  </a:lnTo>
                  <a:cubicBezTo>
                    <a:pt x="26" y="42"/>
                    <a:pt x="14" y="37"/>
                    <a:pt x="0" y="35"/>
                  </a:cubicBezTo>
                  <a:lnTo>
                    <a:pt x="0" y="35"/>
                  </a:lnTo>
                  <a:cubicBezTo>
                    <a:pt x="16" y="6"/>
                    <a:pt x="103" y="0"/>
                    <a:pt x="141" y="0"/>
                  </a:cubicBezTo>
                  <a:lnTo>
                    <a:pt x="141" y="0"/>
                  </a:lnTo>
                  <a:cubicBezTo>
                    <a:pt x="187" y="0"/>
                    <a:pt x="212" y="24"/>
                    <a:pt x="247" y="24"/>
                  </a:cubicBezTo>
                  <a:lnTo>
                    <a:pt x="247" y="24"/>
                  </a:lnTo>
                  <a:cubicBezTo>
                    <a:pt x="275" y="24"/>
                    <a:pt x="288" y="0"/>
                    <a:pt x="315" y="0"/>
                  </a:cubicBezTo>
                  <a:lnTo>
                    <a:pt x="315" y="0"/>
                  </a:lnTo>
                  <a:cubicBezTo>
                    <a:pt x="337" y="0"/>
                    <a:pt x="359" y="15"/>
                    <a:pt x="371" y="18"/>
                  </a:cubicBezTo>
                  <a:lnTo>
                    <a:pt x="371" y="18"/>
                  </a:lnTo>
                  <a:cubicBezTo>
                    <a:pt x="366" y="52"/>
                    <a:pt x="343" y="35"/>
                    <a:pt x="321" y="52"/>
                  </a:cubicBezTo>
                  <a:lnTo>
                    <a:pt x="321" y="52"/>
                  </a:lnTo>
                  <a:cubicBezTo>
                    <a:pt x="315" y="54"/>
                    <a:pt x="308" y="54"/>
                    <a:pt x="302" y="52"/>
                  </a:cubicBezTo>
                  <a:lnTo>
                    <a:pt x="302" y="70"/>
                  </a:lnTo>
                  <a:lnTo>
                    <a:pt x="315" y="55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1" name="Freeform 79">
              <a:extLst>
                <a:ext uri="{FF2B5EF4-FFF2-40B4-BE49-F238E27FC236}">
                  <a16:creationId xmlns:a16="http://schemas.microsoft.com/office/drawing/2014/main" id="{D4B40C57-AACE-984F-9B23-CC282C265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21149" y="3179855"/>
              <a:ext cx="83528" cy="54727"/>
            </a:xfrm>
            <a:custGeom>
              <a:avLst/>
              <a:gdLst>
                <a:gd name="T0" fmla="*/ 31 w 130"/>
                <a:gd name="T1" fmla="*/ 83 h 84"/>
                <a:gd name="T2" fmla="*/ 31 w 130"/>
                <a:gd name="T3" fmla="*/ 83 h 84"/>
                <a:gd name="T4" fmla="*/ 0 w 130"/>
                <a:gd name="T5" fmla="*/ 55 h 84"/>
                <a:gd name="T6" fmla="*/ 0 w 130"/>
                <a:gd name="T7" fmla="*/ 55 h 84"/>
                <a:gd name="T8" fmla="*/ 103 w 130"/>
                <a:gd name="T9" fmla="*/ 0 h 84"/>
                <a:gd name="T10" fmla="*/ 129 w 130"/>
                <a:gd name="T11" fmla="*/ 58 h 84"/>
                <a:gd name="T12" fmla="*/ 129 w 130"/>
                <a:gd name="T13" fmla="*/ 58 h 84"/>
                <a:gd name="T14" fmla="*/ 31 w 130"/>
                <a:gd name="T15" fmla="*/ 8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84">
                  <a:moveTo>
                    <a:pt x="31" y="83"/>
                  </a:moveTo>
                  <a:lnTo>
                    <a:pt x="31" y="83"/>
                  </a:lnTo>
                  <a:cubicBezTo>
                    <a:pt x="9" y="83"/>
                    <a:pt x="0" y="73"/>
                    <a:pt x="0" y="55"/>
                  </a:cubicBezTo>
                  <a:lnTo>
                    <a:pt x="0" y="55"/>
                  </a:lnTo>
                  <a:cubicBezTo>
                    <a:pt x="0" y="29"/>
                    <a:pt x="75" y="0"/>
                    <a:pt x="103" y="0"/>
                  </a:cubicBezTo>
                  <a:lnTo>
                    <a:pt x="129" y="58"/>
                  </a:lnTo>
                  <a:lnTo>
                    <a:pt x="129" y="58"/>
                  </a:lnTo>
                  <a:cubicBezTo>
                    <a:pt x="116" y="68"/>
                    <a:pt x="44" y="83"/>
                    <a:pt x="31" y="83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2" name="Freeform 80">
              <a:extLst>
                <a:ext uri="{FF2B5EF4-FFF2-40B4-BE49-F238E27FC236}">
                  <a16:creationId xmlns:a16="http://schemas.microsoft.com/office/drawing/2014/main" id="{35EC6534-EF89-0143-A2CB-F1F1E9995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08815" y="3217300"/>
              <a:ext cx="92170" cy="54725"/>
            </a:xfrm>
            <a:custGeom>
              <a:avLst/>
              <a:gdLst>
                <a:gd name="T0" fmla="*/ 138 w 141"/>
                <a:gd name="T1" fmla="*/ 14 h 83"/>
                <a:gd name="T2" fmla="*/ 138 w 141"/>
                <a:gd name="T3" fmla="*/ 14 h 83"/>
                <a:gd name="T4" fmla="*/ 138 w 141"/>
                <a:gd name="T5" fmla="*/ 42 h 83"/>
                <a:gd name="T6" fmla="*/ 138 w 141"/>
                <a:gd name="T7" fmla="*/ 42 h 83"/>
                <a:gd name="T8" fmla="*/ 92 w 141"/>
                <a:gd name="T9" fmla="*/ 51 h 83"/>
                <a:gd name="T10" fmla="*/ 101 w 141"/>
                <a:gd name="T11" fmla="*/ 73 h 83"/>
                <a:gd name="T12" fmla="*/ 101 w 141"/>
                <a:gd name="T13" fmla="*/ 73 h 83"/>
                <a:gd name="T14" fmla="*/ 0 w 141"/>
                <a:gd name="T15" fmla="*/ 73 h 83"/>
                <a:gd name="T16" fmla="*/ 0 w 141"/>
                <a:gd name="T17" fmla="*/ 73 h 83"/>
                <a:gd name="T18" fmla="*/ 37 w 141"/>
                <a:gd name="T19" fmla="*/ 24 h 83"/>
                <a:gd name="T20" fmla="*/ 37 w 141"/>
                <a:gd name="T21" fmla="*/ 24 h 83"/>
                <a:gd name="T22" fmla="*/ 37 w 141"/>
                <a:gd name="T23" fmla="*/ 0 h 83"/>
                <a:gd name="T24" fmla="*/ 98 w 141"/>
                <a:gd name="T25" fmla="*/ 0 h 83"/>
                <a:gd name="T26" fmla="*/ 98 w 141"/>
                <a:gd name="T27" fmla="*/ 0 h 83"/>
                <a:gd name="T28" fmla="*/ 79 w 141"/>
                <a:gd name="T29" fmla="*/ 14 h 83"/>
                <a:gd name="T30" fmla="*/ 79 w 141"/>
                <a:gd name="T31" fmla="*/ 14 h 83"/>
                <a:gd name="T32" fmla="*/ 138 w 141"/>
                <a:gd name="T33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1" h="83">
                  <a:moveTo>
                    <a:pt x="138" y="14"/>
                  </a:moveTo>
                  <a:lnTo>
                    <a:pt x="138" y="14"/>
                  </a:lnTo>
                  <a:cubicBezTo>
                    <a:pt x="140" y="31"/>
                    <a:pt x="138" y="34"/>
                    <a:pt x="138" y="42"/>
                  </a:cubicBezTo>
                  <a:lnTo>
                    <a:pt x="138" y="42"/>
                  </a:lnTo>
                  <a:cubicBezTo>
                    <a:pt x="127" y="59"/>
                    <a:pt x="109" y="51"/>
                    <a:pt x="92" y="51"/>
                  </a:cubicBezTo>
                  <a:lnTo>
                    <a:pt x="101" y="73"/>
                  </a:lnTo>
                  <a:lnTo>
                    <a:pt x="101" y="73"/>
                  </a:lnTo>
                  <a:cubicBezTo>
                    <a:pt x="90" y="79"/>
                    <a:pt x="0" y="82"/>
                    <a:pt x="0" y="73"/>
                  </a:cubicBezTo>
                  <a:lnTo>
                    <a:pt x="0" y="73"/>
                  </a:lnTo>
                  <a:cubicBezTo>
                    <a:pt x="0" y="46"/>
                    <a:pt x="15" y="31"/>
                    <a:pt x="37" y="24"/>
                  </a:cubicBezTo>
                  <a:lnTo>
                    <a:pt x="37" y="24"/>
                  </a:lnTo>
                  <a:cubicBezTo>
                    <a:pt x="35" y="9"/>
                    <a:pt x="37" y="3"/>
                    <a:pt x="37" y="0"/>
                  </a:cubicBezTo>
                  <a:lnTo>
                    <a:pt x="98" y="0"/>
                  </a:lnTo>
                  <a:lnTo>
                    <a:pt x="98" y="0"/>
                  </a:lnTo>
                  <a:cubicBezTo>
                    <a:pt x="94" y="9"/>
                    <a:pt x="83" y="14"/>
                    <a:pt x="79" y="14"/>
                  </a:cubicBezTo>
                  <a:lnTo>
                    <a:pt x="79" y="14"/>
                  </a:lnTo>
                  <a:cubicBezTo>
                    <a:pt x="90" y="16"/>
                    <a:pt x="121" y="18"/>
                    <a:pt x="138" y="14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3" name="Freeform 81">
              <a:extLst>
                <a:ext uri="{FF2B5EF4-FFF2-40B4-BE49-F238E27FC236}">
                  <a16:creationId xmlns:a16="http://schemas.microsoft.com/office/drawing/2014/main" id="{A339A7B5-62AB-6148-8148-2717CD953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90724" y="3263385"/>
              <a:ext cx="95049" cy="31682"/>
            </a:xfrm>
            <a:custGeom>
              <a:avLst/>
              <a:gdLst>
                <a:gd name="T0" fmla="*/ 82 w 144"/>
                <a:gd name="T1" fmla="*/ 49 h 50"/>
                <a:gd name="T2" fmla="*/ 82 w 144"/>
                <a:gd name="T3" fmla="*/ 49 h 50"/>
                <a:gd name="T4" fmla="*/ 46 w 144"/>
                <a:gd name="T5" fmla="*/ 31 h 50"/>
                <a:gd name="T6" fmla="*/ 46 w 144"/>
                <a:gd name="T7" fmla="*/ 31 h 50"/>
                <a:gd name="T8" fmla="*/ 19 w 144"/>
                <a:gd name="T9" fmla="*/ 49 h 50"/>
                <a:gd name="T10" fmla="*/ 19 w 144"/>
                <a:gd name="T11" fmla="*/ 49 h 50"/>
                <a:gd name="T12" fmla="*/ 0 w 144"/>
                <a:gd name="T13" fmla="*/ 36 h 50"/>
                <a:gd name="T14" fmla="*/ 0 w 144"/>
                <a:gd name="T15" fmla="*/ 36 h 50"/>
                <a:gd name="T16" fmla="*/ 92 w 144"/>
                <a:gd name="T17" fmla="*/ 0 h 50"/>
                <a:gd name="T18" fmla="*/ 92 w 144"/>
                <a:gd name="T19" fmla="*/ 0 h 50"/>
                <a:gd name="T20" fmla="*/ 143 w 144"/>
                <a:gd name="T21" fmla="*/ 22 h 50"/>
                <a:gd name="T22" fmla="*/ 143 w 144"/>
                <a:gd name="T23" fmla="*/ 22 h 50"/>
                <a:gd name="T24" fmla="*/ 82 w 144"/>
                <a:gd name="T25" fmla="*/ 4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50">
                  <a:moveTo>
                    <a:pt x="82" y="49"/>
                  </a:moveTo>
                  <a:lnTo>
                    <a:pt x="82" y="49"/>
                  </a:lnTo>
                  <a:cubicBezTo>
                    <a:pt x="72" y="49"/>
                    <a:pt x="57" y="31"/>
                    <a:pt x="46" y="31"/>
                  </a:cubicBezTo>
                  <a:lnTo>
                    <a:pt x="46" y="31"/>
                  </a:lnTo>
                  <a:cubicBezTo>
                    <a:pt x="42" y="49"/>
                    <a:pt x="35" y="49"/>
                    <a:pt x="19" y="49"/>
                  </a:cubicBezTo>
                  <a:lnTo>
                    <a:pt x="19" y="49"/>
                  </a:lnTo>
                  <a:cubicBezTo>
                    <a:pt x="10" y="49"/>
                    <a:pt x="0" y="43"/>
                    <a:pt x="0" y="36"/>
                  </a:cubicBezTo>
                  <a:lnTo>
                    <a:pt x="0" y="36"/>
                  </a:lnTo>
                  <a:cubicBezTo>
                    <a:pt x="0" y="10"/>
                    <a:pt x="74" y="0"/>
                    <a:pt x="92" y="0"/>
                  </a:cubicBezTo>
                  <a:lnTo>
                    <a:pt x="92" y="0"/>
                  </a:lnTo>
                  <a:cubicBezTo>
                    <a:pt x="116" y="0"/>
                    <a:pt x="134" y="9"/>
                    <a:pt x="143" y="22"/>
                  </a:cubicBezTo>
                  <a:lnTo>
                    <a:pt x="143" y="22"/>
                  </a:lnTo>
                  <a:cubicBezTo>
                    <a:pt x="107" y="22"/>
                    <a:pt x="108" y="49"/>
                    <a:pt x="82" y="49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4" name="Freeform 82">
              <a:extLst>
                <a:ext uri="{FF2B5EF4-FFF2-40B4-BE49-F238E27FC236}">
                  <a16:creationId xmlns:a16="http://schemas.microsoft.com/office/drawing/2014/main" id="{AE750921-37A1-AA40-9357-0F2949E1C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35998" y="3153934"/>
              <a:ext cx="144015" cy="97930"/>
            </a:xfrm>
            <a:custGeom>
              <a:avLst/>
              <a:gdLst>
                <a:gd name="T0" fmla="*/ 164 w 221"/>
                <a:gd name="T1" fmla="*/ 128 h 151"/>
                <a:gd name="T2" fmla="*/ 164 w 221"/>
                <a:gd name="T3" fmla="*/ 128 h 151"/>
                <a:gd name="T4" fmla="*/ 92 w 221"/>
                <a:gd name="T5" fmla="*/ 150 h 151"/>
                <a:gd name="T6" fmla="*/ 92 w 221"/>
                <a:gd name="T7" fmla="*/ 150 h 151"/>
                <a:gd name="T8" fmla="*/ 0 w 221"/>
                <a:gd name="T9" fmla="*/ 115 h 151"/>
                <a:gd name="T10" fmla="*/ 0 w 221"/>
                <a:gd name="T11" fmla="*/ 115 h 151"/>
                <a:gd name="T12" fmla="*/ 23 w 221"/>
                <a:gd name="T13" fmla="*/ 95 h 151"/>
                <a:gd name="T14" fmla="*/ 101 w 221"/>
                <a:gd name="T15" fmla="*/ 95 h 151"/>
                <a:gd name="T16" fmla="*/ 101 w 221"/>
                <a:gd name="T17" fmla="*/ 95 h 151"/>
                <a:gd name="T18" fmla="*/ 69 w 221"/>
                <a:gd name="T19" fmla="*/ 91 h 151"/>
                <a:gd name="T20" fmla="*/ 69 w 221"/>
                <a:gd name="T21" fmla="*/ 67 h 151"/>
                <a:gd name="T22" fmla="*/ 69 w 221"/>
                <a:gd name="T23" fmla="*/ 67 h 151"/>
                <a:gd name="T24" fmla="*/ 180 w 221"/>
                <a:gd name="T25" fmla="*/ 31 h 151"/>
                <a:gd name="T26" fmla="*/ 180 w 221"/>
                <a:gd name="T27" fmla="*/ 31 h 151"/>
                <a:gd name="T28" fmla="*/ 210 w 221"/>
                <a:gd name="T29" fmla="*/ 0 h 151"/>
                <a:gd name="T30" fmla="*/ 210 w 221"/>
                <a:gd name="T31" fmla="*/ 0 h 151"/>
                <a:gd name="T32" fmla="*/ 216 w 221"/>
                <a:gd name="T33" fmla="*/ 22 h 151"/>
                <a:gd name="T34" fmla="*/ 216 w 221"/>
                <a:gd name="T35" fmla="*/ 22 h 151"/>
                <a:gd name="T36" fmla="*/ 200 w 221"/>
                <a:gd name="T37" fmla="*/ 46 h 151"/>
                <a:gd name="T38" fmla="*/ 200 w 221"/>
                <a:gd name="T39" fmla="*/ 46 h 151"/>
                <a:gd name="T40" fmla="*/ 115 w 221"/>
                <a:gd name="T41" fmla="*/ 93 h 151"/>
                <a:gd name="T42" fmla="*/ 115 w 221"/>
                <a:gd name="T43" fmla="*/ 93 h 151"/>
                <a:gd name="T44" fmla="*/ 220 w 221"/>
                <a:gd name="T45" fmla="*/ 121 h 151"/>
                <a:gd name="T46" fmla="*/ 220 w 221"/>
                <a:gd name="T47" fmla="*/ 121 h 151"/>
                <a:gd name="T48" fmla="*/ 164 w 221"/>
                <a:gd name="T49" fmla="*/ 12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1" h="151">
                  <a:moveTo>
                    <a:pt x="164" y="128"/>
                  </a:moveTo>
                  <a:lnTo>
                    <a:pt x="164" y="128"/>
                  </a:lnTo>
                  <a:cubicBezTo>
                    <a:pt x="143" y="128"/>
                    <a:pt x="113" y="150"/>
                    <a:pt x="92" y="150"/>
                  </a:cubicBezTo>
                  <a:lnTo>
                    <a:pt x="92" y="150"/>
                  </a:lnTo>
                  <a:cubicBezTo>
                    <a:pt x="79" y="150"/>
                    <a:pt x="3" y="117"/>
                    <a:pt x="0" y="115"/>
                  </a:cubicBezTo>
                  <a:lnTo>
                    <a:pt x="0" y="115"/>
                  </a:lnTo>
                  <a:cubicBezTo>
                    <a:pt x="11" y="106"/>
                    <a:pt x="15" y="102"/>
                    <a:pt x="23" y="95"/>
                  </a:cubicBezTo>
                  <a:lnTo>
                    <a:pt x="101" y="95"/>
                  </a:lnTo>
                  <a:lnTo>
                    <a:pt x="101" y="95"/>
                  </a:lnTo>
                  <a:cubicBezTo>
                    <a:pt x="81" y="87"/>
                    <a:pt x="88" y="80"/>
                    <a:pt x="69" y="91"/>
                  </a:cubicBezTo>
                  <a:lnTo>
                    <a:pt x="69" y="67"/>
                  </a:lnTo>
                  <a:lnTo>
                    <a:pt x="69" y="67"/>
                  </a:lnTo>
                  <a:cubicBezTo>
                    <a:pt x="124" y="67"/>
                    <a:pt x="126" y="31"/>
                    <a:pt x="180" y="31"/>
                  </a:cubicBezTo>
                  <a:lnTo>
                    <a:pt x="180" y="31"/>
                  </a:lnTo>
                  <a:cubicBezTo>
                    <a:pt x="182" y="14"/>
                    <a:pt x="194" y="0"/>
                    <a:pt x="210" y="0"/>
                  </a:cubicBezTo>
                  <a:lnTo>
                    <a:pt x="210" y="0"/>
                  </a:lnTo>
                  <a:cubicBezTo>
                    <a:pt x="214" y="0"/>
                    <a:pt x="216" y="16"/>
                    <a:pt x="216" y="22"/>
                  </a:cubicBezTo>
                  <a:lnTo>
                    <a:pt x="216" y="22"/>
                  </a:lnTo>
                  <a:cubicBezTo>
                    <a:pt x="209" y="27"/>
                    <a:pt x="200" y="36"/>
                    <a:pt x="200" y="46"/>
                  </a:cubicBezTo>
                  <a:lnTo>
                    <a:pt x="200" y="46"/>
                  </a:lnTo>
                  <a:cubicBezTo>
                    <a:pt x="171" y="64"/>
                    <a:pt x="133" y="75"/>
                    <a:pt x="115" y="93"/>
                  </a:cubicBezTo>
                  <a:lnTo>
                    <a:pt x="115" y="93"/>
                  </a:lnTo>
                  <a:cubicBezTo>
                    <a:pt x="167" y="100"/>
                    <a:pt x="180" y="104"/>
                    <a:pt x="220" y="121"/>
                  </a:cubicBezTo>
                  <a:lnTo>
                    <a:pt x="220" y="121"/>
                  </a:lnTo>
                  <a:cubicBezTo>
                    <a:pt x="205" y="131"/>
                    <a:pt x="185" y="128"/>
                    <a:pt x="164" y="128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5" name="Freeform 83">
              <a:extLst>
                <a:ext uri="{FF2B5EF4-FFF2-40B4-BE49-F238E27FC236}">
                  <a16:creationId xmlns:a16="http://schemas.microsoft.com/office/drawing/2014/main" id="{B46FEE81-CB85-1F42-951A-197C22149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52643" y="3297948"/>
              <a:ext cx="475249" cy="264988"/>
            </a:xfrm>
            <a:custGeom>
              <a:avLst/>
              <a:gdLst>
                <a:gd name="T0" fmla="*/ 612 w 729"/>
                <a:gd name="T1" fmla="*/ 331 h 404"/>
                <a:gd name="T2" fmla="*/ 615 w 729"/>
                <a:gd name="T3" fmla="*/ 297 h 404"/>
                <a:gd name="T4" fmla="*/ 530 w 729"/>
                <a:gd name="T5" fmla="*/ 293 h 404"/>
                <a:gd name="T6" fmla="*/ 558 w 729"/>
                <a:gd name="T7" fmla="*/ 242 h 404"/>
                <a:gd name="T8" fmla="*/ 521 w 729"/>
                <a:gd name="T9" fmla="*/ 191 h 404"/>
                <a:gd name="T10" fmla="*/ 547 w 729"/>
                <a:gd name="T11" fmla="*/ 187 h 404"/>
                <a:gd name="T12" fmla="*/ 503 w 729"/>
                <a:gd name="T13" fmla="*/ 160 h 404"/>
                <a:gd name="T14" fmla="*/ 402 w 729"/>
                <a:gd name="T15" fmla="*/ 288 h 404"/>
                <a:gd name="T16" fmla="*/ 375 w 729"/>
                <a:gd name="T17" fmla="*/ 303 h 404"/>
                <a:gd name="T18" fmla="*/ 321 w 729"/>
                <a:gd name="T19" fmla="*/ 403 h 404"/>
                <a:gd name="T20" fmla="*/ 178 w 729"/>
                <a:gd name="T21" fmla="*/ 288 h 404"/>
                <a:gd name="T22" fmla="*/ 247 w 729"/>
                <a:gd name="T23" fmla="*/ 290 h 404"/>
                <a:gd name="T24" fmla="*/ 307 w 729"/>
                <a:gd name="T25" fmla="*/ 275 h 404"/>
                <a:gd name="T26" fmla="*/ 224 w 729"/>
                <a:gd name="T27" fmla="*/ 266 h 404"/>
                <a:gd name="T28" fmla="*/ 155 w 729"/>
                <a:gd name="T29" fmla="*/ 242 h 404"/>
                <a:gd name="T30" fmla="*/ 206 w 729"/>
                <a:gd name="T31" fmla="*/ 224 h 404"/>
                <a:gd name="T32" fmla="*/ 252 w 729"/>
                <a:gd name="T33" fmla="*/ 178 h 404"/>
                <a:gd name="T34" fmla="*/ 224 w 729"/>
                <a:gd name="T35" fmla="*/ 162 h 404"/>
                <a:gd name="T36" fmla="*/ 210 w 729"/>
                <a:gd name="T37" fmla="*/ 162 h 404"/>
                <a:gd name="T38" fmla="*/ 155 w 729"/>
                <a:gd name="T39" fmla="*/ 211 h 404"/>
                <a:gd name="T40" fmla="*/ 96 w 729"/>
                <a:gd name="T41" fmla="*/ 182 h 404"/>
                <a:gd name="T42" fmla="*/ 111 w 729"/>
                <a:gd name="T43" fmla="*/ 178 h 404"/>
                <a:gd name="T44" fmla="*/ 59 w 729"/>
                <a:gd name="T45" fmla="*/ 118 h 404"/>
                <a:gd name="T46" fmla="*/ 45 w 729"/>
                <a:gd name="T47" fmla="*/ 110 h 404"/>
                <a:gd name="T48" fmla="*/ 0 w 729"/>
                <a:gd name="T49" fmla="*/ 66 h 404"/>
                <a:gd name="T50" fmla="*/ 63 w 729"/>
                <a:gd name="T51" fmla="*/ 23 h 404"/>
                <a:gd name="T52" fmla="*/ 155 w 729"/>
                <a:gd name="T53" fmla="*/ 30 h 404"/>
                <a:gd name="T54" fmla="*/ 133 w 729"/>
                <a:gd name="T55" fmla="*/ 56 h 404"/>
                <a:gd name="T56" fmla="*/ 182 w 729"/>
                <a:gd name="T57" fmla="*/ 83 h 404"/>
                <a:gd name="T58" fmla="*/ 169 w 729"/>
                <a:gd name="T59" fmla="*/ 59 h 404"/>
                <a:gd name="T60" fmla="*/ 200 w 729"/>
                <a:gd name="T61" fmla="*/ 28 h 404"/>
                <a:gd name="T62" fmla="*/ 283 w 729"/>
                <a:gd name="T63" fmla="*/ 109 h 404"/>
                <a:gd name="T64" fmla="*/ 261 w 729"/>
                <a:gd name="T65" fmla="*/ 28 h 404"/>
                <a:gd name="T66" fmla="*/ 298 w 729"/>
                <a:gd name="T67" fmla="*/ 0 h 404"/>
                <a:gd name="T68" fmla="*/ 371 w 729"/>
                <a:gd name="T69" fmla="*/ 38 h 404"/>
                <a:gd name="T70" fmla="*/ 365 w 729"/>
                <a:gd name="T71" fmla="*/ 74 h 404"/>
                <a:gd name="T72" fmla="*/ 398 w 729"/>
                <a:gd name="T73" fmla="*/ 50 h 404"/>
                <a:gd name="T74" fmla="*/ 420 w 729"/>
                <a:gd name="T75" fmla="*/ 94 h 404"/>
                <a:gd name="T76" fmla="*/ 439 w 729"/>
                <a:gd name="T77" fmla="*/ 96 h 404"/>
                <a:gd name="T78" fmla="*/ 585 w 729"/>
                <a:gd name="T79" fmla="*/ 172 h 404"/>
                <a:gd name="T80" fmla="*/ 567 w 729"/>
                <a:gd name="T81" fmla="*/ 174 h 404"/>
                <a:gd name="T82" fmla="*/ 600 w 729"/>
                <a:gd name="T83" fmla="*/ 174 h 404"/>
                <a:gd name="T84" fmla="*/ 659 w 729"/>
                <a:gd name="T85" fmla="*/ 202 h 404"/>
                <a:gd name="T86" fmla="*/ 728 w 729"/>
                <a:gd name="T87" fmla="*/ 268 h 404"/>
                <a:gd name="T88" fmla="*/ 612 w 729"/>
                <a:gd name="T89" fmla="*/ 331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9" h="404">
                  <a:moveTo>
                    <a:pt x="612" y="331"/>
                  </a:moveTo>
                  <a:lnTo>
                    <a:pt x="612" y="331"/>
                  </a:lnTo>
                  <a:cubicBezTo>
                    <a:pt x="609" y="316"/>
                    <a:pt x="609" y="306"/>
                    <a:pt x="615" y="297"/>
                  </a:cubicBezTo>
                  <a:lnTo>
                    <a:pt x="615" y="297"/>
                  </a:lnTo>
                  <a:cubicBezTo>
                    <a:pt x="592" y="293"/>
                    <a:pt x="554" y="295"/>
                    <a:pt x="530" y="293"/>
                  </a:cubicBezTo>
                  <a:lnTo>
                    <a:pt x="530" y="293"/>
                  </a:lnTo>
                  <a:cubicBezTo>
                    <a:pt x="534" y="261"/>
                    <a:pt x="554" y="270"/>
                    <a:pt x="558" y="242"/>
                  </a:cubicBezTo>
                  <a:lnTo>
                    <a:pt x="558" y="242"/>
                  </a:lnTo>
                  <a:cubicBezTo>
                    <a:pt x="545" y="239"/>
                    <a:pt x="529" y="205"/>
                    <a:pt x="521" y="191"/>
                  </a:cubicBezTo>
                  <a:lnTo>
                    <a:pt x="521" y="191"/>
                  </a:lnTo>
                  <a:cubicBezTo>
                    <a:pt x="530" y="189"/>
                    <a:pt x="537" y="187"/>
                    <a:pt x="547" y="187"/>
                  </a:cubicBezTo>
                  <a:lnTo>
                    <a:pt x="547" y="187"/>
                  </a:lnTo>
                  <a:cubicBezTo>
                    <a:pt x="517" y="184"/>
                    <a:pt x="503" y="160"/>
                    <a:pt x="503" y="160"/>
                  </a:cubicBezTo>
                  <a:lnTo>
                    <a:pt x="503" y="160"/>
                  </a:lnTo>
                  <a:cubicBezTo>
                    <a:pt x="440" y="160"/>
                    <a:pt x="420" y="241"/>
                    <a:pt x="402" y="288"/>
                  </a:cubicBezTo>
                  <a:lnTo>
                    <a:pt x="402" y="288"/>
                  </a:lnTo>
                  <a:cubicBezTo>
                    <a:pt x="398" y="299"/>
                    <a:pt x="383" y="295"/>
                    <a:pt x="375" y="303"/>
                  </a:cubicBezTo>
                  <a:lnTo>
                    <a:pt x="375" y="303"/>
                  </a:lnTo>
                  <a:cubicBezTo>
                    <a:pt x="344" y="326"/>
                    <a:pt x="347" y="378"/>
                    <a:pt x="321" y="403"/>
                  </a:cubicBezTo>
                  <a:lnTo>
                    <a:pt x="321" y="403"/>
                  </a:lnTo>
                  <a:cubicBezTo>
                    <a:pt x="278" y="374"/>
                    <a:pt x="178" y="351"/>
                    <a:pt x="178" y="288"/>
                  </a:cubicBezTo>
                  <a:lnTo>
                    <a:pt x="178" y="288"/>
                  </a:lnTo>
                  <a:cubicBezTo>
                    <a:pt x="204" y="285"/>
                    <a:pt x="247" y="290"/>
                    <a:pt x="247" y="290"/>
                  </a:cubicBezTo>
                  <a:lnTo>
                    <a:pt x="247" y="290"/>
                  </a:lnTo>
                  <a:cubicBezTo>
                    <a:pt x="265" y="275"/>
                    <a:pt x="285" y="281"/>
                    <a:pt x="307" y="275"/>
                  </a:cubicBezTo>
                  <a:lnTo>
                    <a:pt x="307" y="275"/>
                  </a:lnTo>
                  <a:cubicBezTo>
                    <a:pt x="296" y="268"/>
                    <a:pt x="237" y="266"/>
                    <a:pt x="224" y="266"/>
                  </a:cubicBezTo>
                  <a:lnTo>
                    <a:pt x="224" y="266"/>
                  </a:lnTo>
                  <a:cubicBezTo>
                    <a:pt x="202" y="266"/>
                    <a:pt x="155" y="286"/>
                    <a:pt x="155" y="242"/>
                  </a:cubicBezTo>
                  <a:lnTo>
                    <a:pt x="155" y="242"/>
                  </a:lnTo>
                  <a:cubicBezTo>
                    <a:pt x="155" y="226"/>
                    <a:pt x="197" y="226"/>
                    <a:pt x="206" y="224"/>
                  </a:cubicBezTo>
                  <a:lnTo>
                    <a:pt x="206" y="224"/>
                  </a:lnTo>
                  <a:cubicBezTo>
                    <a:pt x="229" y="216"/>
                    <a:pt x="279" y="195"/>
                    <a:pt x="299" y="178"/>
                  </a:cubicBezTo>
                  <a:lnTo>
                    <a:pt x="252" y="178"/>
                  </a:lnTo>
                  <a:lnTo>
                    <a:pt x="252" y="178"/>
                  </a:lnTo>
                  <a:cubicBezTo>
                    <a:pt x="248" y="178"/>
                    <a:pt x="231" y="167"/>
                    <a:pt x="224" y="162"/>
                  </a:cubicBezTo>
                  <a:lnTo>
                    <a:pt x="210" y="162"/>
                  </a:lnTo>
                  <a:lnTo>
                    <a:pt x="210" y="162"/>
                  </a:lnTo>
                  <a:cubicBezTo>
                    <a:pt x="193" y="171"/>
                    <a:pt x="193" y="211"/>
                    <a:pt x="155" y="211"/>
                  </a:cubicBezTo>
                  <a:lnTo>
                    <a:pt x="155" y="211"/>
                  </a:lnTo>
                  <a:cubicBezTo>
                    <a:pt x="126" y="211"/>
                    <a:pt x="105" y="200"/>
                    <a:pt x="96" y="182"/>
                  </a:cubicBezTo>
                  <a:lnTo>
                    <a:pt x="96" y="182"/>
                  </a:lnTo>
                  <a:cubicBezTo>
                    <a:pt x="102" y="180"/>
                    <a:pt x="105" y="178"/>
                    <a:pt x="111" y="178"/>
                  </a:cubicBezTo>
                  <a:lnTo>
                    <a:pt x="111" y="178"/>
                  </a:lnTo>
                  <a:cubicBezTo>
                    <a:pt x="80" y="162"/>
                    <a:pt x="52" y="147"/>
                    <a:pt x="59" y="118"/>
                  </a:cubicBezTo>
                  <a:lnTo>
                    <a:pt x="59" y="118"/>
                  </a:lnTo>
                  <a:cubicBezTo>
                    <a:pt x="54" y="116"/>
                    <a:pt x="51" y="110"/>
                    <a:pt x="45" y="110"/>
                  </a:cubicBezTo>
                  <a:lnTo>
                    <a:pt x="45" y="110"/>
                  </a:lnTo>
                  <a:cubicBezTo>
                    <a:pt x="32" y="110"/>
                    <a:pt x="12" y="79"/>
                    <a:pt x="0" y="66"/>
                  </a:cubicBezTo>
                  <a:lnTo>
                    <a:pt x="0" y="66"/>
                  </a:lnTo>
                  <a:cubicBezTo>
                    <a:pt x="6" y="57"/>
                    <a:pt x="45" y="23"/>
                    <a:pt x="63" y="23"/>
                  </a:cubicBezTo>
                  <a:lnTo>
                    <a:pt x="63" y="23"/>
                  </a:lnTo>
                  <a:cubicBezTo>
                    <a:pt x="92" y="23"/>
                    <a:pt x="113" y="23"/>
                    <a:pt x="155" y="30"/>
                  </a:cubicBezTo>
                  <a:lnTo>
                    <a:pt x="155" y="30"/>
                  </a:lnTo>
                  <a:cubicBezTo>
                    <a:pt x="146" y="41"/>
                    <a:pt x="138" y="46"/>
                    <a:pt x="133" y="56"/>
                  </a:cubicBezTo>
                  <a:lnTo>
                    <a:pt x="133" y="56"/>
                  </a:lnTo>
                  <a:cubicBezTo>
                    <a:pt x="151" y="70"/>
                    <a:pt x="169" y="70"/>
                    <a:pt x="182" y="83"/>
                  </a:cubicBezTo>
                  <a:lnTo>
                    <a:pt x="182" y="83"/>
                  </a:lnTo>
                  <a:cubicBezTo>
                    <a:pt x="175" y="79"/>
                    <a:pt x="169" y="70"/>
                    <a:pt x="169" y="59"/>
                  </a:cubicBezTo>
                  <a:lnTo>
                    <a:pt x="169" y="59"/>
                  </a:lnTo>
                  <a:cubicBezTo>
                    <a:pt x="169" y="43"/>
                    <a:pt x="184" y="28"/>
                    <a:pt x="200" y="28"/>
                  </a:cubicBezTo>
                  <a:lnTo>
                    <a:pt x="200" y="28"/>
                  </a:lnTo>
                  <a:cubicBezTo>
                    <a:pt x="250" y="28"/>
                    <a:pt x="237" y="92"/>
                    <a:pt x="283" y="109"/>
                  </a:cubicBezTo>
                  <a:lnTo>
                    <a:pt x="283" y="109"/>
                  </a:lnTo>
                  <a:cubicBezTo>
                    <a:pt x="272" y="79"/>
                    <a:pt x="261" y="63"/>
                    <a:pt x="261" y="28"/>
                  </a:cubicBezTo>
                  <a:lnTo>
                    <a:pt x="261" y="28"/>
                  </a:lnTo>
                  <a:cubicBezTo>
                    <a:pt x="261" y="0"/>
                    <a:pt x="274" y="0"/>
                    <a:pt x="298" y="0"/>
                  </a:cubicBezTo>
                  <a:lnTo>
                    <a:pt x="298" y="0"/>
                  </a:lnTo>
                  <a:cubicBezTo>
                    <a:pt x="321" y="0"/>
                    <a:pt x="371" y="19"/>
                    <a:pt x="371" y="38"/>
                  </a:cubicBezTo>
                  <a:lnTo>
                    <a:pt x="371" y="38"/>
                  </a:lnTo>
                  <a:cubicBezTo>
                    <a:pt x="371" y="50"/>
                    <a:pt x="365" y="61"/>
                    <a:pt x="365" y="74"/>
                  </a:cubicBezTo>
                  <a:lnTo>
                    <a:pt x="365" y="74"/>
                  </a:lnTo>
                  <a:cubicBezTo>
                    <a:pt x="380" y="66"/>
                    <a:pt x="383" y="50"/>
                    <a:pt x="398" y="50"/>
                  </a:cubicBezTo>
                  <a:lnTo>
                    <a:pt x="398" y="50"/>
                  </a:lnTo>
                  <a:cubicBezTo>
                    <a:pt x="428" y="50"/>
                    <a:pt x="424" y="79"/>
                    <a:pt x="420" y="94"/>
                  </a:cubicBezTo>
                  <a:lnTo>
                    <a:pt x="420" y="94"/>
                  </a:lnTo>
                  <a:cubicBezTo>
                    <a:pt x="426" y="94"/>
                    <a:pt x="433" y="96"/>
                    <a:pt x="439" y="96"/>
                  </a:cubicBezTo>
                  <a:lnTo>
                    <a:pt x="439" y="96"/>
                  </a:lnTo>
                  <a:cubicBezTo>
                    <a:pt x="470" y="96"/>
                    <a:pt x="567" y="151"/>
                    <a:pt x="585" y="172"/>
                  </a:cubicBezTo>
                  <a:lnTo>
                    <a:pt x="585" y="172"/>
                  </a:lnTo>
                  <a:cubicBezTo>
                    <a:pt x="580" y="174"/>
                    <a:pt x="572" y="174"/>
                    <a:pt x="567" y="174"/>
                  </a:cubicBezTo>
                  <a:lnTo>
                    <a:pt x="567" y="174"/>
                  </a:lnTo>
                  <a:cubicBezTo>
                    <a:pt x="581" y="178"/>
                    <a:pt x="587" y="177"/>
                    <a:pt x="600" y="174"/>
                  </a:cubicBezTo>
                  <a:lnTo>
                    <a:pt x="600" y="174"/>
                  </a:lnTo>
                  <a:cubicBezTo>
                    <a:pt x="604" y="184"/>
                    <a:pt x="605" y="195"/>
                    <a:pt x="600" y="202"/>
                  </a:cubicBezTo>
                  <a:lnTo>
                    <a:pt x="659" y="202"/>
                  </a:lnTo>
                  <a:lnTo>
                    <a:pt x="659" y="202"/>
                  </a:lnTo>
                  <a:cubicBezTo>
                    <a:pt x="659" y="259"/>
                    <a:pt x="712" y="244"/>
                    <a:pt x="728" y="268"/>
                  </a:cubicBezTo>
                  <a:lnTo>
                    <a:pt x="728" y="268"/>
                  </a:lnTo>
                  <a:cubicBezTo>
                    <a:pt x="679" y="285"/>
                    <a:pt x="659" y="316"/>
                    <a:pt x="612" y="331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6" name="Freeform 84">
              <a:extLst>
                <a:ext uri="{FF2B5EF4-FFF2-40B4-BE49-F238E27FC236}">
                  <a16:creationId xmlns:a16="http://schemas.microsoft.com/office/drawing/2014/main" id="{460C68C5-4710-6045-9A35-F0DE60B5D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0348" y="3257624"/>
              <a:ext cx="311073" cy="112331"/>
            </a:xfrm>
            <a:custGeom>
              <a:avLst/>
              <a:gdLst>
                <a:gd name="T0" fmla="*/ 476 w 477"/>
                <a:gd name="T1" fmla="*/ 77 h 171"/>
                <a:gd name="T2" fmla="*/ 476 w 477"/>
                <a:gd name="T3" fmla="*/ 77 h 171"/>
                <a:gd name="T4" fmla="*/ 288 w 477"/>
                <a:gd name="T5" fmla="*/ 170 h 171"/>
                <a:gd name="T6" fmla="*/ 288 w 477"/>
                <a:gd name="T7" fmla="*/ 170 h 171"/>
                <a:gd name="T8" fmla="*/ 224 w 477"/>
                <a:gd name="T9" fmla="*/ 137 h 171"/>
                <a:gd name="T10" fmla="*/ 119 w 477"/>
                <a:gd name="T11" fmla="*/ 137 h 171"/>
                <a:gd name="T12" fmla="*/ 119 w 477"/>
                <a:gd name="T13" fmla="*/ 137 h 171"/>
                <a:gd name="T14" fmla="*/ 95 w 477"/>
                <a:gd name="T15" fmla="*/ 108 h 171"/>
                <a:gd name="T16" fmla="*/ 95 w 477"/>
                <a:gd name="T17" fmla="*/ 108 h 171"/>
                <a:gd name="T18" fmla="*/ 132 w 477"/>
                <a:gd name="T19" fmla="*/ 106 h 171"/>
                <a:gd name="T20" fmla="*/ 132 w 477"/>
                <a:gd name="T21" fmla="*/ 106 h 171"/>
                <a:gd name="T22" fmla="*/ 178 w 477"/>
                <a:gd name="T23" fmla="*/ 98 h 171"/>
                <a:gd name="T24" fmla="*/ 178 w 477"/>
                <a:gd name="T25" fmla="*/ 98 h 171"/>
                <a:gd name="T26" fmla="*/ 91 w 477"/>
                <a:gd name="T27" fmla="*/ 91 h 171"/>
                <a:gd name="T28" fmla="*/ 91 w 477"/>
                <a:gd name="T29" fmla="*/ 91 h 171"/>
                <a:gd name="T30" fmla="*/ 28 w 477"/>
                <a:gd name="T31" fmla="*/ 71 h 171"/>
                <a:gd name="T32" fmla="*/ 28 w 477"/>
                <a:gd name="T33" fmla="*/ 71 h 171"/>
                <a:gd name="T34" fmla="*/ 0 w 477"/>
                <a:gd name="T35" fmla="*/ 28 h 171"/>
                <a:gd name="T36" fmla="*/ 28 w 477"/>
                <a:gd name="T37" fmla="*/ 28 h 171"/>
                <a:gd name="T38" fmla="*/ 28 w 477"/>
                <a:gd name="T39" fmla="*/ 28 h 171"/>
                <a:gd name="T40" fmla="*/ 64 w 477"/>
                <a:gd name="T41" fmla="*/ 33 h 171"/>
                <a:gd name="T42" fmla="*/ 64 w 477"/>
                <a:gd name="T43" fmla="*/ 24 h 171"/>
                <a:gd name="T44" fmla="*/ 95 w 477"/>
                <a:gd name="T45" fmla="*/ 24 h 171"/>
                <a:gd name="T46" fmla="*/ 86 w 477"/>
                <a:gd name="T47" fmla="*/ 6 h 171"/>
                <a:gd name="T48" fmla="*/ 137 w 477"/>
                <a:gd name="T49" fmla="*/ 6 h 171"/>
                <a:gd name="T50" fmla="*/ 137 w 477"/>
                <a:gd name="T51" fmla="*/ 6 h 171"/>
                <a:gd name="T52" fmla="*/ 211 w 477"/>
                <a:gd name="T53" fmla="*/ 42 h 171"/>
                <a:gd name="T54" fmla="*/ 211 w 477"/>
                <a:gd name="T55" fmla="*/ 42 h 171"/>
                <a:gd name="T56" fmla="*/ 257 w 477"/>
                <a:gd name="T57" fmla="*/ 0 h 171"/>
                <a:gd name="T58" fmla="*/ 279 w 477"/>
                <a:gd name="T59" fmla="*/ 0 h 171"/>
                <a:gd name="T60" fmla="*/ 279 w 477"/>
                <a:gd name="T61" fmla="*/ 0 h 171"/>
                <a:gd name="T62" fmla="*/ 279 w 477"/>
                <a:gd name="T63" fmla="*/ 46 h 171"/>
                <a:gd name="T64" fmla="*/ 279 w 477"/>
                <a:gd name="T65" fmla="*/ 46 h 171"/>
                <a:gd name="T66" fmla="*/ 333 w 477"/>
                <a:gd name="T67" fmla="*/ 28 h 171"/>
                <a:gd name="T68" fmla="*/ 394 w 477"/>
                <a:gd name="T69" fmla="*/ 28 h 171"/>
                <a:gd name="T70" fmla="*/ 394 w 477"/>
                <a:gd name="T71" fmla="*/ 28 h 171"/>
                <a:gd name="T72" fmla="*/ 476 w 477"/>
                <a:gd name="T73" fmla="*/ 7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7" h="171">
                  <a:moveTo>
                    <a:pt x="476" y="77"/>
                  </a:moveTo>
                  <a:lnTo>
                    <a:pt x="476" y="77"/>
                  </a:lnTo>
                  <a:cubicBezTo>
                    <a:pt x="432" y="106"/>
                    <a:pt x="341" y="170"/>
                    <a:pt x="288" y="170"/>
                  </a:cubicBezTo>
                  <a:lnTo>
                    <a:pt x="288" y="170"/>
                  </a:lnTo>
                  <a:cubicBezTo>
                    <a:pt x="255" y="170"/>
                    <a:pt x="237" y="160"/>
                    <a:pt x="224" y="137"/>
                  </a:cubicBezTo>
                  <a:lnTo>
                    <a:pt x="119" y="137"/>
                  </a:lnTo>
                  <a:lnTo>
                    <a:pt x="119" y="137"/>
                  </a:lnTo>
                  <a:cubicBezTo>
                    <a:pt x="103" y="132"/>
                    <a:pt x="98" y="123"/>
                    <a:pt x="95" y="108"/>
                  </a:cubicBezTo>
                  <a:lnTo>
                    <a:pt x="95" y="108"/>
                  </a:lnTo>
                  <a:cubicBezTo>
                    <a:pt x="108" y="106"/>
                    <a:pt x="129" y="106"/>
                    <a:pt x="132" y="106"/>
                  </a:cubicBezTo>
                  <a:lnTo>
                    <a:pt x="132" y="106"/>
                  </a:lnTo>
                  <a:cubicBezTo>
                    <a:pt x="149" y="101"/>
                    <a:pt x="169" y="101"/>
                    <a:pt x="178" y="98"/>
                  </a:cubicBezTo>
                  <a:lnTo>
                    <a:pt x="178" y="98"/>
                  </a:lnTo>
                  <a:cubicBezTo>
                    <a:pt x="170" y="98"/>
                    <a:pt x="95" y="91"/>
                    <a:pt x="91" y="91"/>
                  </a:cubicBezTo>
                  <a:lnTo>
                    <a:pt x="91" y="91"/>
                  </a:lnTo>
                  <a:cubicBezTo>
                    <a:pt x="60" y="91"/>
                    <a:pt x="24" y="114"/>
                    <a:pt x="28" y="71"/>
                  </a:cubicBezTo>
                  <a:lnTo>
                    <a:pt x="28" y="71"/>
                  </a:lnTo>
                  <a:cubicBezTo>
                    <a:pt x="13" y="60"/>
                    <a:pt x="2" y="46"/>
                    <a:pt x="0" y="28"/>
                  </a:cubicBezTo>
                  <a:lnTo>
                    <a:pt x="28" y="28"/>
                  </a:lnTo>
                  <a:lnTo>
                    <a:pt x="28" y="28"/>
                  </a:lnTo>
                  <a:cubicBezTo>
                    <a:pt x="39" y="35"/>
                    <a:pt x="53" y="39"/>
                    <a:pt x="64" y="33"/>
                  </a:cubicBezTo>
                  <a:lnTo>
                    <a:pt x="64" y="24"/>
                  </a:lnTo>
                  <a:lnTo>
                    <a:pt x="95" y="24"/>
                  </a:lnTo>
                  <a:lnTo>
                    <a:pt x="86" y="6"/>
                  </a:lnTo>
                  <a:lnTo>
                    <a:pt x="137" y="6"/>
                  </a:lnTo>
                  <a:lnTo>
                    <a:pt x="137" y="6"/>
                  </a:lnTo>
                  <a:cubicBezTo>
                    <a:pt x="149" y="16"/>
                    <a:pt x="201" y="42"/>
                    <a:pt x="211" y="42"/>
                  </a:cubicBezTo>
                  <a:lnTo>
                    <a:pt x="211" y="42"/>
                  </a:lnTo>
                  <a:cubicBezTo>
                    <a:pt x="232" y="42"/>
                    <a:pt x="247" y="8"/>
                    <a:pt x="257" y="0"/>
                  </a:cubicBezTo>
                  <a:lnTo>
                    <a:pt x="279" y="0"/>
                  </a:lnTo>
                  <a:lnTo>
                    <a:pt x="279" y="0"/>
                  </a:lnTo>
                  <a:cubicBezTo>
                    <a:pt x="279" y="24"/>
                    <a:pt x="275" y="33"/>
                    <a:pt x="279" y="46"/>
                  </a:cubicBezTo>
                  <a:lnTo>
                    <a:pt x="279" y="46"/>
                  </a:lnTo>
                  <a:cubicBezTo>
                    <a:pt x="295" y="46"/>
                    <a:pt x="306" y="28"/>
                    <a:pt x="333" y="28"/>
                  </a:cubicBezTo>
                  <a:lnTo>
                    <a:pt x="394" y="28"/>
                  </a:lnTo>
                  <a:lnTo>
                    <a:pt x="394" y="28"/>
                  </a:lnTo>
                  <a:cubicBezTo>
                    <a:pt x="431" y="28"/>
                    <a:pt x="466" y="55"/>
                    <a:pt x="476" y="77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7" name="Freeform 85">
              <a:extLst>
                <a:ext uri="{FF2B5EF4-FFF2-40B4-BE49-F238E27FC236}">
                  <a16:creationId xmlns:a16="http://schemas.microsoft.com/office/drawing/2014/main" id="{A26E576D-1AE8-0F41-9C6B-96AC06C0A7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2479" y="3384358"/>
              <a:ext cx="60487" cy="51845"/>
            </a:xfrm>
            <a:custGeom>
              <a:avLst/>
              <a:gdLst>
                <a:gd name="T0" fmla="*/ 31 w 93"/>
                <a:gd name="T1" fmla="*/ 0 h 80"/>
                <a:gd name="T2" fmla="*/ 31 w 93"/>
                <a:gd name="T3" fmla="*/ 0 h 80"/>
                <a:gd name="T4" fmla="*/ 92 w 93"/>
                <a:gd name="T5" fmla="*/ 79 h 80"/>
                <a:gd name="T6" fmla="*/ 92 w 93"/>
                <a:gd name="T7" fmla="*/ 79 h 80"/>
                <a:gd name="T8" fmla="*/ 37 w 93"/>
                <a:gd name="T9" fmla="*/ 0 h 80"/>
                <a:gd name="T10" fmla="*/ 37 w 93"/>
                <a:gd name="T11" fmla="*/ 6 h 80"/>
                <a:gd name="T12" fmla="*/ 31 w 93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80">
                  <a:moveTo>
                    <a:pt x="31" y="0"/>
                  </a:moveTo>
                  <a:lnTo>
                    <a:pt x="31" y="0"/>
                  </a:lnTo>
                  <a:cubicBezTo>
                    <a:pt x="54" y="32"/>
                    <a:pt x="80" y="39"/>
                    <a:pt x="92" y="79"/>
                  </a:cubicBezTo>
                  <a:lnTo>
                    <a:pt x="92" y="79"/>
                  </a:lnTo>
                  <a:cubicBezTo>
                    <a:pt x="56" y="70"/>
                    <a:pt x="0" y="15"/>
                    <a:pt x="37" y="0"/>
                  </a:cubicBezTo>
                  <a:lnTo>
                    <a:pt x="37" y="6"/>
                  </a:lnTo>
                  <a:lnTo>
                    <a:pt x="31" y="0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8" name="Freeform 86">
              <a:extLst>
                <a:ext uri="{FF2B5EF4-FFF2-40B4-BE49-F238E27FC236}">
                  <a16:creationId xmlns:a16="http://schemas.microsoft.com/office/drawing/2014/main" id="{34762CEE-C0B0-3C49-B084-8A359E6DB3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58488" y="4789945"/>
              <a:ext cx="149776" cy="178579"/>
            </a:xfrm>
            <a:custGeom>
              <a:avLst/>
              <a:gdLst>
                <a:gd name="T0" fmla="*/ 39 w 231"/>
                <a:gd name="T1" fmla="*/ 79 h 274"/>
                <a:gd name="T2" fmla="*/ 39 w 231"/>
                <a:gd name="T3" fmla="*/ 79 h 274"/>
                <a:gd name="T4" fmla="*/ 92 w 231"/>
                <a:gd name="T5" fmla="*/ 59 h 274"/>
                <a:gd name="T6" fmla="*/ 92 w 231"/>
                <a:gd name="T7" fmla="*/ 59 h 274"/>
                <a:gd name="T8" fmla="*/ 81 w 231"/>
                <a:gd name="T9" fmla="*/ 36 h 274"/>
                <a:gd name="T10" fmla="*/ 81 w 231"/>
                <a:gd name="T11" fmla="*/ 36 h 274"/>
                <a:gd name="T12" fmla="*/ 136 w 231"/>
                <a:gd name="T13" fmla="*/ 0 h 274"/>
                <a:gd name="T14" fmla="*/ 167 w 231"/>
                <a:gd name="T15" fmla="*/ 0 h 274"/>
                <a:gd name="T16" fmla="*/ 167 w 231"/>
                <a:gd name="T17" fmla="*/ 0 h 274"/>
                <a:gd name="T18" fmla="*/ 230 w 231"/>
                <a:gd name="T19" fmla="*/ 76 h 274"/>
                <a:gd name="T20" fmla="*/ 230 w 231"/>
                <a:gd name="T21" fmla="*/ 76 h 274"/>
                <a:gd name="T22" fmla="*/ 197 w 231"/>
                <a:gd name="T23" fmla="*/ 103 h 274"/>
                <a:gd name="T24" fmla="*/ 197 w 231"/>
                <a:gd name="T25" fmla="*/ 165 h 274"/>
                <a:gd name="T26" fmla="*/ 197 w 231"/>
                <a:gd name="T27" fmla="*/ 165 h 274"/>
                <a:gd name="T28" fmla="*/ 195 w 231"/>
                <a:gd name="T29" fmla="*/ 217 h 274"/>
                <a:gd name="T30" fmla="*/ 195 w 231"/>
                <a:gd name="T31" fmla="*/ 217 h 274"/>
                <a:gd name="T32" fmla="*/ 147 w 231"/>
                <a:gd name="T33" fmla="*/ 226 h 274"/>
                <a:gd name="T34" fmla="*/ 147 w 231"/>
                <a:gd name="T35" fmla="*/ 226 h 274"/>
                <a:gd name="T36" fmla="*/ 81 w 231"/>
                <a:gd name="T37" fmla="*/ 267 h 274"/>
                <a:gd name="T38" fmla="*/ 81 w 231"/>
                <a:gd name="T39" fmla="*/ 267 h 274"/>
                <a:gd name="T40" fmla="*/ 46 w 231"/>
                <a:gd name="T41" fmla="*/ 273 h 274"/>
                <a:gd name="T42" fmla="*/ 46 w 231"/>
                <a:gd name="T43" fmla="*/ 273 h 274"/>
                <a:gd name="T44" fmla="*/ 0 w 231"/>
                <a:gd name="T45" fmla="*/ 231 h 274"/>
                <a:gd name="T46" fmla="*/ 0 w 231"/>
                <a:gd name="T47" fmla="*/ 231 h 274"/>
                <a:gd name="T48" fmla="*/ 53 w 231"/>
                <a:gd name="T49" fmla="*/ 138 h 274"/>
                <a:gd name="T50" fmla="*/ 53 w 231"/>
                <a:gd name="T51" fmla="*/ 138 h 274"/>
                <a:gd name="T52" fmla="*/ 19 w 231"/>
                <a:gd name="T53" fmla="*/ 99 h 274"/>
                <a:gd name="T54" fmla="*/ 19 w 231"/>
                <a:gd name="T55" fmla="*/ 99 h 274"/>
                <a:gd name="T56" fmla="*/ 39 w 231"/>
                <a:gd name="T57" fmla="*/ 7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1" h="274">
                  <a:moveTo>
                    <a:pt x="39" y="79"/>
                  </a:moveTo>
                  <a:lnTo>
                    <a:pt x="39" y="79"/>
                  </a:lnTo>
                  <a:cubicBezTo>
                    <a:pt x="50" y="79"/>
                    <a:pt x="81" y="70"/>
                    <a:pt x="92" y="59"/>
                  </a:cubicBezTo>
                  <a:lnTo>
                    <a:pt x="92" y="59"/>
                  </a:lnTo>
                  <a:cubicBezTo>
                    <a:pt x="85" y="48"/>
                    <a:pt x="81" y="44"/>
                    <a:pt x="81" y="36"/>
                  </a:cubicBezTo>
                  <a:lnTo>
                    <a:pt x="81" y="36"/>
                  </a:lnTo>
                  <a:cubicBezTo>
                    <a:pt x="81" y="23"/>
                    <a:pt x="117" y="0"/>
                    <a:pt x="136" y="0"/>
                  </a:cubicBezTo>
                  <a:lnTo>
                    <a:pt x="167" y="0"/>
                  </a:lnTo>
                  <a:lnTo>
                    <a:pt x="167" y="0"/>
                  </a:lnTo>
                  <a:cubicBezTo>
                    <a:pt x="209" y="0"/>
                    <a:pt x="230" y="44"/>
                    <a:pt x="230" y="76"/>
                  </a:cubicBezTo>
                  <a:lnTo>
                    <a:pt x="230" y="76"/>
                  </a:lnTo>
                  <a:cubicBezTo>
                    <a:pt x="230" y="90"/>
                    <a:pt x="197" y="88"/>
                    <a:pt x="197" y="103"/>
                  </a:cubicBezTo>
                  <a:lnTo>
                    <a:pt x="197" y="165"/>
                  </a:lnTo>
                  <a:lnTo>
                    <a:pt x="197" y="165"/>
                  </a:lnTo>
                  <a:cubicBezTo>
                    <a:pt x="197" y="180"/>
                    <a:pt x="209" y="202"/>
                    <a:pt x="195" y="217"/>
                  </a:cubicBezTo>
                  <a:lnTo>
                    <a:pt x="195" y="217"/>
                  </a:lnTo>
                  <a:cubicBezTo>
                    <a:pt x="184" y="228"/>
                    <a:pt x="166" y="226"/>
                    <a:pt x="147" y="226"/>
                  </a:cubicBezTo>
                  <a:lnTo>
                    <a:pt x="147" y="226"/>
                  </a:lnTo>
                  <a:cubicBezTo>
                    <a:pt x="117" y="226"/>
                    <a:pt x="96" y="257"/>
                    <a:pt x="81" y="267"/>
                  </a:cubicBezTo>
                  <a:lnTo>
                    <a:pt x="81" y="267"/>
                  </a:lnTo>
                  <a:cubicBezTo>
                    <a:pt x="72" y="272"/>
                    <a:pt x="58" y="273"/>
                    <a:pt x="46" y="273"/>
                  </a:cubicBezTo>
                  <a:lnTo>
                    <a:pt x="46" y="273"/>
                  </a:lnTo>
                  <a:cubicBezTo>
                    <a:pt x="24" y="273"/>
                    <a:pt x="0" y="253"/>
                    <a:pt x="0" y="231"/>
                  </a:cubicBezTo>
                  <a:lnTo>
                    <a:pt x="0" y="231"/>
                  </a:lnTo>
                  <a:cubicBezTo>
                    <a:pt x="0" y="185"/>
                    <a:pt x="46" y="182"/>
                    <a:pt x="53" y="138"/>
                  </a:cubicBezTo>
                  <a:lnTo>
                    <a:pt x="53" y="138"/>
                  </a:lnTo>
                  <a:cubicBezTo>
                    <a:pt x="35" y="129"/>
                    <a:pt x="19" y="118"/>
                    <a:pt x="19" y="99"/>
                  </a:cubicBezTo>
                  <a:lnTo>
                    <a:pt x="19" y="99"/>
                  </a:lnTo>
                  <a:cubicBezTo>
                    <a:pt x="19" y="76"/>
                    <a:pt x="34" y="79"/>
                    <a:pt x="39" y="79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59" name="Freeform 87">
              <a:extLst>
                <a:ext uri="{FF2B5EF4-FFF2-40B4-BE49-F238E27FC236}">
                  <a16:creationId xmlns:a16="http://schemas.microsoft.com/office/drawing/2014/main" id="{982C31E8-000A-7D43-BF5E-3BE752C30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59300" y="4637289"/>
              <a:ext cx="31682" cy="28803"/>
            </a:xfrm>
            <a:custGeom>
              <a:avLst/>
              <a:gdLst>
                <a:gd name="T0" fmla="*/ 12 w 47"/>
                <a:gd name="T1" fmla="*/ 42 h 43"/>
                <a:gd name="T2" fmla="*/ 12 w 47"/>
                <a:gd name="T3" fmla="*/ 42 h 43"/>
                <a:gd name="T4" fmla="*/ 0 w 47"/>
                <a:gd name="T5" fmla="*/ 20 h 43"/>
                <a:gd name="T6" fmla="*/ 0 w 47"/>
                <a:gd name="T7" fmla="*/ 20 h 43"/>
                <a:gd name="T8" fmla="*/ 46 w 47"/>
                <a:gd name="T9" fmla="*/ 0 h 43"/>
                <a:gd name="T10" fmla="*/ 46 w 47"/>
                <a:gd name="T11" fmla="*/ 0 h 43"/>
                <a:gd name="T12" fmla="*/ 12 w 47"/>
                <a:gd name="T13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3">
                  <a:moveTo>
                    <a:pt x="12" y="42"/>
                  </a:moveTo>
                  <a:lnTo>
                    <a:pt x="12" y="42"/>
                  </a:lnTo>
                  <a:cubicBezTo>
                    <a:pt x="6" y="42"/>
                    <a:pt x="0" y="27"/>
                    <a:pt x="0" y="20"/>
                  </a:cubicBezTo>
                  <a:lnTo>
                    <a:pt x="0" y="20"/>
                  </a:lnTo>
                  <a:cubicBezTo>
                    <a:pt x="0" y="9"/>
                    <a:pt x="32" y="0"/>
                    <a:pt x="46" y="0"/>
                  </a:cubicBezTo>
                  <a:lnTo>
                    <a:pt x="46" y="0"/>
                  </a:lnTo>
                  <a:cubicBezTo>
                    <a:pt x="46" y="20"/>
                    <a:pt x="32" y="42"/>
                    <a:pt x="12" y="42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0" name="Freeform 88">
              <a:extLst>
                <a:ext uri="{FF2B5EF4-FFF2-40B4-BE49-F238E27FC236}">
                  <a16:creationId xmlns:a16="http://schemas.microsoft.com/office/drawing/2014/main" id="{25EC9530-D2A9-B246-9C15-50C629977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76582" y="4622887"/>
              <a:ext cx="285149" cy="411882"/>
            </a:xfrm>
            <a:custGeom>
              <a:avLst/>
              <a:gdLst>
                <a:gd name="T0" fmla="*/ 372 w 435"/>
                <a:gd name="T1" fmla="*/ 429 h 629"/>
                <a:gd name="T2" fmla="*/ 396 w 435"/>
                <a:gd name="T3" fmla="*/ 421 h 629"/>
                <a:gd name="T4" fmla="*/ 434 w 435"/>
                <a:gd name="T5" fmla="*/ 456 h 629"/>
                <a:gd name="T6" fmla="*/ 375 w 435"/>
                <a:gd name="T7" fmla="*/ 529 h 629"/>
                <a:gd name="T8" fmla="*/ 412 w 435"/>
                <a:gd name="T9" fmla="*/ 549 h 629"/>
                <a:gd name="T10" fmla="*/ 361 w 435"/>
                <a:gd name="T11" fmla="*/ 577 h 629"/>
                <a:gd name="T12" fmla="*/ 287 w 435"/>
                <a:gd name="T13" fmla="*/ 577 h 629"/>
                <a:gd name="T14" fmla="*/ 192 w 435"/>
                <a:gd name="T15" fmla="*/ 593 h 629"/>
                <a:gd name="T16" fmla="*/ 159 w 435"/>
                <a:gd name="T17" fmla="*/ 583 h 629"/>
                <a:gd name="T18" fmla="*/ 104 w 435"/>
                <a:gd name="T19" fmla="*/ 614 h 629"/>
                <a:gd name="T20" fmla="*/ 79 w 435"/>
                <a:gd name="T21" fmla="*/ 628 h 629"/>
                <a:gd name="T22" fmla="*/ 66 w 435"/>
                <a:gd name="T23" fmla="*/ 617 h 629"/>
                <a:gd name="T24" fmla="*/ 130 w 435"/>
                <a:gd name="T25" fmla="*/ 549 h 629"/>
                <a:gd name="T26" fmla="*/ 192 w 435"/>
                <a:gd name="T27" fmla="*/ 526 h 629"/>
                <a:gd name="T28" fmla="*/ 189 w 435"/>
                <a:gd name="T29" fmla="*/ 513 h 629"/>
                <a:gd name="T30" fmla="*/ 156 w 435"/>
                <a:gd name="T31" fmla="*/ 531 h 629"/>
                <a:gd name="T32" fmla="*/ 104 w 435"/>
                <a:gd name="T33" fmla="*/ 509 h 629"/>
                <a:gd name="T34" fmla="*/ 86 w 435"/>
                <a:gd name="T35" fmla="*/ 519 h 629"/>
                <a:gd name="T36" fmla="*/ 77 w 435"/>
                <a:gd name="T37" fmla="*/ 509 h 629"/>
                <a:gd name="T38" fmla="*/ 128 w 435"/>
                <a:gd name="T39" fmla="*/ 452 h 629"/>
                <a:gd name="T40" fmla="*/ 113 w 435"/>
                <a:gd name="T41" fmla="*/ 400 h 629"/>
                <a:gd name="T42" fmla="*/ 196 w 435"/>
                <a:gd name="T43" fmla="*/ 364 h 629"/>
                <a:gd name="T44" fmla="*/ 196 w 435"/>
                <a:gd name="T45" fmla="*/ 337 h 629"/>
                <a:gd name="T46" fmla="*/ 152 w 435"/>
                <a:gd name="T47" fmla="*/ 317 h 629"/>
                <a:gd name="T48" fmla="*/ 165 w 435"/>
                <a:gd name="T49" fmla="*/ 291 h 629"/>
                <a:gd name="T50" fmla="*/ 148 w 435"/>
                <a:gd name="T51" fmla="*/ 290 h 629"/>
                <a:gd name="T52" fmla="*/ 106 w 435"/>
                <a:gd name="T53" fmla="*/ 298 h 629"/>
                <a:gd name="T54" fmla="*/ 77 w 435"/>
                <a:gd name="T55" fmla="*/ 284 h 629"/>
                <a:gd name="T56" fmla="*/ 95 w 435"/>
                <a:gd name="T57" fmla="*/ 246 h 629"/>
                <a:gd name="T58" fmla="*/ 95 w 435"/>
                <a:gd name="T59" fmla="*/ 210 h 629"/>
                <a:gd name="T60" fmla="*/ 64 w 435"/>
                <a:gd name="T61" fmla="*/ 201 h 629"/>
                <a:gd name="T62" fmla="*/ 49 w 435"/>
                <a:gd name="T63" fmla="*/ 229 h 629"/>
                <a:gd name="T64" fmla="*/ 49 w 435"/>
                <a:gd name="T65" fmla="*/ 200 h 629"/>
                <a:gd name="T66" fmla="*/ 56 w 435"/>
                <a:gd name="T67" fmla="*/ 170 h 629"/>
                <a:gd name="T68" fmla="*/ 29 w 435"/>
                <a:gd name="T69" fmla="*/ 156 h 629"/>
                <a:gd name="T70" fmla="*/ 42 w 435"/>
                <a:gd name="T71" fmla="*/ 132 h 629"/>
                <a:gd name="T72" fmla="*/ 42 w 435"/>
                <a:gd name="T73" fmla="*/ 117 h 629"/>
                <a:gd name="T74" fmla="*/ 29 w 435"/>
                <a:gd name="T75" fmla="*/ 82 h 629"/>
                <a:gd name="T76" fmla="*/ 42 w 435"/>
                <a:gd name="T77" fmla="*/ 99 h 629"/>
                <a:gd name="T78" fmla="*/ 49 w 435"/>
                <a:gd name="T79" fmla="*/ 88 h 629"/>
                <a:gd name="T80" fmla="*/ 40 w 435"/>
                <a:gd name="T81" fmla="*/ 77 h 629"/>
                <a:gd name="T82" fmla="*/ 66 w 435"/>
                <a:gd name="T83" fmla="*/ 55 h 629"/>
                <a:gd name="T84" fmla="*/ 73 w 435"/>
                <a:gd name="T85" fmla="*/ 24 h 629"/>
                <a:gd name="T86" fmla="*/ 102 w 435"/>
                <a:gd name="T87" fmla="*/ 0 h 629"/>
                <a:gd name="T88" fmla="*/ 156 w 435"/>
                <a:gd name="T89" fmla="*/ 0 h 629"/>
                <a:gd name="T90" fmla="*/ 174 w 435"/>
                <a:gd name="T91" fmla="*/ 16 h 629"/>
                <a:gd name="T92" fmla="*/ 128 w 435"/>
                <a:gd name="T93" fmla="*/ 64 h 629"/>
                <a:gd name="T94" fmla="*/ 242 w 435"/>
                <a:gd name="T95" fmla="*/ 79 h 629"/>
                <a:gd name="T96" fmla="*/ 192 w 435"/>
                <a:gd name="T97" fmla="*/ 190 h 629"/>
                <a:gd name="T98" fmla="*/ 177 w 435"/>
                <a:gd name="T99" fmla="*/ 205 h 629"/>
                <a:gd name="T100" fmla="*/ 220 w 435"/>
                <a:gd name="T101" fmla="*/ 207 h 629"/>
                <a:gd name="T102" fmla="*/ 271 w 435"/>
                <a:gd name="T103" fmla="*/ 284 h 629"/>
                <a:gd name="T104" fmla="*/ 348 w 435"/>
                <a:gd name="T105" fmla="*/ 370 h 629"/>
                <a:gd name="T106" fmla="*/ 368 w 435"/>
                <a:gd name="T107" fmla="*/ 408 h 629"/>
                <a:gd name="T108" fmla="*/ 359 w 435"/>
                <a:gd name="T109" fmla="*/ 421 h 629"/>
                <a:gd name="T110" fmla="*/ 359 w 435"/>
                <a:gd name="T111" fmla="*/ 434 h 629"/>
                <a:gd name="T112" fmla="*/ 372 w 435"/>
                <a:gd name="T113" fmla="*/ 429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5" h="629">
                  <a:moveTo>
                    <a:pt x="372" y="429"/>
                  </a:moveTo>
                  <a:lnTo>
                    <a:pt x="372" y="429"/>
                  </a:lnTo>
                  <a:cubicBezTo>
                    <a:pt x="385" y="419"/>
                    <a:pt x="381" y="421"/>
                    <a:pt x="396" y="421"/>
                  </a:cubicBezTo>
                  <a:lnTo>
                    <a:pt x="396" y="421"/>
                  </a:lnTo>
                  <a:cubicBezTo>
                    <a:pt x="418" y="421"/>
                    <a:pt x="434" y="438"/>
                    <a:pt x="434" y="456"/>
                  </a:cubicBezTo>
                  <a:lnTo>
                    <a:pt x="434" y="456"/>
                  </a:lnTo>
                  <a:cubicBezTo>
                    <a:pt x="434" y="489"/>
                    <a:pt x="390" y="506"/>
                    <a:pt x="375" y="529"/>
                  </a:cubicBezTo>
                  <a:lnTo>
                    <a:pt x="375" y="529"/>
                  </a:lnTo>
                  <a:cubicBezTo>
                    <a:pt x="393" y="535"/>
                    <a:pt x="401" y="537"/>
                    <a:pt x="412" y="537"/>
                  </a:cubicBezTo>
                  <a:lnTo>
                    <a:pt x="412" y="549"/>
                  </a:lnTo>
                  <a:lnTo>
                    <a:pt x="412" y="549"/>
                  </a:lnTo>
                  <a:cubicBezTo>
                    <a:pt x="396" y="566"/>
                    <a:pt x="383" y="577"/>
                    <a:pt x="361" y="577"/>
                  </a:cubicBezTo>
                  <a:lnTo>
                    <a:pt x="287" y="577"/>
                  </a:lnTo>
                  <a:lnTo>
                    <a:pt x="287" y="577"/>
                  </a:lnTo>
                  <a:cubicBezTo>
                    <a:pt x="269" y="577"/>
                    <a:pt x="220" y="593"/>
                    <a:pt x="192" y="593"/>
                  </a:cubicBezTo>
                  <a:lnTo>
                    <a:pt x="192" y="593"/>
                  </a:lnTo>
                  <a:cubicBezTo>
                    <a:pt x="179" y="593"/>
                    <a:pt x="172" y="583"/>
                    <a:pt x="159" y="583"/>
                  </a:cubicBezTo>
                  <a:lnTo>
                    <a:pt x="159" y="583"/>
                  </a:lnTo>
                  <a:cubicBezTo>
                    <a:pt x="141" y="583"/>
                    <a:pt x="130" y="599"/>
                    <a:pt x="130" y="614"/>
                  </a:cubicBezTo>
                  <a:lnTo>
                    <a:pt x="104" y="614"/>
                  </a:lnTo>
                  <a:lnTo>
                    <a:pt x="104" y="614"/>
                  </a:lnTo>
                  <a:cubicBezTo>
                    <a:pt x="92" y="614"/>
                    <a:pt x="86" y="621"/>
                    <a:pt x="79" y="628"/>
                  </a:cubicBezTo>
                  <a:lnTo>
                    <a:pt x="66" y="628"/>
                  </a:lnTo>
                  <a:lnTo>
                    <a:pt x="66" y="617"/>
                  </a:lnTo>
                  <a:lnTo>
                    <a:pt x="66" y="617"/>
                  </a:lnTo>
                  <a:cubicBezTo>
                    <a:pt x="69" y="610"/>
                    <a:pt x="125" y="551"/>
                    <a:pt x="130" y="549"/>
                  </a:cubicBezTo>
                  <a:lnTo>
                    <a:pt x="130" y="549"/>
                  </a:lnTo>
                  <a:cubicBezTo>
                    <a:pt x="156" y="542"/>
                    <a:pt x="192" y="551"/>
                    <a:pt x="192" y="526"/>
                  </a:cubicBezTo>
                  <a:lnTo>
                    <a:pt x="192" y="526"/>
                  </a:lnTo>
                  <a:cubicBezTo>
                    <a:pt x="192" y="522"/>
                    <a:pt x="189" y="516"/>
                    <a:pt x="189" y="513"/>
                  </a:cubicBezTo>
                  <a:lnTo>
                    <a:pt x="189" y="513"/>
                  </a:lnTo>
                  <a:cubicBezTo>
                    <a:pt x="181" y="524"/>
                    <a:pt x="169" y="531"/>
                    <a:pt x="156" y="531"/>
                  </a:cubicBezTo>
                  <a:lnTo>
                    <a:pt x="156" y="531"/>
                  </a:lnTo>
                  <a:cubicBezTo>
                    <a:pt x="131" y="531"/>
                    <a:pt x="125" y="509"/>
                    <a:pt x="104" y="509"/>
                  </a:cubicBezTo>
                  <a:lnTo>
                    <a:pt x="104" y="509"/>
                  </a:lnTo>
                  <a:cubicBezTo>
                    <a:pt x="93" y="509"/>
                    <a:pt x="95" y="519"/>
                    <a:pt x="86" y="519"/>
                  </a:cubicBezTo>
                  <a:lnTo>
                    <a:pt x="86" y="519"/>
                  </a:lnTo>
                  <a:cubicBezTo>
                    <a:pt x="82" y="519"/>
                    <a:pt x="77" y="513"/>
                    <a:pt x="77" y="509"/>
                  </a:cubicBezTo>
                  <a:lnTo>
                    <a:pt x="77" y="509"/>
                  </a:lnTo>
                  <a:cubicBezTo>
                    <a:pt x="77" y="482"/>
                    <a:pt x="128" y="480"/>
                    <a:pt x="128" y="452"/>
                  </a:cubicBezTo>
                  <a:lnTo>
                    <a:pt x="128" y="452"/>
                  </a:lnTo>
                  <a:cubicBezTo>
                    <a:pt x="128" y="429"/>
                    <a:pt x="113" y="419"/>
                    <a:pt x="113" y="400"/>
                  </a:cubicBezTo>
                  <a:lnTo>
                    <a:pt x="113" y="400"/>
                  </a:lnTo>
                  <a:cubicBezTo>
                    <a:pt x="146" y="400"/>
                    <a:pt x="187" y="383"/>
                    <a:pt x="196" y="364"/>
                  </a:cubicBezTo>
                  <a:lnTo>
                    <a:pt x="196" y="337"/>
                  </a:lnTo>
                  <a:lnTo>
                    <a:pt x="196" y="337"/>
                  </a:lnTo>
                  <a:cubicBezTo>
                    <a:pt x="177" y="339"/>
                    <a:pt x="152" y="335"/>
                    <a:pt x="152" y="317"/>
                  </a:cubicBezTo>
                  <a:lnTo>
                    <a:pt x="152" y="317"/>
                  </a:lnTo>
                  <a:cubicBezTo>
                    <a:pt x="152" y="302"/>
                    <a:pt x="161" y="298"/>
                    <a:pt x="165" y="291"/>
                  </a:cubicBezTo>
                  <a:lnTo>
                    <a:pt x="165" y="291"/>
                  </a:lnTo>
                  <a:cubicBezTo>
                    <a:pt x="159" y="291"/>
                    <a:pt x="154" y="290"/>
                    <a:pt x="148" y="290"/>
                  </a:cubicBezTo>
                  <a:lnTo>
                    <a:pt x="148" y="290"/>
                  </a:lnTo>
                  <a:cubicBezTo>
                    <a:pt x="130" y="290"/>
                    <a:pt x="121" y="298"/>
                    <a:pt x="106" y="298"/>
                  </a:cubicBezTo>
                  <a:lnTo>
                    <a:pt x="106" y="298"/>
                  </a:lnTo>
                  <a:cubicBezTo>
                    <a:pt x="89" y="298"/>
                    <a:pt x="77" y="298"/>
                    <a:pt x="77" y="284"/>
                  </a:cubicBezTo>
                  <a:lnTo>
                    <a:pt x="77" y="284"/>
                  </a:lnTo>
                  <a:cubicBezTo>
                    <a:pt x="77" y="269"/>
                    <a:pt x="95" y="260"/>
                    <a:pt x="95" y="246"/>
                  </a:cubicBezTo>
                  <a:lnTo>
                    <a:pt x="95" y="246"/>
                  </a:lnTo>
                  <a:cubicBezTo>
                    <a:pt x="95" y="229"/>
                    <a:pt x="89" y="225"/>
                    <a:pt x="95" y="210"/>
                  </a:cubicBezTo>
                  <a:lnTo>
                    <a:pt x="95" y="210"/>
                  </a:lnTo>
                  <a:cubicBezTo>
                    <a:pt x="80" y="210"/>
                    <a:pt x="69" y="205"/>
                    <a:pt x="64" y="201"/>
                  </a:cubicBezTo>
                  <a:lnTo>
                    <a:pt x="64" y="201"/>
                  </a:lnTo>
                  <a:cubicBezTo>
                    <a:pt x="55" y="216"/>
                    <a:pt x="60" y="221"/>
                    <a:pt x="64" y="229"/>
                  </a:cubicBezTo>
                  <a:lnTo>
                    <a:pt x="49" y="229"/>
                  </a:lnTo>
                  <a:lnTo>
                    <a:pt x="49" y="200"/>
                  </a:lnTo>
                  <a:lnTo>
                    <a:pt x="49" y="200"/>
                  </a:lnTo>
                  <a:cubicBezTo>
                    <a:pt x="49" y="194"/>
                    <a:pt x="51" y="190"/>
                    <a:pt x="56" y="187"/>
                  </a:cubicBezTo>
                  <a:lnTo>
                    <a:pt x="56" y="170"/>
                  </a:lnTo>
                  <a:lnTo>
                    <a:pt x="56" y="170"/>
                  </a:lnTo>
                  <a:cubicBezTo>
                    <a:pt x="46" y="169"/>
                    <a:pt x="29" y="163"/>
                    <a:pt x="29" y="156"/>
                  </a:cubicBezTo>
                  <a:lnTo>
                    <a:pt x="29" y="156"/>
                  </a:lnTo>
                  <a:cubicBezTo>
                    <a:pt x="29" y="146"/>
                    <a:pt x="42" y="133"/>
                    <a:pt x="42" y="132"/>
                  </a:cubicBezTo>
                  <a:lnTo>
                    <a:pt x="42" y="117"/>
                  </a:lnTo>
                  <a:lnTo>
                    <a:pt x="42" y="117"/>
                  </a:lnTo>
                  <a:cubicBezTo>
                    <a:pt x="15" y="112"/>
                    <a:pt x="0" y="106"/>
                    <a:pt x="0" y="82"/>
                  </a:cubicBezTo>
                  <a:lnTo>
                    <a:pt x="29" y="82"/>
                  </a:lnTo>
                  <a:lnTo>
                    <a:pt x="29" y="82"/>
                  </a:lnTo>
                  <a:cubicBezTo>
                    <a:pt x="29" y="94"/>
                    <a:pt x="38" y="99"/>
                    <a:pt x="42" y="99"/>
                  </a:cubicBezTo>
                  <a:lnTo>
                    <a:pt x="42" y="99"/>
                  </a:lnTo>
                  <a:cubicBezTo>
                    <a:pt x="46" y="99"/>
                    <a:pt x="49" y="92"/>
                    <a:pt x="49" y="88"/>
                  </a:cubicBezTo>
                  <a:lnTo>
                    <a:pt x="49" y="88"/>
                  </a:lnTo>
                  <a:cubicBezTo>
                    <a:pt x="46" y="86"/>
                    <a:pt x="40" y="80"/>
                    <a:pt x="40" y="77"/>
                  </a:cubicBezTo>
                  <a:lnTo>
                    <a:pt x="40" y="77"/>
                  </a:lnTo>
                  <a:cubicBezTo>
                    <a:pt x="40" y="62"/>
                    <a:pt x="53" y="55"/>
                    <a:pt x="66" y="55"/>
                  </a:cubicBezTo>
                  <a:lnTo>
                    <a:pt x="66" y="55"/>
                  </a:lnTo>
                  <a:cubicBezTo>
                    <a:pt x="66" y="40"/>
                    <a:pt x="73" y="33"/>
                    <a:pt x="73" y="24"/>
                  </a:cubicBezTo>
                  <a:lnTo>
                    <a:pt x="73" y="24"/>
                  </a:lnTo>
                  <a:cubicBezTo>
                    <a:pt x="73" y="15"/>
                    <a:pt x="92" y="0"/>
                    <a:pt x="102" y="0"/>
                  </a:cubicBezTo>
                  <a:lnTo>
                    <a:pt x="156" y="0"/>
                  </a:lnTo>
                  <a:lnTo>
                    <a:pt x="156" y="0"/>
                  </a:lnTo>
                  <a:cubicBezTo>
                    <a:pt x="163" y="0"/>
                    <a:pt x="174" y="13"/>
                    <a:pt x="174" y="16"/>
                  </a:cubicBezTo>
                  <a:lnTo>
                    <a:pt x="174" y="16"/>
                  </a:lnTo>
                  <a:cubicBezTo>
                    <a:pt x="174" y="42"/>
                    <a:pt x="133" y="38"/>
                    <a:pt x="128" y="64"/>
                  </a:cubicBezTo>
                  <a:lnTo>
                    <a:pt x="128" y="64"/>
                  </a:lnTo>
                  <a:cubicBezTo>
                    <a:pt x="128" y="69"/>
                    <a:pt x="130" y="73"/>
                    <a:pt x="133" y="79"/>
                  </a:cubicBezTo>
                  <a:lnTo>
                    <a:pt x="242" y="79"/>
                  </a:lnTo>
                  <a:lnTo>
                    <a:pt x="242" y="79"/>
                  </a:lnTo>
                  <a:cubicBezTo>
                    <a:pt x="249" y="130"/>
                    <a:pt x="192" y="151"/>
                    <a:pt x="192" y="190"/>
                  </a:cubicBezTo>
                  <a:lnTo>
                    <a:pt x="192" y="190"/>
                  </a:lnTo>
                  <a:cubicBezTo>
                    <a:pt x="185" y="192"/>
                    <a:pt x="179" y="198"/>
                    <a:pt x="177" y="205"/>
                  </a:cubicBezTo>
                  <a:lnTo>
                    <a:pt x="177" y="205"/>
                  </a:lnTo>
                  <a:cubicBezTo>
                    <a:pt x="196" y="210"/>
                    <a:pt x="205" y="203"/>
                    <a:pt x="220" y="207"/>
                  </a:cubicBezTo>
                  <a:lnTo>
                    <a:pt x="220" y="207"/>
                  </a:lnTo>
                  <a:cubicBezTo>
                    <a:pt x="254" y="218"/>
                    <a:pt x="249" y="262"/>
                    <a:pt x="271" y="284"/>
                  </a:cubicBezTo>
                  <a:lnTo>
                    <a:pt x="271" y="284"/>
                  </a:lnTo>
                  <a:cubicBezTo>
                    <a:pt x="300" y="313"/>
                    <a:pt x="348" y="326"/>
                    <a:pt x="348" y="370"/>
                  </a:cubicBezTo>
                  <a:lnTo>
                    <a:pt x="348" y="370"/>
                  </a:lnTo>
                  <a:cubicBezTo>
                    <a:pt x="348" y="385"/>
                    <a:pt x="368" y="393"/>
                    <a:pt x="368" y="408"/>
                  </a:cubicBezTo>
                  <a:lnTo>
                    <a:pt x="368" y="408"/>
                  </a:lnTo>
                  <a:cubicBezTo>
                    <a:pt x="368" y="414"/>
                    <a:pt x="364" y="419"/>
                    <a:pt x="359" y="421"/>
                  </a:cubicBezTo>
                  <a:lnTo>
                    <a:pt x="359" y="434"/>
                  </a:lnTo>
                  <a:lnTo>
                    <a:pt x="359" y="434"/>
                  </a:lnTo>
                  <a:cubicBezTo>
                    <a:pt x="372" y="431"/>
                    <a:pt x="373" y="425"/>
                    <a:pt x="381" y="421"/>
                  </a:cubicBezTo>
                  <a:lnTo>
                    <a:pt x="372" y="429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1" name="Freeform 89">
              <a:extLst>
                <a:ext uri="{FF2B5EF4-FFF2-40B4-BE49-F238E27FC236}">
                  <a16:creationId xmlns:a16="http://schemas.microsoft.com/office/drawing/2014/main" id="{74C33C5B-940C-3E44-8EEB-4DDD85F22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7067" y="4836030"/>
              <a:ext cx="14402" cy="14401"/>
            </a:xfrm>
            <a:custGeom>
              <a:avLst/>
              <a:gdLst>
                <a:gd name="T0" fmla="*/ 12 w 22"/>
                <a:gd name="T1" fmla="*/ 0 h 23"/>
                <a:gd name="T2" fmla="*/ 12 w 22"/>
                <a:gd name="T3" fmla="*/ 0 h 23"/>
                <a:gd name="T4" fmla="*/ 0 w 22"/>
                <a:gd name="T5" fmla="*/ 22 h 23"/>
                <a:gd name="T6" fmla="*/ 20 w 22"/>
                <a:gd name="T7" fmla="*/ 22 h 23"/>
                <a:gd name="T8" fmla="*/ 20 w 22"/>
                <a:gd name="T9" fmla="*/ 22 h 23"/>
                <a:gd name="T10" fmla="*/ 21 w 22"/>
                <a:gd name="T11" fmla="*/ 0 h 23"/>
                <a:gd name="T12" fmla="*/ 12 w 22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3">
                  <a:moveTo>
                    <a:pt x="12" y="0"/>
                  </a:moveTo>
                  <a:lnTo>
                    <a:pt x="12" y="0"/>
                  </a:lnTo>
                  <a:cubicBezTo>
                    <a:pt x="1" y="6"/>
                    <a:pt x="0" y="13"/>
                    <a:pt x="0" y="22"/>
                  </a:cubicBezTo>
                  <a:lnTo>
                    <a:pt x="20" y="22"/>
                  </a:lnTo>
                  <a:lnTo>
                    <a:pt x="20" y="22"/>
                  </a:lnTo>
                  <a:cubicBezTo>
                    <a:pt x="20" y="13"/>
                    <a:pt x="21" y="6"/>
                    <a:pt x="21" y="0"/>
                  </a:cubicBezTo>
                  <a:lnTo>
                    <a:pt x="12" y="0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2" name="Freeform 90">
              <a:extLst>
                <a:ext uri="{FF2B5EF4-FFF2-40B4-BE49-F238E27FC236}">
                  <a16:creationId xmlns:a16="http://schemas.microsoft.com/office/drawing/2014/main" id="{70CBDA67-08D0-264C-9196-BFBAB39A1A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89001" y="4202363"/>
              <a:ext cx="348516" cy="158416"/>
            </a:xfrm>
            <a:custGeom>
              <a:avLst/>
              <a:gdLst>
                <a:gd name="T0" fmla="*/ 528 w 533"/>
                <a:gd name="T1" fmla="*/ 129 h 242"/>
                <a:gd name="T2" fmla="*/ 528 w 533"/>
                <a:gd name="T3" fmla="*/ 129 h 242"/>
                <a:gd name="T4" fmla="*/ 445 w 533"/>
                <a:gd name="T5" fmla="*/ 195 h 242"/>
                <a:gd name="T6" fmla="*/ 445 w 533"/>
                <a:gd name="T7" fmla="*/ 195 h 242"/>
                <a:gd name="T8" fmla="*/ 304 w 533"/>
                <a:gd name="T9" fmla="*/ 241 h 242"/>
                <a:gd name="T10" fmla="*/ 304 w 533"/>
                <a:gd name="T11" fmla="*/ 241 h 242"/>
                <a:gd name="T12" fmla="*/ 139 w 533"/>
                <a:gd name="T13" fmla="*/ 208 h 242"/>
                <a:gd name="T14" fmla="*/ 139 w 533"/>
                <a:gd name="T15" fmla="*/ 208 h 242"/>
                <a:gd name="T16" fmla="*/ 59 w 533"/>
                <a:gd name="T17" fmla="*/ 175 h 242"/>
                <a:gd name="T18" fmla="*/ 59 w 533"/>
                <a:gd name="T19" fmla="*/ 175 h 242"/>
                <a:gd name="T20" fmla="*/ 75 w 533"/>
                <a:gd name="T21" fmla="*/ 165 h 242"/>
                <a:gd name="T22" fmla="*/ 75 w 533"/>
                <a:gd name="T23" fmla="*/ 165 h 242"/>
                <a:gd name="T24" fmla="*/ 85 w 533"/>
                <a:gd name="T25" fmla="*/ 111 h 242"/>
                <a:gd name="T26" fmla="*/ 85 w 533"/>
                <a:gd name="T27" fmla="*/ 111 h 242"/>
                <a:gd name="T28" fmla="*/ 5 w 533"/>
                <a:gd name="T29" fmla="*/ 103 h 242"/>
                <a:gd name="T30" fmla="*/ 5 w 533"/>
                <a:gd name="T31" fmla="*/ 103 h 242"/>
                <a:gd name="T32" fmla="*/ 101 w 533"/>
                <a:gd name="T33" fmla="*/ 87 h 242"/>
                <a:gd name="T34" fmla="*/ 101 w 533"/>
                <a:gd name="T35" fmla="*/ 87 h 242"/>
                <a:gd name="T36" fmla="*/ 94 w 533"/>
                <a:gd name="T37" fmla="*/ 72 h 242"/>
                <a:gd name="T38" fmla="*/ 94 w 533"/>
                <a:gd name="T39" fmla="*/ 72 h 242"/>
                <a:gd name="T40" fmla="*/ 0 w 533"/>
                <a:gd name="T41" fmla="*/ 32 h 242"/>
                <a:gd name="T42" fmla="*/ 0 w 533"/>
                <a:gd name="T43" fmla="*/ 32 h 242"/>
                <a:gd name="T44" fmla="*/ 36 w 533"/>
                <a:gd name="T45" fmla="*/ 35 h 242"/>
                <a:gd name="T46" fmla="*/ 36 w 533"/>
                <a:gd name="T47" fmla="*/ 21 h 242"/>
                <a:gd name="T48" fmla="*/ 36 w 533"/>
                <a:gd name="T49" fmla="*/ 21 h 242"/>
                <a:gd name="T50" fmla="*/ 70 w 533"/>
                <a:gd name="T51" fmla="*/ 0 h 242"/>
                <a:gd name="T52" fmla="*/ 85 w 533"/>
                <a:gd name="T53" fmla="*/ 0 h 242"/>
                <a:gd name="T54" fmla="*/ 85 w 533"/>
                <a:gd name="T55" fmla="*/ 0 h 242"/>
                <a:gd name="T56" fmla="*/ 95 w 533"/>
                <a:gd name="T57" fmla="*/ 28 h 242"/>
                <a:gd name="T58" fmla="*/ 95 w 533"/>
                <a:gd name="T59" fmla="*/ 28 h 242"/>
                <a:gd name="T60" fmla="*/ 123 w 533"/>
                <a:gd name="T61" fmla="*/ 65 h 242"/>
                <a:gd name="T62" fmla="*/ 123 w 533"/>
                <a:gd name="T63" fmla="*/ 65 h 242"/>
                <a:gd name="T64" fmla="*/ 156 w 533"/>
                <a:gd name="T65" fmla="*/ 54 h 242"/>
                <a:gd name="T66" fmla="*/ 156 w 533"/>
                <a:gd name="T67" fmla="*/ 54 h 242"/>
                <a:gd name="T68" fmla="*/ 156 w 533"/>
                <a:gd name="T69" fmla="*/ 30 h 242"/>
                <a:gd name="T70" fmla="*/ 156 w 533"/>
                <a:gd name="T71" fmla="*/ 30 h 242"/>
                <a:gd name="T72" fmla="*/ 180 w 533"/>
                <a:gd name="T73" fmla="*/ 47 h 242"/>
                <a:gd name="T74" fmla="*/ 224 w 533"/>
                <a:gd name="T75" fmla="*/ 35 h 242"/>
                <a:gd name="T76" fmla="*/ 224 w 533"/>
                <a:gd name="T77" fmla="*/ 35 h 242"/>
                <a:gd name="T78" fmla="*/ 249 w 533"/>
                <a:gd name="T79" fmla="*/ 49 h 242"/>
                <a:gd name="T80" fmla="*/ 249 w 533"/>
                <a:gd name="T81" fmla="*/ 49 h 242"/>
                <a:gd name="T82" fmla="*/ 249 w 533"/>
                <a:gd name="T83" fmla="*/ 30 h 242"/>
                <a:gd name="T84" fmla="*/ 249 w 533"/>
                <a:gd name="T85" fmla="*/ 30 h 242"/>
                <a:gd name="T86" fmla="*/ 308 w 533"/>
                <a:gd name="T87" fmla="*/ 35 h 242"/>
                <a:gd name="T88" fmla="*/ 308 w 533"/>
                <a:gd name="T89" fmla="*/ 35 h 242"/>
                <a:gd name="T90" fmla="*/ 370 w 533"/>
                <a:gd name="T91" fmla="*/ 30 h 242"/>
                <a:gd name="T92" fmla="*/ 370 w 533"/>
                <a:gd name="T93" fmla="*/ 30 h 242"/>
                <a:gd name="T94" fmla="*/ 378 w 533"/>
                <a:gd name="T95" fmla="*/ 3 h 242"/>
                <a:gd name="T96" fmla="*/ 378 w 533"/>
                <a:gd name="T97" fmla="*/ 3 h 242"/>
                <a:gd name="T98" fmla="*/ 398 w 533"/>
                <a:gd name="T99" fmla="*/ 3 h 242"/>
                <a:gd name="T100" fmla="*/ 398 w 533"/>
                <a:gd name="T101" fmla="*/ 3 h 242"/>
                <a:gd name="T102" fmla="*/ 430 w 533"/>
                <a:gd name="T103" fmla="*/ 26 h 242"/>
                <a:gd name="T104" fmla="*/ 430 w 533"/>
                <a:gd name="T105" fmla="*/ 26 h 242"/>
                <a:gd name="T106" fmla="*/ 475 w 533"/>
                <a:gd name="T107" fmla="*/ 17 h 242"/>
                <a:gd name="T108" fmla="*/ 475 w 533"/>
                <a:gd name="T109" fmla="*/ 17 h 242"/>
                <a:gd name="T110" fmla="*/ 463 w 533"/>
                <a:gd name="T111" fmla="*/ 34 h 242"/>
                <a:gd name="T112" fmla="*/ 463 w 533"/>
                <a:gd name="T113" fmla="*/ 34 h 242"/>
                <a:gd name="T114" fmla="*/ 532 w 533"/>
                <a:gd name="T115" fmla="*/ 125 h 242"/>
                <a:gd name="T116" fmla="*/ 528 w 533"/>
                <a:gd name="T117" fmla="*/ 12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242">
                  <a:moveTo>
                    <a:pt x="528" y="129"/>
                  </a:moveTo>
                  <a:lnTo>
                    <a:pt x="528" y="129"/>
                  </a:lnTo>
                  <a:cubicBezTo>
                    <a:pt x="513" y="155"/>
                    <a:pt x="469" y="188"/>
                    <a:pt x="445" y="195"/>
                  </a:cubicBezTo>
                  <a:lnTo>
                    <a:pt x="445" y="195"/>
                  </a:lnTo>
                  <a:cubicBezTo>
                    <a:pt x="401" y="209"/>
                    <a:pt x="367" y="241"/>
                    <a:pt x="304" y="241"/>
                  </a:cubicBezTo>
                  <a:lnTo>
                    <a:pt x="304" y="241"/>
                  </a:lnTo>
                  <a:cubicBezTo>
                    <a:pt x="236" y="241"/>
                    <a:pt x="188" y="224"/>
                    <a:pt x="139" y="208"/>
                  </a:cubicBezTo>
                  <a:lnTo>
                    <a:pt x="139" y="208"/>
                  </a:lnTo>
                  <a:cubicBezTo>
                    <a:pt x="113" y="201"/>
                    <a:pt x="99" y="175"/>
                    <a:pt x="59" y="175"/>
                  </a:cubicBezTo>
                  <a:lnTo>
                    <a:pt x="59" y="175"/>
                  </a:lnTo>
                  <a:cubicBezTo>
                    <a:pt x="64" y="171"/>
                    <a:pt x="70" y="165"/>
                    <a:pt x="75" y="165"/>
                  </a:cubicBezTo>
                  <a:lnTo>
                    <a:pt x="75" y="165"/>
                  </a:lnTo>
                  <a:cubicBezTo>
                    <a:pt x="75" y="142"/>
                    <a:pt x="81" y="131"/>
                    <a:pt x="85" y="111"/>
                  </a:cubicBezTo>
                  <a:lnTo>
                    <a:pt x="85" y="111"/>
                  </a:lnTo>
                  <a:cubicBezTo>
                    <a:pt x="55" y="103"/>
                    <a:pt x="24" y="122"/>
                    <a:pt x="5" y="103"/>
                  </a:cubicBezTo>
                  <a:lnTo>
                    <a:pt x="5" y="103"/>
                  </a:lnTo>
                  <a:cubicBezTo>
                    <a:pt x="33" y="103"/>
                    <a:pt x="81" y="94"/>
                    <a:pt x="101" y="87"/>
                  </a:cubicBezTo>
                  <a:lnTo>
                    <a:pt x="101" y="87"/>
                  </a:lnTo>
                  <a:cubicBezTo>
                    <a:pt x="95" y="83"/>
                    <a:pt x="94" y="78"/>
                    <a:pt x="94" y="72"/>
                  </a:cubicBezTo>
                  <a:lnTo>
                    <a:pt x="94" y="72"/>
                  </a:lnTo>
                  <a:cubicBezTo>
                    <a:pt x="72" y="72"/>
                    <a:pt x="4" y="52"/>
                    <a:pt x="0" y="32"/>
                  </a:cubicBezTo>
                  <a:lnTo>
                    <a:pt x="0" y="32"/>
                  </a:lnTo>
                  <a:cubicBezTo>
                    <a:pt x="16" y="26"/>
                    <a:pt x="26" y="30"/>
                    <a:pt x="36" y="35"/>
                  </a:cubicBezTo>
                  <a:lnTo>
                    <a:pt x="36" y="21"/>
                  </a:lnTo>
                  <a:lnTo>
                    <a:pt x="36" y="21"/>
                  </a:lnTo>
                  <a:cubicBezTo>
                    <a:pt x="51" y="21"/>
                    <a:pt x="55" y="0"/>
                    <a:pt x="70" y="0"/>
                  </a:cubicBezTo>
                  <a:lnTo>
                    <a:pt x="85" y="0"/>
                  </a:lnTo>
                  <a:lnTo>
                    <a:pt x="85" y="0"/>
                  </a:lnTo>
                  <a:cubicBezTo>
                    <a:pt x="86" y="12"/>
                    <a:pt x="94" y="17"/>
                    <a:pt x="95" y="28"/>
                  </a:cubicBezTo>
                  <a:lnTo>
                    <a:pt x="95" y="28"/>
                  </a:lnTo>
                  <a:cubicBezTo>
                    <a:pt x="94" y="41"/>
                    <a:pt x="110" y="65"/>
                    <a:pt x="123" y="65"/>
                  </a:cubicBezTo>
                  <a:lnTo>
                    <a:pt x="123" y="65"/>
                  </a:lnTo>
                  <a:cubicBezTo>
                    <a:pt x="136" y="65"/>
                    <a:pt x="147" y="55"/>
                    <a:pt x="156" y="54"/>
                  </a:cubicBezTo>
                  <a:lnTo>
                    <a:pt x="156" y="54"/>
                  </a:lnTo>
                  <a:cubicBezTo>
                    <a:pt x="152" y="41"/>
                    <a:pt x="150" y="37"/>
                    <a:pt x="156" y="30"/>
                  </a:cubicBezTo>
                  <a:lnTo>
                    <a:pt x="156" y="30"/>
                  </a:lnTo>
                  <a:cubicBezTo>
                    <a:pt x="163" y="37"/>
                    <a:pt x="168" y="47"/>
                    <a:pt x="180" y="47"/>
                  </a:cubicBezTo>
                  <a:lnTo>
                    <a:pt x="224" y="35"/>
                  </a:lnTo>
                  <a:lnTo>
                    <a:pt x="224" y="35"/>
                  </a:lnTo>
                  <a:cubicBezTo>
                    <a:pt x="238" y="39"/>
                    <a:pt x="242" y="45"/>
                    <a:pt x="249" y="49"/>
                  </a:cubicBezTo>
                  <a:lnTo>
                    <a:pt x="249" y="49"/>
                  </a:lnTo>
                  <a:cubicBezTo>
                    <a:pt x="247" y="43"/>
                    <a:pt x="249" y="35"/>
                    <a:pt x="249" y="30"/>
                  </a:cubicBezTo>
                  <a:lnTo>
                    <a:pt x="249" y="30"/>
                  </a:lnTo>
                  <a:cubicBezTo>
                    <a:pt x="277" y="30"/>
                    <a:pt x="291" y="35"/>
                    <a:pt x="308" y="35"/>
                  </a:cubicBezTo>
                  <a:lnTo>
                    <a:pt x="308" y="35"/>
                  </a:lnTo>
                  <a:cubicBezTo>
                    <a:pt x="332" y="35"/>
                    <a:pt x="354" y="13"/>
                    <a:pt x="370" y="30"/>
                  </a:cubicBezTo>
                  <a:lnTo>
                    <a:pt x="370" y="30"/>
                  </a:lnTo>
                  <a:cubicBezTo>
                    <a:pt x="370" y="16"/>
                    <a:pt x="374" y="10"/>
                    <a:pt x="378" y="3"/>
                  </a:cubicBezTo>
                  <a:lnTo>
                    <a:pt x="378" y="3"/>
                  </a:lnTo>
                  <a:cubicBezTo>
                    <a:pt x="390" y="6"/>
                    <a:pt x="390" y="8"/>
                    <a:pt x="398" y="3"/>
                  </a:cubicBezTo>
                  <a:lnTo>
                    <a:pt x="398" y="3"/>
                  </a:lnTo>
                  <a:cubicBezTo>
                    <a:pt x="398" y="24"/>
                    <a:pt x="412" y="26"/>
                    <a:pt x="430" y="26"/>
                  </a:cubicBezTo>
                  <a:lnTo>
                    <a:pt x="430" y="26"/>
                  </a:lnTo>
                  <a:cubicBezTo>
                    <a:pt x="447" y="26"/>
                    <a:pt x="458" y="17"/>
                    <a:pt x="475" y="17"/>
                  </a:cubicBezTo>
                  <a:lnTo>
                    <a:pt x="475" y="17"/>
                  </a:lnTo>
                  <a:cubicBezTo>
                    <a:pt x="469" y="21"/>
                    <a:pt x="463" y="28"/>
                    <a:pt x="463" y="34"/>
                  </a:cubicBezTo>
                  <a:lnTo>
                    <a:pt x="463" y="34"/>
                  </a:lnTo>
                  <a:cubicBezTo>
                    <a:pt x="463" y="87"/>
                    <a:pt x="532" y="74"/>
                    <a:pt x="532" y="125"/>
                  </a:cubicBezTo>
                  <a:lnTo>
                    <a:pt x="528" y="129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3" name="Freeform 91">
              <a:extLst>
                <a:ext uri="{FF2B5EF4-FFF2-40B4-BE49-F238E27FC236}">
                  <a16:creationId xmlns:a16="http://schemas.microsoft.com/office/drawing/2014/main" id="{A1E80F2D-3923-A44F-9050-060BBD8D1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5182" y="6106243"/>
              <a:ext cx="357157" cy="123854"/>
            </a:xfrm>
            <a:custGeom>
              <a:avLst/>
              <a:gdLst>
                <a:gd name="T0" fmla="*/ 544 w 545"/>
                <a:gd name="T1" fmla="*/ 165 h 188"/>
                <a:gd name="T2" fmla="*/ 544 w 545"/>
                <a:gd name="T3" fmla="*/ 165 h 188"/>
                <a:gd name="T4" fmla="*/ 474 w 545"/>
                <a:gd name="T5" fmla="*/ 187 h 188"/>
                <a:gd name="T6" fmla="*/ 474 w 545"/>
                <a:gd name="T7" fmla="*/ 187 h 188"/>
                <a:gd name="T8" fmla="*/ 368 w 545"/>
                <a:gd name="T9" fmla="*/ 174 h 188"/>
                <a:gd name="T10" fmla="*/ 368 w 545"/>
                <a:gd name="T11" fmla="*/ 163 h 188"/>
                <a:gd name="T12" fmla="*/ 368 w 545"/>
                <a:gd name="T13" fmla="*/ 163 h 188"/>
                <a:gd name="T14" fmla="*/ 387 w 545"/>
                <a:gd name="T15" fmla="*/ 147 h 188"/>
                <a:gd name="T16" fmla="*/ 387 w 545"/>
                <a:gd name="T17" fmla="*/ 147 h 188"/>
                <a:gd name="T18" fmla="*/ 325 w 545"/>
                <a:gd name="T19" fmla="*/ 108 h 188"/>
                <a:gd name="T20" fmla="*/ 325 w 545"/>
                <a:gd name="T21" fmla="*/ 108 h 188"/>
                <a:gd name="T22" fmla="*/ 304 w 545"/>
                <a:gd name="T23" fmla="*/ 92 h 188"/>
                <a:gd name="T24" fmla="*/ 304 w 545"/>
                <a:gd name="T25" fmla="*/ 92 h 188"/>
                <a:gd name="T26" fmla="*/ 266 w 545"/>
                <a:gd name="T27" fmla="*/ 90 h 188"/>
                <a:gd name="T28" fmla="*/ 266 w 545"/>
                <a:gd name="T29" fmla="*/ 90 h 188"/>
                <a:gd name="T30" fmla="*/ 202 w 545"/>
                <a:gd name="T31" fmla="*/ 62 h 188"/>
                <a:gd name="T32" fmla="*/ 148 w 545"/>
                <a:gd name="T33" fmla="*/ 62 h 188"/>
                <a:gd name="T34" fmla="*/ 148 w 545"/>
                <a:gd name="T35" fmla="*/ 62 h 188"/>
                <a:gd name="T36" fmla="*/ 145 w 545"/>
                <a:gd name="T37" fmla="*/ 42 h 188"/>
                <a:gd name="T38" fmla="*/ 145 w 545"/>
                <a:gd name="T39" fmla="*/ 42 h 188"/>
                <a:gd name="T40" fmla="*/ 119 w 545"/>
                <a:gd name="T41" fmla="*/ 36 h 188"/>
                <a:gd name="T42" fmla="*/ 119 w 545"/>
                <a:gd name="T43" fmla="*/ 36 h 188"/>
                <a:gd name="T44" fmla="*/ 17 w 545"/>
                <a:gd name="T45" fmla="*/ 80 h 188"/>
                <a:gd name="T46" fmla="*/ 0 w 545"/>
                <a:gd name="T47" fmla="*/ 80 h 188"/>
                <a:gd name="T48" fmla="*/ 0 w 545"/>
                <a:gd name="T49" fmla="*/ 80 h 188"/>
                <a:gd name="T50" fmla="*/ 150 w 545"/>
                <a:gd name="T51" fmla="*/ 0 h 188"/>
                <a:gd name="T52" fmla="*/ 150 w 545"/>
                <a:gd name="T53" fmla="*/ 0 h 188"/>
                <a:gd name="T54" fmla="*/ 330 w 545"/>
                <a:gd name="T55" fmla="*/ 46 h 188"/>
                <a:gd name="T56" fmla="*/ 330 w 545"/>
                <a:gd name="T57" fmla="*/ 46 h 188"/>
                <a:gd name="T58" fmla="*/ 361 w 545"/>
                <a:gd name="T59" fmla="*/ 67 h 188"/>
                <a:gd name="T60" fmla="*/ 361 w 545"/>
                <a:gd name="T61" fmla="*/ 67 h 188"/>
                <a:gd name="T62" fmla="*/ 474 w 545"/>
                <a:gd name="T63" fmla="*/ 113 h 188"/>
                <a:gd name="T64" fmla="*/ 474 w 545"/>
                <a:gd name="T65" fmla="*/ 113 h 188"/>
                <a:gd name="T66" fmla="*/ 474 w 545"/>
                <a:gd name="T67" fmla="*/ 126 h 188"/>
                <a:gd name="T68" fmla="*/ 502 w 545"/>
                <a:gd name="T69" fmla="*/ 128 h 188"/>
                <a:gd name="T70" fmla="*/ 502 w 545"/>
                <a:gd name="T71" fmla="*/ 128 h 188"/>
                <a:gd name="T72" fmla="*/ 544 w 545"/>
                <a:gd name="T73" fmla="*/ 16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5" h="188">
                  <a:moveTo>
                    <a:pt x="544" y="165"/>
                  </a:moveTo>
                  <a:lnTo>
                    <a:pt x="544" y="165"/>
                  </a:lnTo>
                  <a:cubicBezTo>
                    <a:pt x="531" y="187"/>
                    <a:pt x="497" y="187"/>
                    <a:pt x="474" y="187"/>
                  </a:cubicBezTo>
                  <a:lnTo>
                    <a:pt x="474" y="187"/>
                  </a:lnTo>
                  <a:cubicBezTo>
                    <a:pt x="432" y="187"/>
                    <a:pt x="403" y="174"/>
                    <a:pt x="368" y="174"/>
                  </a:cubicBezTo>
                  <a:lnTo>
                    <a:pt x="368" y="163"/>
                  </a:lnTo>
                  <a:lnTo>
                    <a:pt x="368" y="163"/>
                  </a:lnTo>
                  <a:cubicBezTo>
                    <a:pt x="377" y="163"/>
                    <a:pt x="385" y="155"/>
                    <a:pt x="387" y="147"/>
                  </a:cubicBezTo>
                  <a:lnTo>
                    <a:pt x="387" y="147"/>
                  </a:lnTo>
                  <a:cubicBezTo>
                    <a:pt x="359" y="134"/>
                    <a:pt x="330" y="135"/>
                    <a:pt x="325" y="108"/>
                  </a:cubicBezTo>
                  <a:lnTo>
                    <a:pt x="325" y="108"/>
                  </a:lnTo>
                  <a:cubicBezTo>
                    <a:pt x="310" y="108"/>
                    <a:pt x="312" y="95"/>
                    <a:pt x="304" y="92"/>
                  </a:cubicBezTo>
                  <a:lnTo>
                    <a:pt x="304" y="92"/>
                  </a:lnTo>
                  <a:cubicBezTo>
                    <a:pt x="289" y="84"/>
                    <a:pt x="280" y="90"/>
                    <a:pt x="266" y="90"/>
                  </a:cubicBezTo>
                  <a:lnTo>
                    <a:pt x="266" y="90"/>
                  </a:lnTo>
                  <a:cubicBezTo>
                    <a:pt x="240" y="90"/>
                    <a:pt x="227" y="62"/>
                    <a:pt x="202" y="62"/>
                  </a:cubicBezTo>
                  <a:lnTo>
                    <a:pt x="148" y="62"/>
                  </a:lnTo>
                  <a:lnTo>
                    <a:pt x="148" y="62"/>
                  </a:lnTo>
                  <a:cubicBezTo>
                    <a:pt x="137" y="55"/>
                    <a:pt x="139" y="47"/>
                    <a:pt x="145" y="42"/>
                  </a:cubicBezTo>
                  <a:lnTo>
                    <a:pt x="145" y="42"/>
                  </a:lnTo>
                  <a:cubicBezTo>
                    <a:pt x="137" y="34"/>
                    <a:pt x="128" y="36"/>
                    <a:pt x="119" y="36"/>
                  </a:cubicBezTo>
                  <a:lnTo>
                    <a:pt x="119" y="36"/>
                  </a:lnTo>
                  <a:cubicBezTo>
                    <a:pt x="84" y="36"/>
                    <a:pt x="35" y="62"/>
                    <a:pt x="17" y="80"/>
                  </a:cubicBezTo>
                  <a:lnTo>
                    <a:pt x="0" y="80"/>
                  </a:lnTo>
                  <a:lnTo>
                    <a:pt x="0" y="80"/>
                  </a:lnTo>
                  <a:cubicBezTo>
                    <a:pt x="29" y="31"/>
                    <a:pt x="68" y="0"/>
                    <a:pt x="150" y="0"/>
                  </a:cubicBezTo>
                  <a:lnTo>
                    <a:pt x="150" y="0"/>
                  </a:lnTo>
                  <a:cubicBezTo>
                    <a:pt x="231" y="0"/>
                    <a:pt x="269" y="46"/>
                    <a:pt x="330" y="46"/>
                  </a:cubicBezTo>
                  <a:lnTo>
                    <a:pt x="330" y="46"/>
                  </a:lnTo>
                  <a:cubicBezTo>
                    <a:pt x="343" y="46"/>
                    <a:pt x="357" y="64"/>
                    <a:pt x="361" y="67"/>
                  </a:cubicBezTo>
                  <a:lnTo>
                    <a:pt x="361" y="67"/>
                  </a:lnTo>
                  <a:cubicBezTo>
                    <a:pt x="387" y="93"/>
                    <a:pt x="432" y="113"/>
                    <a:pt x="474" y="113"/>
                  </a:cubicBezTo>
                  <a:lnTo>
                    <a:pt x="474" y="113"/>
                  </a:lnTo>
                  <a:cubicBezTo>
                    <a:pt x="474" y="117"/>
                    <a:pt x="472" y="123"/>
                    <a:pt x="474" y="126"/>
                  </a:cubicBezTo>
                  <a:lnTo>
                    <a:pt x="502" y="128"/>
                  </a:lnTo>
                  <a:lnTo>
                    <a:pt x="502" y="128"/>
                  </a:lnTo>
                  <a:cubicBezTo>
                    <a:pt x="522" y="134"/>
                    <a:pt x="531" y="159"/>
                    <a:pt x="544" y="165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4" name="Freeform 92">
              <a:extLst>
                <a:ext uri="{FF2B5EF4-FFF2-40B4-BE49-F238E27FC236}">
                  <a16:creationId xmlns:a16="http://schemas.microsoft.com/office/drawing/2014/main" id="{22781C2D-51E1-B446-AF04-BD00457EBE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4147" y="6152327"/>
              <a:ext cx="20163" cy="23042"/>
            </a:xfrm>
            <a:custGeom>
              <a:avLst/>
              <a:gdLst>
                <a:gd name="T0" fmla="*/ 26 w 30"/>
                <a:gd name="T1" fmla="*/ 2 h 34"/>
                <a:gd name="T2" fmla="*/ 26 w 30"/>
                <a:gd name="T3" fmla="*/ 2 h 34"/>
                <a:gd name="T4" fmla="*/ 26 w 30"/>
                <a:gd name="T5" fmla="*/ 29 h 34"/>
                <a:gd name="T6" fmla="*/ 26 w 30"/>
                <a:gd name="T7" fmla="*/ 29 h 34"/>
                <a:gd name="T8" fmla="*/ 0 w 30"/>
                <a:gd name="T9" fmla="*/ 29 h 34"/>
                <a:gd name="T10" fmla="*/ 0 w 30"/>
                <a:gd name="T11" fmla="*/ 29 h 34"/>
                <a:gd name="T12" fmla="*/ 16 w 30"/>
                <a:gd name="T13" fmla="*/ 12 h 34"/>
                <a:gd name="T14" fmla="*/ 16 w 30"/>
                <a:gd name="T15" fmla="*/ 0 h 34"/>
                <a:gd name="T16" fmla="*/ 20 w 30"/>
                <a:gd name="T17" fmla="*/ 0 h 34"/>
                <a:gd name="T18" fmla="*/ 26 w 30"/>
                <a:gd name="T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4">
                  <a:moveTo>
                    <a:pt x="26" y="2"/>
                  </a:moveTo>
                  <a:lnTo>
                    <a:pt x="26" y="2"/>
                  </a:lnTo>
                  <a:cubicBezTo>
                    <a:pt x="28" y="10"/>
                    <a:pt x="29" y="20"/>
                    <a:pt x="26" y="29"/>
                  </a:cubicBezTo>
                  <a:lnTo>
                    <a:pt x="26" y="29"/>
                  </a:lnTo>
                  <a:cubicBezTo>
                    <a:pt x="24" y="29"/>
                    <a:pt x="0" y="33"/>
                    <a:pt x="0" y="29"/>
                  </a:cubicBezTo>
                  <a:lnTo>
                    <a:pt x="0" y="29"/>
                  </a:lnTo>
                  <a:cubicBezTo>
                    <a:pt x="0" y="16"/>
                    <a:pt x="11" y="12"/>
                    <a:pt x="16" y="12"/>
                  </a:cubicBezTo>
                  <a:lnTo>
                    <a:pt x="16" y="0"/>
                  </a:lnTo>
                  <a:lnTo>
                    <a:pt x="20" y="0"/>
                  </a:lnTo>
                  <a:lnTo>
                    <a:pt x="26" y="2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5" name="Freeform 93">
              <a:extLst>
                <a:ext uri="{FF2B5EF4-FFF2-40B4-BE49-F238E27FC236}">
                  <a16:creationId xmlns:a16="http://schemas.microsoft.com/office/drawing/2014/main" id="{51C9FF06-2783-0B49-8331-721988F50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2725" y="6273299"/>
              <a:ext cx="60487" cy="25924"/>
            </a:xfrm>
            <a:custGeom>
              <a:avLst/>
              <a:gdLst>
                <a:gd name="T0" fmla="*/ 73 w 91"/>
                <a:gd name="T1" fmla="*/ 10 h 39"/>
                <a:gd name="T2" fmla="*/ 73 w 91"/>
                <a:gd name="T3" fmla="*/ 10 h 39"/>
                <a:gd name="T4" fmla="*/ 90 w 91"/>
                <a:gd name="T5" fmla="*/ 27 h 39"/>
                <a:gd name="T6" fmla="*/ 90 w 91"/>
                <a:gd name="T7" fmla="*/ 27 h 39"/>
                <a:gd name="T8" fmla="*/ 29 w 91"/>
                <a:gd name="T9" fmla="*/ 38 h 39"/>
                <a:gd name="T10" fmla="*/ 29 w 91"/>
                <a:gd name="T11" fmla="*/ 38 h 39"/>
                <a:gd name="T12" fmla="*/ 0 w 91"/>
                <a:gd name="T13" fmla="*/ 10 h 39"/>
                <a:gd name="T14" fmla="*/ 0 w 91"/>
                <a:gd name="T15" fmla="*/ 10 h 39"/>
                <a:gd name="T16" fmla="*/ 19 w 91"/>
                <a:gd name="T17" fmla="*/ 0 h 39"/>
                <a:gd name="T18" fmla="*/ 19 w 91"/>
                <a:gd name="T19" fmla="*/ 0 h 39"/>
                <a:gd name="T20" fmla="*/ 77 w 91"/>
                <a:gd name="T21" fmla="*/ 14 h 39"/>
                <a:gd name="T22" fmla="*/ 73 w 91"/>
                <a:gd name="T23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39">
                  <a:moveTo>
                    <a:pt x="73" y="10"/>
                  </a:moveTo>
                  <a:lnTo>
                    <a:pt x="73" y="10"/>
                  </a:lnTo>
                  <a:cubicBezTo>
                    <a:pt x="84" y="14"/>
                    <a:pt x="88" y="20"/>
                    <a:pt x="90" y="27"/>
                  </a:cubicBezTo>
                  <a:lnTo>
                    <a:pt x="90" y="27"/>
                  </a:lnTo>
                  <a:cubicBezTo>
                    <a:pt x="68" y="31"/>
                    <a:pt x="52" y="38"/>
                    <a:pt x="29" y="38"/>
                  </a:cubicBezTo>
                  <a:lnTo>
                    <a:pt x="29" y="38"/>
                  </a:lnTo>
                  <a:cubicBezTo>
                    <a:pt x="15" y="38"/>
                    <a:pt x="0" y="26"/>
                    <a:pt x="0" y="10"/>
                  </a:cubicBezTo>
                  <a:lnTo>
                    <a:pt x="0" y="10"/>
                  </a:lnTo>
                  <a:cubicBezTo>
                    <a:pt x="0" y="3"/>
                    <a:pt x="11" y="0"/>
                    <a:pt x="19" y="0"/>
                  </a:cubicBezTo>
                  <a:lnTo>
                    <a:pt x="19" y="0"/>
                  </a:lnTo>
                  <a:cubicBezTo>
                    <a:pt x="40" y="0"/>
                    <a:pt x="66" y="10"/>
                    <a:pt x="77" y="14"/>
                  </a:cubicBezTo>
                  <a:lnTo>
                    <a:pt x="73" y="10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6" name="Freeform 94">
              <a:extLst>
                <a:ext uri="{FF2B5EF4-FFF2-40B4-BE49-F238E27FC236}">
                  <a16:creationId xmlns:a16="http://schemas.microsoft.com/office/drawing/2014/main" id="{15C47935-8D18-6040-A9E0-B4FD57417F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0047" y="6270420"/>
              <a:ext cx="48964" cy="20161"/>
            </a:xfrm>
            <a:custGeom>
              <a:avLst/>
              <a:gdLst>
                <a:gd name="T0" fmla="*/ 75 w 76"/>
                <a:gd name="T1" fmla="*/ 20 h 32"/>
                <a:gd name="T2" fmla="*/ 75 w 76"/>
                <a:gd name="T3" fmla="*/ 20 h 32"/>
                <a:gd name="T4" fmla="*/ 46 w 76"/>
                <a:gd name="T5" fmla="*/ 31 h 32"/>
                <a:gd name="T6" fmla="*/ 46 w 76"/>
                <a:gd name="T7" fmla="*/ 31 h 32"/>
                <a:gd name="T8" fmla="*/ 0 w 76"/>
                <a:gd name="T9" fmla="*/ 11 h 32"/>
                <a:gd name="T10" fmla="*/ 0 w 76"/>
                <a:gd name="T11" fmla="*/ 11 h 32"/>
                <a:gd name="T12" fmla="*/ 20 w 76"/>
                <a:gd name="T13" fmla="*/ 0 h 32"/>
                <a:gd name="T14" fmla="*/ 20 w 76"/>
                <a:gd name="T15" fmla="*/ 0 h 32"/>
                <a:gd name="T16" fmla="*/ 75 w 76"/>
                <a:gd name="T17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32">
                  <a:moveTo>
                    <a:pt x="75" y="20"/>
                  </a:moveTo>
                  <a:lnTo>
                    <a:pt x="75" y="20"/>
                  </a:lnTo>
                  <a:cubicBezTo>
                    <a:pt x="70" y="31"/>
                    <a:pt x="57" y="31"/>
                    <a:pt x="46" y="31"/>
                  </a:cubicBezTo>
                  <a:lnTo>
                    <a:pt x="46" y="31"/>
                  </a:lnTo>
                  <a:cubicBezTo>
                    <a:pt x="24" y="31"/>
                    <a:pt x="0" y="30"/>
                    <a:pt x="0" y="11"/>
                  </a:cubicBezTo>
                  <a:lnTo>
                    <a:pt x="0" y="11"/>
                  </a:lnTo>
                  <a:cubicBezTo>
                    <a:pt x="0" y="1"/>
                    <a:pt x="15" y="0"/>
                    <a:pt x="20" y="0"/>
                  </a:cubicBezTo>
                  <a:lnTo>
                    <a:pt x="20" y="0"/>
                  </a:lnTo>
                  <a:cubicBezTo>
                    <a:pt x="26" y="0"/>
                    <a:pt x="70" y="9"/>
                    <a:pt x="75" y="2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7" name="Freeform 95">
              <a:extLst>
                <a:ext uri="{FF2B5EF4-FFF2-40B4-BE49-F238E27FC236}">
                  <a16:creationId xmlns:a16="http://schemas.microsoft.com/office/drawing/2014/main" id="{C392F24C-4888-9843-8638-AD5826331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2339" y="6221454"/>
              <a:ext cx="204501" cy="83530"/>
            </a:xfrm>
            <a:custGeom>
              <a:avLst/>
              <a:gdLst>
                <a:gd name="T0" fmla="*/ 262 w 312"/>
                <a:gd name="T1" fmla="*/ 45 h 126"/>
                <a:gd name="T2" fmla="*/ 262 w 312"/>
                <a:gd name="T3" fmla="*/ 45 h 126"/>
                <a:gd name="T4" fmla="*/ 311 w 312"/>
                <a:gd name="T5" fmla="*/ 86 h 126"/>
                <a:gd name="T6" fmla="*/ 243 w 312"/>
                <a:gd name="T7" fmla="*/ 86 h 126"/>
                <a:gd name="T8" fmla="*/ 243 w 312"/>
                <a:gd name="T9" fmla="*/ 86 h 126"/>
                <a:gd name="T10" fmla="*/ 211 w 312"/>
                <a:gd name="T11" fmla="*/ 101 h 126"/>
                <a:gd name="T12" fmla="*/ 211 w 312"/>
                <a:gd name="T13" fmla="*/ 101 h 126"/>
                <a:gd name="T14" fmla="*/ 192 w 312"/>
                <a:gd name="T15" fmla="*/ 91 h 126"/>
                <a:gd name="T16" fmla="*/ 192 w 312"/>
                <a:gd name="T17" fmla="*/ 91 h 126"/>
                <a:gd name="T18" fmla="*/ 150 w 312"/>
                <a:gd name="T19" fmla="*/ 125 h 126"/>
                <a:gd name="T20" fmla="*/ 150 w 312"/>
                <a:gd name="T21" fmla="*/ 125 h 126"/>
                <a:gd name="T22" fmla="*/ 128 w 312"/>
                <a:gd name="T23" fmla="*/ 101 h 126"/>
                <a:gd name="T24" fmla="*/ 128 w 312"/>
                <a:gd name="T25" fmla="*/ 101 h 126"/>
                <a:gd name="T26" fmla="*/ 45 w 312"/>
                <a:gd name="T27" fmla="*/ 95 h 126"/>
                <a:gd name="T28" fmla="*/ 45 w 312"/>
                <a:gd name="T29" fmla="*/ 95 h 126"/>
                <a:gd name="T30" fmla="*/ 24 w 312"/>
                <a:gd name="T31" fmla="*/ 95 h 126"/>
                <a:gd name="T32" fmla="*/ 24 w 312"/>
                <a:gd name="T33" fmla="*/ 95 h 126"/>
                <a:gd name="T34" fmla="*/ 22 w 312"/>
                <a:gd name="T35" fmla="*/ 110 h 126"/>
                <a:gd name="T36" fmla="*/ 22 w 312"/>
                <a:gd name="T37" fmla="*/ 110 h 126"/>
                <a:gd name="T38" fmla="*/ 0 w 312"/>
                <a:gd name="T39" fmla="*/ 81 h 126"/>
                <a:gd name="T40" fmla="*/ 0 w 312"/>
                <a:gd name="T41" fmla="*/ 81 h 126"/>
                <a:gd name="T42" fmla="*/ 9 w 312"/>
                <a:gd name="T43" fmla="*/ 73 h 126"/>
                <a:gd name="T44" fmla="*/ 9 w 312"/>
                <a:gd name="T45" fmla="*/ 73 h 126"/>
                <a:gd name="T46" fmla="*/ 91 w 312"/>
                <a:gd name="T47" fmla="*/ 71 h 126"/>
                <a:gd name="T48" fmla="*/ 91 w 312"/>
                <a:gd name="T49" fmla="*/ 71 h 126"/>
                <a:gd name="T50" fmla="*/ 78 w 312"/>
                <a:gd name="T51" fmla="*/ 33 h 126"/>
                <a:gd name="T52" fmla="*/ 78 w 312"/>
                <a:gd name="T53" fmla="*/ 33 h 126"/>
                <a:gd name="T54" fmla="*/ 55 w 312"/>
                <a:gd name="T55" fmla="*/ 13 h 126"/>
                <a:gd name="T56" fmla="*/ 55 w 312"/>
                <a:gd name="T57" fmla="*/ 13 h 126"/>
                <a:gd name="T58" fmla="*/ 70 w 312"/>
                <a:gd name="T59" fmla="*/ 0 h 126"/>
                <a:gd name="T60" fmla="*/ 70 w 312"/>
                <a:gd name="T61" fmla="*/ 0 h 126"/>
                <a:gd name="T62" fmla="*/ 114 w 312"/>
                <a:gd name="T63" fmla="*/ 13 h 126"/>
                <a:gd name="T64" fmla="*/ 114 w 312"/>
                <a:gd name="T65" fmla="*/ 13 h 126"/>
                <a:gd name="T66" fmla="*/ 168 w 312"/>
                <a:gd name="T67" fmla="*/ 6 h 126"/>
                <a:gd name="T68" fmla="*/ 168 w 312"/>
                <a:gd name="T69" fmla="*/ 6 h 126"/>
                <a:gd name="T70" fmla="*/ 271 w 312"/>
                <a:gd name="T71" fmla="*/ 53 h 126"/>
                <a:gd name="T72" fmla="*/ 262 w 312"/>
                <a:gd name="T73" fmla="*/ 4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2" h="126">
                  <a:moveTo>
                    <a:pt x="262" y="45"/>
                  </a:moveTo>
                  <a:lnTo>
                    <a:pt x="262" y="45"/>
                  </a:lnTo>
                  <a:cubicBezTo>
                    <a:pt x="280" y="60"/>
                    <a:pt x="298" y="68"/>
                    <a:pt x="311" y="86"/>
                  </a:cubicBezTo>
                  <a:lnTo>
                    <a:pt x="243" y="86"/>
                  </a:lnTo>
                  <a:lnTo>
                    <a:pt x="243" y="86"/>
                  </a:lnTo>
                  <a:cubicBezTo>
                    <a:pt x="231" y="94"/>
                    <a:pt x="223" y="101"/>
                    <a:pt x="211" y="101"/>
                  </a:cubicBezTo>
                  <a:lnTo>
                    <a:pt x="211" y="101"/>
                  </a:lnTo>
                  <a:cubicBezTo>
                    <a:pt x="199" y="101"/>
                    <a:pt x="201" y="91"/>
                    <a:pt x="192" y="91"/>
                  </a:cubicBezTo>
                  <a:lnTo>
                    <a:pt x="192" y="91"/>
                  </a:lnTo>
                  <a:cubicBezTo>
                    <a:pt x="168" y="91"/>
                    <a:pt x="170" y="125"/>
                    <a:pt x="150" y="125"/>
                  </a:cubicBezTo>
                  <a:lnTo>
                    <a:pt x="150" y="125"/>
                  </a:lnTo>
                  <a:cubicBezTo>
                    <a:pt x="133" y="125"/>
                    <a:pt x="137" y="107"/>
                    <a:pt x="128" y="101"/>
                  </a:cubicBezTo>
                  <a:lnTo>
                    <a:pt x="128" y="101"/>
                  </a:lnTo>
                  <a:cubicBezTo>
                    <a:pt x="111" y="90"/>
                    <a:pt x="68" y="95"/>
                    <a:pt x="45" y="95"/>
                  </a:cubicBezTo>
                  <a:lnTo>
                    <a:pt x="45" y="95"/>
                  </a:lnTo>
                  <a:cubicBezTo>
                    <a:pt x="32" y="95"/>
                    <a:pt x="32" y="101"/>
                    <a:pt x="24" y="95"/>
                  </a:cubicBezTo>
                  <a:lnTo>
                    <a:pt x="24" y="95"/>
                  </a:lnTo>
                  <a:cubicBezTo>
                    <a:pt x="24" y="101"/>
                    <a:pt x="22" y="104"/>
                    <a:pt x="22" y="110"/>
                  </a:cubicBezTo>
                  <a:lnTo>
                    <a:pt x="22" y="110"/>
                  </a:lnTo>
                  <a:cubicBezTo>
                    <a:pt x="11" y="108"/>
                    <a:pt x="0" y="91"/>
                    <a:pt x="0" y="81"/>
                  </a:cubicBezTo>
                  <a:lnTo>
                    <a:pt x="0" y="81"/>
                  </a:lnTo>
                  <a:cubicBezTo>
                    <a:pt x="4" y="81"/>
                    <a:pt x="7" y="75"/>
                    <a:pt x="9" y="73"/>
                  </a:cubicBezTo>
                  <a:lnTo>
                    <a:pt x="9" y="73"/>
                  </a:lnTo>
                  <a:cubicBezTo>
                    <a:pt x="51" y="73"/>
                    <a:pt x="70" y="82"/>
                    <a:pt x="91" y="71"/>
                  </a:cubicBezTo>
                  <a:lnTo>
                    <a:pt x="91" y="71"/>
                  </a:lnTo>
                  <a:cubicBezTo>
                    <a:pt x="80" y="60"/>
                    <a:pt x="78" y="47"/>
                    <a:pt x="78" y="33"/>
                  </a:cubicBezTo>
                  <a:lnTo>
                    <a:pt x="78" y="33"/>
                  </a:lnTo>
                  <a:cubicBezTo>
                    <a:pt x="68" y="33"/>
                    <a:pt x="55" y="24"/>
                    <a:pt x="55" y="13"/>
                  </a:cubicBezTo>
                  <a:lnTo>
                    <a:pt x="55" y="13"/>
                  </a:lnTo>
                  <a:cubicBezTo>
                    <a:pt x="55" y="7"/>
                    <a:pt x="64" y="0"/>
                    <a:pt x="70" y="0"/>
                  </a:cubicBezTo>
                  <a:lnTo>
                    <a:pt x="70" y="0"/>
                  </a:lnTo>
                  <a:cubicBezTo>
                    <a:pt x="86" y="0"/>
                    <a:pt x="97" y="13"/>
                    <a:pt x="114" y="13"/>
                  </a:cubicBezTo>
                  <a:lnTo>
                    <a:pt x="114" y="13"/>
                  </a:lnTo>
                  <a:cubicBezTo>
                    <a:pt x="137" y="13"/>
                    <a:pt x="148" y="6"/>
                    <a:pt x="168" y="6"/>
                  </a:cubicBezTo>
                  <a:lnTo>
                    <a:pt x="168" y="6"/>
                  </a:lnTo>
                  <a:cubicBezTo>
                    <a:pt x="227" y="6"/>
                    <a:pt x="238" y="37"/>
                    <a:pt x="271" y="53"/>
                  </a:cubicBezTo>
                  <a:lnTo>
                    <a:pt x="262" y="45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8" name="Freeform 96">
              <a:extLst>
                <a:ext uri="{FF2B5EF4-FFF2-40B4-BE49-F238E27FC236}">
                  <a16:creationId xmlns:a16="http://schemas.microsoft.com/office/drawing/2014/main" id="{A157A952-7693-2D41-9857-76941EBB3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4386" y="6546930"/>
              <a:ext cx="25922" cy="28803"/>
            </a:xfrm>
            <a:custGeom>
              <a:avLst/>
              <a:gdLst>
                <a:gd name="T0" fmla="*/ 39 w 40"/>
                <a:gd name="T1" fmla="*/ 13 h 43"/>
                <a:gd name="T2" fmla="*/ 39 w 40"/>
                <a:gd name="T3" fmla="*/ 0 h 43"/>
                <a:gd name="T4" fmla="*/ 22 w 40"/>
                <a:gd name="T5" fmla="*/ 0 h 43"/>
                <a:gd name="T6" fmla="*/ 22 w 40"/>
                <a:gd name="T7" fmla="*/ 0 h 43"/>
                <a:gd name="T8" fmla="*/ 0 w 40"/>
                <a:gd name="T9" fmla="*/ 37 h 43"/>
                <a:gd name="T10" fmla="*/ 0 w 40"/>
                <a:gd name="T11" fmla="*/ 37 h 43"/>
                <a:gd name="T12" fmla="*/ 17 w 40"/>
                <a:gd name="T13" fmla="*/ 37 h 43"/>
                <a:gd name="T14" fmla="*/ 17 w 40"/>
                <a:gd name="T15" fmla="*/ 37 h 43"/>
                <a:gd name="T16" fmla="*/ 39 w 40"/>
                <a:gd name="T17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43">
                  <a:moveTo>
                    <a:pt x="39" y="13"/>
                  </a:moveTo>
                  <a:lnTo>
                    <a:pt x="39" y="0"/>
                  </a:lnTo>
                  <a:lnTo>
                    <a:pt x="22" y="0"/>
                  </a:lnTo>
                  <a:lnTo>
                    <a:pt x="22" y="0"/>
                  </a:lnTo>
                  <a:cubicBezTo>
                    <a:pt x="11" y="0"/>
                    <a:pt x="0" y="18"/>
                    <a:pt x="0" y="37"/>
                  </a:cubicBezTo>
                  <a:lnTo>
                    <a:pt x="0" y="37"/>
                  </a:lnTo>
                  <a:cubicBezTo>
                    <a:pt x="0" y="42"/>
                    <a:pt x="11" y="37"/>
                    <a:pt x="17" y="37"/>
                  </a:cubicBezTo>
                  <a:lnTo>
                    <a:pt x="17" y="37"/>
                  </a:lnTo>
                  <a:cubicBezTo>
                    <a:pt x="28" y="37"/>
                    <a:pt x="35" y="20"/>
                    <a:pt x="39" y="13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69" name="Freeform 97">
              <a:extLst>
                <a:ext uri="{FF2B5EF4-FFF2-40B4-BE49-F238E27FC236}">
                  <a16:creationId xmlns:a16="http://schemas.microsoft.com/office/drawing/2014/main" id="{7D589F09-5F30-D44A-A85E-08516C65C2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5943" y="6906967"/>
              <a:ext cx="83530" cy="63367"/>
            </a:xfrm>
            <a:custGeom>
              <a:avLst/>
              <a:gdLst>
                <a:gd name="T0" fmla="*/ 44 w 126"/>
                <a:gd name="T1" fmla="*/ 0 h 96"/>
                <a:gd name="T2" fmla="*/ 44 w 126"/>
                <a:gd name="T3" fmla="*/ 0 h 96"/>
                <a:gd name="T4" fmla="*/ 83 w 126"/>
                <a:gd name="T5" fmla="*/ 17 h 96"/>
                <a:gd name="T6" fmla="*/ 83 w 126"/>
                <a:gd name="T7" fmla="*/ 17 h 96"/>
                <a:gd name="T8" fmla="*/ 112 w 126"/>
                <a:gd name="T9" fmla="*/ 20 h 96"/>
                <a:gd name="T10" fmla="*/ 112 w 126"/>
                <a:gd name="T11" fmla="*/ 20 h 96"/>
                <a:gd name="T12" fmla="*/ 125 w 126"/>
                <a:gd name="T13" fmla="*/ 37 h 96"/>
                <a:gd name="T14" fmla="*/ 125 w 126"/>
                <a:gd name="T15" fmla="*/ 37 h 96"/>
                <a:gd name="T16" fmla="*/ 75 w 126"/>
                <a:gd name="T17" fmla="*/ 95 h 96"/>
                <a:gd name="T18" fmla="*/ 75 w 126"/>
                <a:gd name="T19" fmla="*/ 95 h 96"/>
                <a:gd name="T20" fmla="*/ 0 w 126"/>
                <a:gd name="T21" fmla="*/ 46 h 96"/>
                <a:gd name="T22" fmla="*/ 0 w 126"/>
                <a:gd name="T23" fmla="*/ 46 h 96"/>
                <a:gd name="T24" fmla="*/ 37 w 126"/>
                <a:gd name="T25" fmla="*/ 0 h 96"/>
                <a:gd name="T26" fmla="*/ 37 w 126"/>
                <a:gd name="T27" fmla="*/ 0 h 96"/>
                <a:gd name="T28" fmla="*/ 44 w 126"/>
                <a:gd name="T2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96">
                  <a:moveTo>
                    <a:pt x="44" y="0"/>
                  </a:moveTo>
                  <a:lnTo>
                    <a:pt x="44" y="0"/>
                  </a:lnTo>
                  <a:cubicBezTo>
                    <a:pt x="55" y="8"/>
                    <a:pt x="68" y="17"/>
                    <a:pt x="83" y="17"/>
                  </a:cubicBezTo>
                  <a:lnTo>
                    <a:pt x="83" y="17"/>
                  </a:lnTo>
                  <a:cubicBezTo>
                    <a:pt x="86" y="41"/>
                    <a:pt x="102" y="20"/>
                    <a:pt x="112" y="20"/>
                  </a:cubicBezTo>
                  <a:lnTo>
                    <a:pt x="112" y="20"/>
                  </a:lnTo>
                  <a:cubicBezTo>
                    <a:pt x="119" y="20"/>
                    <a:pt x="125" y="33"/>
                    <a:pt x="125" y="37"/>
                  </a:cubicBezTo>
                  <a:lnTo>
                    <a:pt x="125" y="37"/>
                  </a:lnTo>
                  <a:cubicBezTo>
                    <a:pt x="125" y="54"/>
                    <a:pt x="97" y="95"/>
                    <a:pt x="75" y="95"/>
                  </a:cubicBezTo>
                  <a:lnTo>
                    <a:pt x="75" y="95"/>
                  </a:lnTo>
                  <a:cubicBezTo>
                    <a:pt x="48" y="95"/>
                    <a:pt x="0" y="63"/>
                    <a:pt x="0" y="46"/>
                  </a:cubicBezTo>
                  <a:lnTo>
                    <a:pt x="0" y="46"/>
                  </a:lnTo>
                  <a:cubicBezTo>
                    <a:pt x="0" y="19"/>
                    <a:pt x="15" y="0"/>
                    <a:pt x="37" y="0"/>
                  </a:cubicBezTo>
                  <a:lnTo>
                    <a:pt x="37" y="0"/>
                  </a:lnTo>
                  <a:cubicBezTo>
                    <a:pt x="38" y="0"/>
                    <a:pt x="44" y="2"/>
                    <a:pt x="44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0" name="Freeform 98">
              <a:extLst>
                <a:ext uri="{FF2B5EF4-FFF2-40B4-BE49-F238E27FC236}">
                  <a16:creationId xmlns:a16="http://schemas.microsoft.com/office/drawing/2014/main" id="{375C35A9-5C4B-194C-A48D-E332BB51E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0981" y="8447929"/>
              <a:ext cx="28803" cy="69127"/>
            </a:xfrm>
            <a:custGeom>
              <a:avLst/>
              <a:gdLst>
                <a:gd name="T0" fmla="*/ 0 w 45"/>
                <a:gd name="T1" fmla="*/ 55 h 105"/>
                <a:gd name="T2" fmla="*/ 0 w 45"/>
                <a:gd name="T3" fmla="*/ 55 h 105"/>
                <a:gd name="T4" fmla="*/ 21 w 45"/>
                <a:gd name="T5" fmla="*/ 0 h 105"/>
                <a:gd name="T6" fmla="*/ 21 w 45"/>
                <a:gd name="T7" fmla="*/ 0 h 105"/>
                <a:gd name="T8" fmla="*/ 44 w 45"/>
                <a:gd name="T9" fmla="*/ 29 h 105"/>
                <a:gd name="T10" fmla="*/ 44 w 45"/>
                <a:gd name="T11" fmla="*/ 29 h 105"/>
                <a:gd name="T12" fmla="*/ 36 w 45"/>
                <a:gd name="T13" fmla="*/ 50 h 105"/>
                <a:gd name="T14" fmla="*/ 36 w 45"/>
                <a:gd name="T15" fmla="*/ 104 h 105"/>
                <a:gd name="T16" fmla="*/ 20 w 45"/>
                <a:gd name="T17" fmla="*/ 104 h 105"/>
                <a:gd name="T18" fmla="*/ 20 w 45"/>
                <a:gd name="T19" fmla="*/ 104 h 105"/>
                <a:gd name="T20" fmla="*/ 0 w 45"/>
                <a:gd name="T21" fmla="*/ 79 h 105"/>
                <a:gd name="T22" fmla="*/ 0 w 45"/>
                <a:gd name="T23" fmla="*/ 5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105">
                  <a:moveTo>
                    <a:pt x="0" y="55"/>
                  </a:moveTo>
                  <a:lnTo>
                    <a:pt x="0" y="55"/>
                  </a:lnTo>
                  <a:cubicBezTo>
                    <a:pt x="0" y="55"/>
                    <a:pt x="11" y="0"/>
                    <a:pt x="21" y="0"/>
                  </a:cubicBezTo>
                  <a:lnTo>
                    <a:pt x="21" y="0"/>
                  </a:lnTo>
                  <a:cubicBezTo>
                    <a:pt x="39" y="0"/>
                    <a:pt x="44" y="14"/>
                    <a:pt x="44" y="29"/>
                  </a:cubicBezTo>
                  <a:lnTo>
                    <a:pt x="44" y="29"/>
                  </a:lnTo>
                  <a:cubicBezTo>
                    <a:pt x="44" y="40"/>
                    <a:pt x="39" y="44"/>
                    <a:pt x="36" y="50"/>
                  </a:cubicBezTo>
                  <a:lnTo>
                    <a:pt x="36" y="104"/>
                  </a:lnTo>
                  <a:lnTo>
                    <a:pt x="20" y="104"/>
                  </a:lnTo>
                  <a:lnTo>
                    <a:pt x="20" y="104"/>
                  </a:lnTo>
                  <a:cubicBezTo>
                    <a:pt x="9" y="102"/>
                    <a:pt x="0" y="86"/>
                    <a:pt x="0" y="79"/>
                  </a:cubicBezTo>
                  <a:lnTo>
                    <a:pt x="0" y="55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1" name="Freeform 99">
              <a:extLst>
                <a:ext uri="{FF2B5EF4-FFF2-40B4-BE49-F238E27FC236}">
                  <a16:creationId xmlns:a16="http://schemas.microsoft.com/office/drawing/2014/main" id="{750EC396-EFD1-7041-B084-EF02127FA6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3274" y="6489324"/>
              <a:ext cx="1589927" cy="2563469"/>
            </a:xfrm>
            <a:custGeom>
              <a:avLst/>
              <a:gdLst>
                <a:gd name="T0" fmla="*/ 202 w 2436"/>
                <a:gd name="T1" fmla="*/ 327 h 3925"/>
                <a:gd name="T2" fmla="*/ 236 w 2436"/>
                <a:gd name="T3" fmla="*/ 210 h 3925"/>
                <a:gd name="T4" fmla="*/ 276 w 2436"/>
                <a:gd name="T5" fmla="*/ 159 h 3925"/>
                <a:gd name="T6" fmla="*/ 462 w 2436"/>
                <a:gd name="T7" fmla="*/ 34 h 3925"/>
                <a:gd name="T8" fmla="*/ 513 w 2436"/>
                <a:gd name="T9" fmla="*/ 43 h 3925"/>
                <a:gd name="T10" fmla="*/ 544 w 2436"/>
                <a:gd name="T11" fmla="*/ 144 h 3925"/>
                <a:gd name="T12" fmla="*/ 577 w 2436"/>
                <a:gd name="T13" fmla="*/ 19 h 3925"/>
                <a:gd name="T14" fmla="*/ 806 w 2436"/>
                <a:gd name="T15" fmla="*/ 96 h 3925"/>
                <a:gd name="T16" fmla="*/ 945 w 2436"/>
                <a:gd name="T17" fmla="*/ 82 h 3925"/>
                <a:gd name="T18" fmla="*/ 970 w 2436"/>
                <a:gd name="T19" fmla="*/ 105 h 3925"/>
                <a:gd name="T20" fmla="*/ 1198 w 2436"/>
                <a:gd name="T21" fmla="*/ 279 h 3925"/>
                <a:gd name="T22" fmla="*/ 1413 w 2436"/>
                <a:gd name="T23" fmla="*/ 346 h 3925"/>
                <a:gd name="T24" fmla="*/ 1583 w 2436"/>
                <a:gd name="T25" fmla="*/ 437 h 3925"/>
                <a:gd name="T26" fmla="*/ 1567 w 2436"/>
                <a:gd name="T27" fmla="*/ 684 h 3925"/>
                <a:gd name="T28" fmla="*/ 1677 w 2436"/>
                <a:gd name="T29" fmla="*/ 767 h 3925"/>
                <a:gd name="T30" fmla="*/ 1889 w 2436"/>
                <a:gd name="T31" fmla="*/ 727 h 3925"/>
                <a:gd name="T32" fmla="*/ 1940 w 2436"/>
                <a:gd name="T33" fmla="*/ 793 h 3925"/>
                <a:gd name="T34" fmla="*/ 2219 w 2436"/>
                <a:gd name="T35" fmla="*/ 822 h 3925"/>
                <a:gd name="T36" fmla="*/ 2435 w 2436"/>
                <a:gd name="T37" fmla="*/ 1002 h 3925"/>
                <a:gd name="T38" fmla="*/ 2225 w 2436"/>
                <a:gd name="T39" fmla="*/ 1335 h 3925"/>
                <a:gd name="T40" fmla="*/ 2202 w 2436"/>
                <a:gd name="T41" fmla="*/ 1575 h 3925"/>
                <a:gd name="T42" fmla="*/ 2106 w 2436"/>
                <a:gd name="T43" fmla="*/ 1776 h 3925"/>
                <a:gd name="T44" fmla="*/ 1926 w 2436"/>
                <a:gd name="T45" fmla="*/ 1876 h 3925"/>
                <a:gd name="T46" fmla="*/ 1731 w 2436"/>
                <a:gd name="T47" fmla="*/ 2004 h 3925"/>
                <a:gd name="T48" fmla="*/ 1638 w 2436"/>
                <a:gd name="T49" fmla="*/ 2260 h 3925"/>
                <a:gd name="T50" fmla="*/ 1377 w 2436"/>
                <a:gd name="T51" fmla="*/ 2570 h 3925"/>
                <a:gd name="T52" fmla="*/ 1202 w 2436"/>
                <a:gd name="T53" fmla="*/ 2537 h 3925"/>
                <a:gd name="T54" fmla="*/ 1292 w 2436"/>
                <a:gd name="T55" fmla="*/ 2665 h 3925"/>
                <a:gd name="T56" fmla="*/ 1122 w 2436"/>
                <a:gd name="T57" fmla="*/ 2807 h 3925"/>
                <a:gd name="T58" fmla="*/ 996 w 2436"/>
                <a:gd name="T59" fmla="*/ 2934 h 3925"/>
                <a:gd name="T60" fmla="*/ 854 w 2436"/>
                <a:gd name="T61" fmla="*/ 2953 h 3925"/>
                <a:gd name="T62" fmla="*/ 934 w 2436"/>
                <a:gd name="T63" fmla="*/ 3031 h 3925"/>
                <a:gd name="T64" fmla="*/ 889 w 2436"/>
                <a:gd name="T65" fmla="*/ 3067 h 3925"/>
                <a:gd name="T66" fmla="*/ 741 w 2436"/>
                <a:gd name="T67" fmla="*/ 3266 h 3925"/>
                <a:gd name="T68" fmla="*/ 731 w 2436"/>
                <a:gd name="T69" fmla="*/ 3514 h 3925"/>
                <a:gd name="T70" fmla="*/ 669 w 2436"/>
                <a:gd name="T71" fmla="*/ 3669 h 3925"/>
                <a:gd name="T72" fmla="*/ 834 w 2436"/>
                <a:gd name="T73" fmla="*/ 3882 h 3925"/>
                <a:gd name="T74" fmla="*/ 654 w 2436"/>
                <a:gd name="T75" fmla="*/ 3924 h 3925"/>
                <a:gd name="T76" fmla="*/ 495 w 2436"/>
                <a:gd name="T77" fmla="*/ 3823 h 3925"/>
                <a:gd name="T78" fmla="*/ 369 w 2436"/>
                <a:gd name="T79" fmla="*/ 3731 h 3925"/>
                <a:gd name="T80" fmla="*/ 402 w 2436"/>
                <a:gd name="T81" fmla="*/ 3660 h 3925"/>
                <a:gd name="T82" fmla="*/ 366 w 2436"/>
                <a:gd name="T83" fmla="*/ 3348 h 3925"/>
                <a:gd name="T84" fmla="*/ 359 w 2436"/>
                <a:gd name="T85" fmla="*/ 3246 h 3925"/>
                <a:gd name="T86" fmla="*/ 451 w 2436"/>
                <a:gd name="T87" fmla="*/ 2980 h 3925"/>
                <a:gd name="T88" fmla="*/ 416 w 2436"/>
                <a:gd name="T89" fmla="*/ 2856 h 3925"/>
                <a:gd name="T90" fmla="*/ 415 w 2436"/>
                <a:gd name="T91" fmla="*/ 2761 h 3925"/>
                <a:gd name="T92" fmla="*/ 493 w 2436"/>
                <a:gd name="T93" fmla="*/ 2586 h 3925"/>
                <a:gd name="T94" fmla="*/ 524 w 2436"/>
                <a:gd name="T95" fmla="*/ 2244 h 3925"/>
                <a:gd name="T96" fmla="*/ 579 w 2436"/>
                <a:gd name="T97" fmla="*/ 1905 h 3925"/>
                <a:gd name="T98" fmla="*/ 502 w 2436"/>
                <a:gd name="T99" fmla="*/ 1565 h 3925"/>
                <a:gd name="T100" fmla="*/ 266 w 2436"/>
                <a:gd name="T101" fmla="*/ 1424 h 3925"/>
                <a:gd name="T102" fmla="*/ 160 w 2436"/>
                <a:gd name="T103" fmla="*/ 1181 h 3925"/>
                <a:gd name="T104" fmla="*/ 73 w 2436"/>
                <a:gd name="T105" fmla="*/ 1016 h 3925"/>
                <a:gd name="T106" fmla="*/ 21 w 2436"/>
                <a:gd name="T107" fmla="*/ 856 h 3925"/>
                <a:gd name="T108" fmla="*/ 21 w 2436"/>
                <a:gd name="T109" fmla="*/ 729 h 3925"/>
                <a:gd name="T110" fmla="*/ 215 w 2436"/>
                <a:gd name="T111" fmla="*/ 457 h 3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36" h="3925">
                  <a:moveTo>
                    <a:pt x="204" y="426"/>
                  </a:moveTo>
                  <a:lnTo>
                    <a:pt x="204" y="415"/>
                  </a:lnTo>
                  <a:lnTo>
                    <a:pt x="204" y="415"/>
                  </a:lnTo>
                  <a:cubicBezTo>
                    <a:pt x="204" y="401"/>
                    <a:pt x="193" y="390"/>
                    <a:pt x="193" y="375"/>
                  </a:cubicBezTo>
                  <a:lnTo>
                    <a:pt x="193" y="375"/>
                  </a:lnTo>
                  <a:cubicBezTo>
                    <a:pt x="193" y="353"/>
                    <a:pt x="202" y="346"/>
                    <a:pt x="202" y="327"/>
                  </a:cubicBezTo>
                  <a:lnTo>
                    <a:pt x="202" y="327"/>
                  </a:lnTo>
                  <a:cubicBezTo>
                    <a:pt x="202" y="288"/>
                    <a:pt x="169" y="295"/>
                    <a:pt x="169" y="262"/>
                  </a:cubicBezTo>
                  <a:lnTo>
                    <a:pt x="169" y="262"/>
                  </a:lnTo>
                  <a:cubicBezTo>
                    <a:pt x="169" y="236"/>
                    <a:pt x="205" y="225"/>
                    <a:pt x="215" y="210"/>
                  </a:cubicBezTo>
                  <a:lnTo>
                    <a:pt x="215" y="210"/>
                  </a:lnTo>
                  <a:cubicBezTo>
                    <a:pt x="229" y="214"/>
                    <a:pt x="224" y="214"/>
                    <a:pt x="236" y="210"/>
                  </a:cubicBezTo>
                  <a:lnTo>
                    <a:pt x="236" y="199"/>
                  </a:lnTo>
                  <a:lnTo>
                    <a:pt x="236" y="199"/>
                  </a:lnTo>
                  <a:cubicBezTo>
                    <a:pt x="236" y="195"/>
                    <a:pt x="244" y="190"/>
                    <a:pt x="247" y="190"/>
                  </a:cubicBezTo>
                  <a:lnTo>
                    <a:pt x="247" y="190"/>
                  </a:lnTo>
                  <a:cubicBezTo>
                    <a:pt x="247" y="172"/>
                    <a:pt x="266" y="166"/>
                    <a:pt x="276" y="159"/>
                  </a:cubicBezTo>
                  <a:lnTo>
                    <a:pt x="276" y="159"/>
                  </a:lnTo>
                  <a:cubicBezTo>
                    <a:pt x="288" y="151"/>
                    <a:pt x="289" y="128"/>
                    <a:pt x="294" y="113"/>
                  </a:cubicBezTo>
                  <a:lnTo>
                    <a:pt x="294" y="113"/>
                  </a:lnTo>
                  <a:cubicBezTo>
                    <a:pt x="302" y="84"/>
                    <a:pt x="319" y="78"/>
                    <a:pt x="343" y="71"/>
                  </a:cubicBezTo>
                  <a:lnTo>
                    <a:pt x="343" y="71"/>
                  </a:lnTo>
                  <a:cubicBezTo>
                    <a:pt x="387" y="56"/>
                    <a:pt x="416" y="49"/>
                    <a:pt x="462" y="34"/>
                  </a:cubicBezTo>
                  <a:lnTo>
                    <a:pt x="462" y="34"/>
                  </a:lnTo>
                  <a:cubicBezTo>
                    <a:pt x="486" y="26"/>
                    <a:pt x="491" y="0"/>
                    <a:pt x="515" y="0"/>
                  </a:cubicBezTo>
                  <a:lnTo>
                    <a:pt x="515" y="0"/>
                  </a:lnTo>
                  <a:cubicBezTo>
                    <a:pt x="524" y="0"/>
                    <a:pt x="531" y="20"/>
                    <a:pt x="531" y="21"/>
                  </a:cubicBezTo>
                  <a:lnTo>
                    <a:pt x="531" y="21"/>
                  </a:lnTo>
                  <a:cubicBezTo>
                    <a:pt x="531" y="36"/>
                    <a:pt x="520" y="43"/>
                    <a:pt x="513" y="43"/>
                  </a:cubicBezTo>
                  <a:lnTo>
                    <a:pt x="513" y="43"/>
                  </a:lnTo>
                  <a:cubicBezTo>
                    <a:pt x="508" y="71"/>
                    <a:pt x="497" y="102"/>
                    <a:pt x="497" y="118"/>
                  </a:cubicBezTo>
                  <a:lnTo>
                    <a:pt x="497" y="118"/>
                  </a:lnTo>
                  <a:cubicBezTo>
                    <a:pt x="497" y="138"/>
                    <a:pt x="507" y="174"/>
                    <a:pt x="527" y="174"/>
                  </a:cubicBezTo>
                  <a:lnTo>
                    <a:pt x="527" y="174"/>
                  </a:lnTo>
                  <a:cubicBezTo>
                    <a:pt x="534" y="174"/>
                    <a:pt x="544" y="151"/>
                    <a:pt x="544" y="144"/>
                  </a:cubicBezTo>
                  <a:lnTo>
                    <a:pt x="544" y="144"/>
                  </a:lnTo>
                  <a:cubicBezTo>
                    <a:pt x="544" y="122"/>
                    <a:pt x="523" y="109"/>
                    <a:pt x="523" y="87"/>
                  </a:cubicBezTo>
                  <a:lnTo>
                    <a:pt x="523" y="87"/>
                  </a:lnTo>
                  <a:cubicBezTo>
                    <a:pt x="523" y="60"/>
                    <a:pt x="551" y="64"/>
                    <a:pt x="568" y="53"/>
                  </a:cubicBezTo>
                  <a:lnTo>
                    <a:pt x="612" y="53"/>
                  </a:lnTo>
                  <a:lnTo>
                    <a:pt x="612" y="53"/>
                  </a:lnTo>
                  <a:cubicBezTo>
                    <a:pt x="605" y="30"/>
                    <a:pt x="577" y="40"/>
                    <a:pt x="577" y="19"/>
                  </a:cubicBezTo>
                  <a:lnTo>
                    <a:pt x="610" y="19"/>
                  </a:lnTo>
                  <a:lnTo>
                    <a:pt x="610" y="19"/>
                  </a:lnTo>
                  <a:cubicBezTo>
                    <a:pt x="617" y="47"/>
                    <a:pt x="658" y="58"/>
                    <a:pt x="685" y="64"/>
                  </a:cubicBezTo>
                  <a:lnTo>
                    <a:pt x="685" y="64"/>
                  </a:lnTo>
                  <a:cubicBezTo>
                    <a:pt x="685" y="82"/>
                    <a:pt x="697" y="95"/>
                    <a:pt x="708" y="96"/>
                  </a:cubicBezTo>
                  <a:lnTo>
                    <a:pt x="806" y="96"/>
                  </a:lnTo>
                  <a:lnTo>
                    <a:pt x="806" y="96"/>
                  </a:lnTo>
                  <a:cubicBezTo>
                    <a:pt x="806" y="113"/>
                    <a:pt x="829" y="116"/>
                    <a:pt x="843" y="116"/>
                  </a:cubicBezTo>
                  <a:lnTo>
                    <a:pt x="843" y="116"/>
                  </a:lnTo>
                  <a:cubicBezTo>
                    <a:pt x="870" y="113"/>
                    <a:pt x="889" y="113"/>
                    <a:pt x="900" y="91"/>
                  </a:cubicBezTo>
                  <a:lnTo>
                    <a:pt x="900" y="91"/>
                  </a:lnTo>
                  <a:cubicBezTo>
                    <a:pt x="901" y="85"/>
                    <a:pt x="940" y="85"/>
                    <a:pt x="945" y="82"/>
                  </a:cubicBezTo>
                  <a:lnTo>
                    <a:pt x="945" y="82"/>
                  </a:lnTo>
                  <a:cubicBezTo>
                    <a:pt x="964" y="82"/>
                    <a:pt x="996" y="87"/>
                    <a:pt x="996" y="87"/>
                  </a:cubicBezTo>
                  <a:lnTo>
                    <a:pt x="996" y="87"/>
                  </a:lnTo>
                  <a:cubicBezTo>
                    <a:pt x="990" y="93"/>
                    <a:pt x="975" y="95"/>
                    <a:pt x="970" y="91"/>
                  </a:cubicBezTo>
                  <a:lnTo>
                    <a:pt x="970" y="105"/>
                  </a:lnTo>
                  <a:lnTo>
                    <a:pt x="970" y="105"/>
                  </a:lnTo>
                  <a:cubicBezTo>
                    <a:pt x="982" y="131"/>
                    <a:pt x="1021" y="136"/>
                    <a:pt x="1048" y="146"/>
                  </a:cubicBezTo>
                  <a:lnTo>
                    <a:pt x="1048" y="146"/>
                  </a:lnTo>
                  <a:cubicBezTo>
                    <a:pt x="1072" y="153"/>
                    <a:pt x="1066" y="180"/>
                    <a:pt x="1074" y="205"/>
                  </a:cubicBezTo>
                  <a:lnTo>
                    <a:pt x="1125" y="205"/>
                  </a:lnTo>
                  <a:lnTo>
                    <a:pt x="1125" y="205"/>
                  </a:lnTo>
                  <a:cubicBezTo>
                    <a:pt x="1160" y="239"/>
                    <a:pt x="1176" y="234"/>
                    <a:pt x="1198" y="279"/>
                  </a:cubicBezTo>
                  <a:lnTo>
                    <a:pt x="1198" y="279"/>
                  </a:lnTo>
                  <a:cubicBezTo>
                    <a:pt x="1202" y="287"/>
                    <a:pt x="1217" y="290"/>
                    <a:pt x="1226" y="290"/>
                  </a:cubicBezTo>
                  <a:lnTo>
                    <a:pt x="1226" y="290"/>
                  </a:lnTo>
                  <a:cubicBezTo>
                    <a:pt x="1238" y="342"/>
                    <a:pt x="1316" y="336"/>
                    <a:pt x="1366" y="346"/>
                  </a:cubicBezTo>
                  <a:lnTo>
                    <a:pt x="1413" y="346"/>
                  </a:lnTo>
                  <a:lnTo>
                    <a:pt x="1413" y="346"/>
                  </a:lnTo>
                  <a:cubicBezTo>
                    <a:pt x="1425" y="351"/>
                    <a:pt x="1455" y="366"/>
                    <a:pt x="1473" y="366"/>
                  </a:cubicBezTo>
                  <a:lnTo>
                    <a:pt x="1473" y="369"/>
                  </a:lnTo>
                  <a:lnTo>
                    <a:pt x="1484" y="369"/>
                  </a:lnTo>
                  <a:lnTo>
                    <a:pt x="1484" y="369"/>
                  </a:lnTo>
                  <a:cubicBezTo>
                    <a:pt x="1513" y="369"/>
                    <a:pt x="1552" y="429"/>
                    <a:pt x="1583" y="437"/>
                  </a:cubicBezTo>
                  <a:lnTo>
                    <a:pt x="1583" y="437"/>
                  </a:lnTo>
                  <a:cubicBezTo>
                    <a:pt x="1583" y="459"/>
                    <a:pt x="1607" y="518"/>
                    <a:pt x="1616" y="538"/>
                  </a:cubicBezTo>
                  <a:lnTo>
                    <a:pt x="1616" y="538"/>
                  </a:lnTo>
                  <a:cubicBezTo>
                    <a:pt x="1626" y="556"/>
                    <a:pt x="1649" y="556"/>
                    <a:pt x="1649" y="575"/>
                  </a:cubicBezTo>
                  <a:lnTo>
                    <a:pt x="1649" y="575"/>
                  </a:lnTo>
                  <a:cubicBezTo>
                    <a:pt x="1620" y="611"/>
                    <a:pt x="1567" y="629"/>
                    <a:pt x="1567" y="684"/>
                  </a:cubicBezTo>
                  <a:lnTo>
                    <a:pt x="1567" y="684"/>
                  </a:lnTo>
                  <a:cubicBezTo>
                    <a:pt x="1567" y="703"/>
                    <a:pt x="1583" y="701"/>
                    <a:pt x="1592" y="704"/>
                  </a:cubicBezTo>
                  <a:lnTo>
                    <a:pt x="1592" y="704"/>
                  </a:lnTo>
                  <a:cubicBezTo>
                    <a:pt x="1611" y="714"/>
                    <a:pt x="1620" y="729"/>
                    <a:pt x="1623" y="747"/>
                  </a:cubicBezTo>
                  <a:lnTo>
                    <a:pt x="1667" y="747"/>
                  </a:lnTo>
                  <a:lnTo>
                    <a:pt x="1667" y="747"/>
                  </a:lnTo>
                  <a:cubicBezTo>
                    <a:pt x="1667" y="752"/>
                    <a:pt x="1671" y="767"/>
                    <a:pt x="1677" y="767"/>
                  </a:cubicBezTo>
                  <a:lnTo>
                    <a:pt x="1677" y="767"/>
                  </a:lnTo>
                  <a:cubicBezTo>
                    <a:pt x="1684" y="767"/>
                    <a:pt x="1691" y="754"/>
                    <a:pt x="1697" y="745"/>
                  </a:cubicBezTo>
                  <a:lnTo>
                    <a:pt x="1697" y="745"/>
                  </a:lnTo>
                  <a:cubicBezTo>
                    <a:pt x="1715" y="715"/>
                    <a:pt x="1737" y="677"/>
                    <a:pt x="1766" y="677"/>
                  </a:cubicBezTo>
                  <a:lnTo>
                    <a:pt x="1766" y="677"/>
                  </a:lnTo>
                  <a:cubicBezTo>
                    <a:pt x="1799" y="677"/>
                    <a:pt x="1865" y="712"/>
                    <a:pt x="1889" y="727"/>
                  </a:cubicBezTo>
                  <a:lnTo>
                    <a:pt x="1889" y="727"/>
                  </a:lnTo>
                  <a:cubicBezTo>
                    <a:pt x="1904" y="735"/>
                    <a:pt x="1920" y="732"/>
                    <a:pt x="1924" y="747"/>
                  </a:cubicBezTo>
                  <a:lnTo>
                    <a:pt x="1924" y="747"/>
                  </a:lnTo>
                  <a:cubicBezTo>
                    <a:pt x="1929" y="763"/>
                    <a:pt x="1927" y="776"/>
                    <a:pt x="1927" y="793"/>
                  </a:cubicBezTo>
                  <a:lnTo>
                    <a:pt x="1940" y="793"/>
                  </a:lnTo>
                  <a:lnTo>
                    <a:pt x="1940" y="793"/>
                  </a:lnTo>
                  <a:cubicBezTo>
                    <a:pt x="1957" y="785"/>
                    <a:pt x="1965" y="773"/>
                    <a:pt x="1981" y="773"/>
                  </a:cubicBezTo>
                  <a:lnTo>
                    <a:pt x="1981" y="773"/>
                  </a:lnTo>
                  <a:cubicBezTo>
                    <a:pt x="2019" y="773"/>
                    <a:pt x="2027" y="802"/>
                    <a:pt x="2063" y="802"/>
                  </a:cubicBezTo>
                  <a:lnTo>
                    <a:pt x="2133" y="793"/>
                  </a:lnTo>
                  <a:lnTo>
                    <a:pt x="2133" y="793"/>
                  </a:lnTo>
                  <a:cubicBezTo>
                    <a:pt x="2168" y="800"/>
                    <a:pt x="2199" y="813"/>
                    <a:pt x="2219" y="822"/>
                  </a:cubicBezTo>
                  <a:lnTo>
                    <a:pt x="2219" y="822"/>
                  </a:lnTo>
                  <a:cubicBezTo>
                    <a:pt x="2235" y="849"/>
                    <a:pt x="2292" y="901"/>
                    <a:pt x="2321" y="910"/>
                  </a:cubicBezTo>
                  <a:lnTo>
                    <a:pt x="2321" y="910"/>
                  </a:lnTo>
                  <a:cubicBezTo>
                    <a:pt x="2348" y="917"/>
                    <a:pt x="2364" y="906"/>
                    <a:pt x="2389" y="914"/>
                  </a:cubicBezTo>
                  <a:lnTo>
                    <a:pt x="2389" y="914"/>
                  </a:lnTo>
                  <a:cubicBezTo>
                    <a:pt x="2426" y="925"/>
                    <a:pt x="2435" y="963"/>
                    <a:pt x="2435" y="1002"/>
                  </a:cubicBezTo>
                  <a:lnTo>
                    <a:pt x="2435" y="1002"/>
                  </a:lnTo>
                  <a:cubicBezTo>
                    <a:pt x="2435" y="1137"/>
                    <a:pt x="2361" y="1173"/>
                    <a:pt x="2311" y="1248"/>
                  </a:cubicBezTo>
                  <a:lnTo>
                    <a:pt x="2311" y="1248"/>
                  </a:lnTo>
                  <a:cubicBezTo>
                    <a:pt x="2300" y="1265"/>
                    <a:pt x="2292" y="1269"/>
                    <a:pt x="2281" y="1285"/>
                  </a:cubicBezTo>
                  <a:lnTo>
                    <a:pt x="2281" y="1285"/>
                  </a:lnTo>
                  <a:cubicBezTo>
                    <a:pt x="2263" y="1313"/>
                    <a:pt x="2243" y="1316"/>
                    <a:pt x="2225" y="1335"/>
                  </a:cubicBezTo>
                  <a:lnTo>
                    <a:pt x="2225" y="1335"/>
                  </a:lnTo>
                  <a:cubicBezTo>
                    <a:pt x="2197" y="1362"/>
                    <a:pt x="2224" y="1422"/>
                    <a:pt x="2224" y="1465"/>
                  </a:cubicBezTo>
                  <a:lnTo>
                    <a:pt x="2224" y="1465"/>
                  </a:lnTo>
                  <a:cubicBezTo>
                    <a:pt x="2224" y="1499"/>
                    <a:pt x="2212" y="1529"/>
                    <a:pt x="2212" y="1553"/>
                  </a:cubicBezTo>
                  <a:lnTo>
                    <a:pt x="2212" y="1553"/>
                  </a:lnTo>
                  <a:cubicBezTo>
                    <a:pt x="2212" y="1562"/>
                    <a:pt x="2204" y="1570"/>
                    <a:pt x="2202" y="1575"/>
                  </a:cubicBezTo>
                  <a:lnTo>
                    <a:pt x="2202" y="1575"/>
                  </a:lnTo>
                  <a:cubicBezTo>
                    <a:pt x="2195" y="1584"/>
                    <a:pt x="2179" y="1603"/>
                    <a:pt x="2179" y="1617"/>
                  </a:cubicBezTo>
                  <a:lnTo>
                    <a:pt x="2179" y="1617"/>
                  </a:lnTo>
                  <a:cubicBezTo>
                    <a:pt x="2179" y="1635"/>
                    <a:pt x="2173" y="1672"/>
                    <a:pt x="2169" y="1679"/>
                  </a:cubicBezTo>
                  <a:lnTo>
                    <a:pt x="2169" y="1679"/>
                  </a:lnTo>
                  <a:cubicBezTo>
                    <a:pt x="2142" y="1722"/>
                    <a:pt x="2133" y="1740"/>
                    <a:pt x="2106" y="1776"/>
                  </a:cubicBezTo>
                  <a:lnTo>
                    <a:pt x="2106" y="1776"/>
                  </a:lnTo>
                  <a:cubicBezTo>
                    <a:pt x="2098" y="1787"/>
                    <a:pt x="2100" y="1810"/>
                    <a:pt x="2096" y="1817"/>
                  </a:cubicBezTo>
                  <a:lnTo>
                    <a:pt x="2096" y="1817"/>
                  </a:lnTo>
                  <a:cubicBezTo>
                    <a:pt x="2086" y="1839"/>
                    <a:pt x="2047" y="1865"/>
                    <a:pt x="2016" y="1865"/>
                  </a:cubicBezTo>
                  <a:lnTo>
                    <a:pt x="2016" y="1865"/>
                  </a:lnTo>
                  <a:cubicBezTo>
                    <a:pt x="1981" y="1865"/>
                    <a:pt x="1953" y="1863"/>
                    <a:pt x="1926" y="1876"/>
                  </a:cubicBezTo>
                  <a:lnTo>
                    <a:pt x="1926" y="1876"/>
                  </a:lnTo>
                  <a:cubicBezTo>
                    <a:pt x="1915" y="1881"/>
                    <a:pt x="1913" y="1890"/>
                    <a:pt x="1907" y="1896"/>
                  </a:cubicBezTo>
                  <a:lnTo>
                    <a:pt x="1907" y="1896"/>
                  </a:lnTo>
                  <a:cubicBezTo>
                    <a:pt x="1863" y="1939"/>
                    <a:pt x="1818" y="1914"/>
                    <a:pt x="1785" y="1966"/>
                  </a:cubicBezTo>
                  <a:lnTo>
                    <a:pt x="1785" y="1966"/>
                  </a:lnTo>
                  <a:cubicBezTo>
                    <a:pt x="1770" y="1989"/>
                    <a:pt x="1746" y="1989"/>
                    <a:pt x="1731" y="2004"/>
                  </a:cubicBezTo>
                  <a:lnTo>
                    <a:pt x="1731" y="2004"/>
                  </a:lnTo>
                  <a:cubicBezTo>
                    <a:pt x="1708" y="2028"/>
                    <a:pt x="1711" y="2053"/>
                    <a:pt x="1711" y="2088"/>
                  </a:cubicBezTo>
                  <a:lnTo>
                    <a:pt x="1711" y="2174"/>
                  </a:lnTo>
                  <a:lnTo>
                    <a:pt x="1711" y="2174"/>
                  </a:lnTo>
                  <a:cubicBezTo>
                    <a:pt x="1675" y="2193"/>
                    <a:pt x="1657" y="2224"/>
                    <a:pt x="1638" y="2262"/>
                  </a:cubicBezTo>
                  <a:lnTo>
                    <a:pt x="1638" y="2260"/>
                  </a:lnTo>
                  <a:lnTo>
                    <a:pt x="1638" y="2260"/>
                  </a:lnTo>
                  <a:cubicBezTo>
                    <a:pt x="1626" y="2284"/>
                    <a:pt x="1627" y="2297"/>
                    <a:pt x="1613" y="2321"/>
                  </a:cubicBezTo>
                  <a:lnTo>
                    <a:pt x="1613" y="2321"/>
                  </a:lnTo>
                  <a:cubicBezTo>
                    <a:pt x="1580" y="2370"/>
                    <a:pt x="1543" y="2376"/>
                    <a:pt x="1512" y="2424"/>
                  </a:cubicBezTo>
                  <a:lnTo>
                    <a:pt x="1512" y="2424"/>
                  </a:lnTo>
                  <a:cubicBezTo>
                    <a:pt x="1475" y="2478"/>
                    <a:pt x="1461" y="2570"/>
                    <a:pt x="1377" y="2570"/>
                  </a:cubicBezTo>
                  <a:lnTo>
                    <a:pt x="1377" y="2570"/>
                  </a:lnTo>
                  <a:cubicBezTo>
                    <a:pt x="1347" y="2570"/>
                    <a:pt x="1307" y="2550"/>
                    <a:pt x="1294" y="2550"/>
                  </a:cubicBezTo>
                  <a:lnTo>
                    <a:pt x="1294" y="2550"/>
                  </a:lnTo>
                  <a:cubicBezTo>
                    <a:pt x="1268" y="2550"/>
                    <a:pt x="1245" y="2527"/>
                    <a:pt x="1217" y="2527"/>
                  </a:cubicBezTo>
                  <a:lnTo>
                    <a:pt x="1217" y="2527"/>
                  </a:lnTo>
                  <a:cubicBezTo>
                    <a:pt x="1211" y="2527"/>
                    <a:pt x="1202" y="2532"/>
                    <a:pt x="1202" y="2537"/>
                  </a:cubicBezTo>
                  <a:lnTo>
                    <a:pt x="1202" y="2537"/>
                  </a:lnTo>
                  <a:cubicBezTo>
                    <a:pt x="1202" y="2553"/>
                    <a:pt x="1230" y="2563"/>
                    <a:pt x="1235" y="2568"/>
                  </a:cubicBezTo>
                  <a:lnTo>
                    <a:pt x="1235" y="2568"/>
                  </a:lnTo>
                  <a:cubicBezTo>
                    <a:pt x="1250" y="2583"/>
                    <a:pt x="1250" y="2603"/>
                    <a:pt x="1257" y="2625"/>
                  </a:cubicBezTo>
                  <a:lnTo>
                    <a:pt x="1257" y="2625"/>
                  </a:lnTo>
                  <a:cubicBezTo>
                    <a:pt x="1263" y="2645"/>
                    <a:pt x="1292" y="2645"/>
                    <a:pt x="1292" y="2665"/>
                  </a:cubicBezTo>
                  <a:lnTo>
                    <a:pt x="1292" y="2665"/>
                  </a:lnTo>
                  <a:cubicBezTo>
                    <a:pt x="1292" y="2687"/>
                    <a:pt x="1292" y="2699"/>
                    <a:pt x="1283" y="2714"/>
                  </a:cubicBezTo>
                  <a:lnTo>
                    <a:pt x="1283" y="2714"/>
                  </a:lnTo>
                  <a:cubicBezTo>
                    <a:pt x="1266" y="2739"/>
                    <a:pt x="1253" y="2751"/>
                    <a:pt x="1235" y="2769"/>
                  </a:cubicBezTo>
                  <a:lnTo>
                    <a:pt x="1235" y="2769"/>
                  </a:lnTo>
                  <a:cubicBezTo>
                    <a:pt x="1204" y="2801"/>
                    <a:pt x="1166" y="2792"/>
                    <a:pt x="1122" y="2807"/>
                  </a:cubicBezTo>
                  <a:lnTo>
                    <a:pt x="1122" y="2807"/>
                  </a:lnTo>
                  <a:cubicBezTo>
                    <a:pt x="1092" y="2815"/>
                    <a:pt x="1032" y="2795"/>
                    <a:pt x="1015" y="2812"/>
                  </a:cubicBezTo>
                  <a:lnTo>
                    <a:pt x="1015" y="2812"/>
                  </a:lnTo>
                  <a:cubicBezTo>
                    <a:pt x="991" y="2835"/>
                    <a:pt x="1010" y="2890"/>
                    <a:pt x="996" y="2916"/>
                  </a:cubicBezTo>
                  <a:lnTo>
                    <a:pt x="996" y="2913"/>
                  </a:lnTo>
                  <a:lnTo>
                    <a:pt x="996" y="2934"/>
                  </a:lnTo>
                  <a:lnTo>
                    <a:pt x="996" y="2934"/>
                  </a:lnTo>
                  <a:cubicBezTo>
                    <a:pt x="996" y="2944"/>
                    <a:pt x="968" y="2956"/>
                    <a:pt x="955" y="2956"/>
                  </a:cubicBezTo>
                  <a:lnTo>
                    <a:pt x="955" y="2956"/>
                  </a:lnTo>
                  <a:cubicBezTo>
                    <a:pt x="916" y="2956"/>
                    <a:pt x="909" y="2931"/>
                    <a:pt x="872" y="2931"/>
                  </a:cubicBezTo>
                  <a:lnTo>
                    <a:pt x="872" y="2931"/>
                  </a:lnTo>
                  <a:cubicBezTo>
                    <a:pt x="860" y="2931"/>
                    <a:pt x="854" y="2944"/>
                    <a:pt x="854" y="2953"/>
                  </a:cubicBezTo>
                  <a:lnTo>
                    <a:pt x="854" y="2953"/>
                  </a:lnTo>
                  <a:cubicBezTo>
                    <a:pt x="854" y="2979"/>
                    <a:pt x="876" y="3026"/>
                    <a:pt x="893" y="3026"/>
                  </a:cubicBezTo>
                  <a:lnTo>
                    <a:pt x="893" y="3026"/>
                  </a:lnTo>
                  <a:cubicBezTo>
                    <a:pt x="901" y="3026"/>
                    <a:pt x="913" y="3015"/>
                    <a:pt x="918" y="3013"/>
                  </a:cubicBezTo>
                  <a:lnTo>
                    <a:pt x="918" y="3013"/>
                  </a:lnTo>
                  <a:cubicBezTo>
                    <a:pt x="925" y="3021"/>
                    <a:pt x="934" y="3023"/>
                    <a:pt x="934" y="3031"/>
                  </a:cubicBezTo>
                  <a:lnTo>
                    <a:pt x="934" y="3031"/>
                  </a:lnTo>
                  <a:cubicBezTo>
                    <a:pt x="934" y="3043"/>
                    <a:pt x="920" y="3055"/>
                    <a:pt x="916" y="3055"/>
                  </a:cubicBezTo>
                  <a:lnTo>
                    <a:pt x="916" y="3055"/>
                  </a:lnTo>
                  <a:cubicBezTo>
                    <a:pt x="894" y="3055"/>
                    <a:pt x="887" y="3039"/>
                    <a:pt x="869" y="3039"/>
                  </a:cubicBezTo>
                  <a:lnTo>
                    <a:pt x="869" y="3039"/>
                  </a:lnTo>
                  <a:cubicBezTo>
                    <a:pt x="869" y="3059"/>
                    <a:pt x="880" y="3063"/>
                    <a:pt x="889" y="3067"/>
                  </a:cubicBezTo>
                  <a:lnTo>
                    <a:pt x="889" y="3067"/>
                  </a:lnTo>
                  <a:cubicBezTo>
                    <a:pt x="856" y="3100"/>
                    <a:pt x="856" y="3132"/>
                    <a:pt x="845" y="3178"/>
                  </a:cubicBezTo>
                  <a:lnTo>
                    <a:pt x="845" y="3178"/>
                  </a:lnTo>
                  <a:cubicBezTo>
                    <a:pt x="841" y="3198"/>
                    <a:pt x="808" y="3200"/>
                    <a:pt x="795" y="3202"/>
                  </a:cubicBezTo>
                  <a:lnTo>
                    <a:pt x="795" y="3202"/>
                  </a:lnTo>
                  <a:cubicBezTo>
                    <a:pt x="766" y="3209"/>
                    <a:pt x="741" y="3235"/>
                    <a:pt x="741" y="3266"/>
                  </a:cubicBezTo>
                  <a:lnTo>
                    <a:pt x="741" y="3266"/>
                  </a:lnTo>
                  <a:cubicBezTo>
                    <a:pt x="741" y="3337"/>
                    <a:pt x="823" y="3312"/>
                    <a:pt x="823" y="3369"/>
                  </a:cubicBezTo>
                  <a:lnTo>
                    <a:pt x="823" y="3369"/>
                  </a:lnTo>
                  <a:cubicBezTo>
                    <a:pt x="823" y="3420"/>
                    <a:pt x="777" y="3426"/>
                    <a:pt x="751" y="3451"/>
                  </a:cubicBezTo>
                  <a:lnTo>
                    <a:pt x="751" y="3451"/>
                  </a:lnTo>
                  <a:cubicBezTo>
                    <a:pt x="736" y="3466"/>
                    <a:pt x="742" y="3489"/>
                    <a:pt x="731" y="3514"/>
                  </a:cubicBezTo>
                  <a:lnTo>
                    <a:pt x="731" y="3514"/>
                  </a:lnTo>
                  <a:cubicBezTo>
                    <a:pt x="718" y="3539"/>
                    <a:pt x="689" y="3528"/>
                    <a:pt x="672" y="3545"/>
                  </a:cubicBezTo>
                  <a:lnTo>
                    <a:pt x="672" y="3545"/>
                  </a:lnTo>
                  <a:cubicBezTo>
                    <a:pt x="651" y="3567"/>
                    <a:pt x="641" y="3592"/>
                    <a:pt x="641" y="3627"/>
                  </a:cubicBezTo>
                  <a:lnTo>
                    <a:pt x="641" y="3627"/>
                  </a:lnTo>
                  <a:cubicBezTo>
                    <a:pt x="641" y="3645"/>
                    <a:pt x="658" y="3668"/>
                    <a:pt x="669" y="3669"/>
                  </a:cubicBezTo>
                  <a:lnTo>
                    <a:pt x="669" y="3669"/>
                  </a:lnTo>
                  <a:cubicBezTo>
                    <a:pt x="702" y="3688"/>
                    <a:pt x="700" y="3772"/>
                    <a:pt x="724" y="3795"/>
                  </a:cubicBezTo>
                  <a:lnTo>
                    <a:pt x="724" y="3795"/>
                  </a:lnTo>
                  <a:cubicBezTo>
                    <a:pt x="764" y="3836"/>
                    <a:pt x="814" y="3853"/>
                    <a:pt x="863" y="3877"/>
                  </a:cubicBezTo>
                  <a:lnTo>
                    <a:pt x="863" y="3877"/>
                  </a:lnTo>
                  <a:cubicBezTo>
                    <a:pt x="856" y="3887"/>
                    <a:pt x="845" y="3882"/>
                    <a:pt x="834" y="3882"/>
                  </a:cubicBezTo>
                  <a:lnTo>
                    <a:pt x="834" y="3882"/>
                  </a:lnTo>
                  <a:cubicBezTo>
                    <a:pt x="806" y="3882"/>
                    <a:pt x="761" y="3916"/>
                    <a:pt x="744" y="3916"/>
                  </a:cubicBezTo>
                  <a:lnTo>
                    <a:pt x="724" y="3916"/>
                  </a:lnTo>
                  <a:lnTo>
                    <a:pt x="724" y="3916"/>
                  </a:lnTo>
                  <a:cubicBezTo>
                    <a:pt x="718" y="3916"/>
                    <a:pt x="711" y="3924"/>
                    <a:pt x="706" y="3924"/>
                  </a:cubicBezTo>
                  <a:lnTo>
                    <a:pt x="654" y="3924"/>
                  </a:lnTo>
                  <a:lnTo>
                    <a:pt x="654" y="3924"/>
                  </a:lnTo>
                  <a:cubicBezTo>
                    <a:pt x="612" y="3924"/>
                    <a:pt x="627" y="3875"/>
                    <a:pt x="597" y="3865"/>
                  </a:cubicBezTo>
                  <a:lnTo>
                    <a:pt x="597" y="3865"/>
                  </a:lnTo>
                  <a:cubicBezTo>
                    <a:pt x="570" y="3856"/>
                    <a:pt x="530" y="3856"/>
                    <a:pt x="530" y="3823"/>
                  </a:cubicBezTo>
                  <a:lnTo>
                    <a:pt x="495" y="3823"/>
                  </a:lnTo>
                  <a:lnTo>
                    <a:pt x="495" y="3823"/>
                  </a:lnTo>
                  <a:cubicBezTo>
                    <a:pt x="480" y="3823"/>
                    <a:pt x="476" y="3809"/>
                    <a:pt x="475" y="3799"/>
                  </a:cubicBezTo>
                  <a:lnTo>
                    <a:pt x="475" y="3799"/>
                  </a:lnTo>
                  <a:cubicBezTo>
                    <a:pt x="423" y="3799"/>
                    <a:pt x="409" y="3774"/>
                    <a:pt x="385" y="3750"/>
                  </a:cubicBezTo>
                  <a:lnTo>
                    <a:pt x="385" y="3750"/>
                  </a:lnTo>
                  <a:cubicBezTo>
                    <a:pt x="379" y="3744"/>
                    <a:pt x="369" y="3735"/>
                    <a:pt x="369" y="3731"/>
                  </a:cubicBezTo>
                  <a:lnTo>
                    <a:pt x="369" y="3731"/>
                  </a:lnTo>
                  <a:cubicBezTo>
                    <a:pt x="369" y="3715"/>
                    <a:pt x="402" y="3717"/>
                    <a:pt x="403" y="3700"/>
                  </a:cubicBezTo>
                  <a:lnTo>
                    <a:pt x="403" y="3700"/>
                  </a:lnTo>
                  <a:cubicBezTo>
                    <a:pt x="397" y="3699"/>
                    <a:pt x="394" y="3695"/>
                    <a:pt x="389" y="3692"/>
                  </a:cubicBezTo>
                  <a:lnTo>
                    <a:pt x="389" y="3692"/>
                  </a:lnTo>
                  <a:cubicBezTo>
                    <a:pt x="394" y="3682"/>
                    <a:pt x="402" y="3671"/>
                    <a:pt x="402" y="3660"/>
                  </a:cubicBezTo>
                  <a:lnTo>
                    <a:pt x="402" y="3660"/>
                  </a:lnTo>
                  <a:cubicBezTo>
                    <a:pt x="402" y="3617"/>
                    <a:pt x="352" y="3623"/>
                    <a:pt x="352" y="3585"/>
                  </a:cubicBezTo>
                  <a:lnTo>
                    <a:pt x="352" y="3559"/>
                  </a:lnTo>
                  <a:lnTo>
                    <a:pt x="352" y="3559"/>
                  </a:lnTo>
                  <a:cubicBezTo>
                    <a:pt x="352" y="3519"/>
                    <a:pt x="325" y="3455"/>
                    <a:pt x="325" y="3424"/>
                  </a:cubicBezTo>
                  <a:lnTo>
                    <a:pt x="325" y="3424"/>
                  </a:lnTo>
                  <a:cubicBezTo>
                    <a:pt x="325" y="3391"/>
                    <a:pt x="366" y="3378"/>
                    <a:pt x="366" y="3348"/>
                  </a:cubicBezTo>
                  <a:lnTo>
                    <a:pt x="366" y="3348"/>
                  </a:lnTo>
                  <a:cubicBezTo>
                    <a:pt x="366" y="3334"/>
                    <a:pt x="345" y="3305"/>
                    <a:pt x="341" y="3285"/>
                  </a:cubicBezTo>
                  <a:lnTo>
                    <a:pt x="341" y="3266"/>
                  </a:lnTo>
                  <a:lnTo>
                    <a:pt x="343" y="3266"/>
                  </a:lnTo>
                  <a:lnTo>
                    <a:pt x="343" y="3266"/>
                  </a:lnTo>
                  <a:cubicBezTo>
                    <a:pt x="343" y="3255"/>
                    <a:pt x="350" y="3246"/>
                    <a:pt x="359" y="3246"/>
                  </a:cubicBezTo>
                  <a:lnTo>
                    <a:pt x="359" y="3246"/>
                  </a:lnTo>
                  <a:cubicBezTo>
                    <a:pt x="392" y="3246"/>
                    <a:pt x="379" y="3279"/>
                    <a:pt x="407" y="3279"/>
                  </a:cubicBezTo>
                  <a:lnTo>
                    <a:pt x="467" y="3008"/>
                  </a:lnTo>
                  <a:lnTo>
                    <a:pt x="467" y="2980"/>
                  </a:lnTo>
                  <a:lnTo>
                    <a:pt x="467" y="2980"/>
                  </a:lnTo>
                  <a:cubicBezTo>
                    <a:pt x="462" y="2980"/>
                    <a:pt x="456" y="2979"/>
                    <a:pt x="451" y="2980"/>
                  </a:cubicBezTo>
                  <a:lnTo>
                    <a:pt x="451" y="2980"/>
                  </a:lnTo>
                  <a:cubicBezTo>
                    <a:pt x="438" y="2986"/>
                    <a:pt x="436" y="3000"/>
                    <a:pt x="423" y="3000"/>
                  </a:cubicBezTo>
                  <a:lnTo>
                    <a:pt x="423" y="3000"/>
                  </a:lnTo>
                  <a:cubicBezTo>
                    <a:pt x="409" y="3000"/>
                    <a:pt x="397" y="2959"/>
                    <a:pt x="397" y="2938"/>
                  </a:cubicBezTo>
                  <a:lnTo>
                    <a:pt x="397" y="2938"/>
                  </a:lnTo>
                  <a:cubicBezTo>
                    <a:pt x="397" y="2903"/>
                    <a:pt x="410" y="2889"/>
                    <a:pt x="416" y="2856"/>
                  </a:cubicBezTo>
                  <a:lnTo>
                    <a:pt x="416" y="2856"/>
                  </a:lnTo>
                  <a:cubicBezTo>
                    <a:pt x="429" y="2856"/>
                    <a:pt x="435" y="2850"/>
                    <a:pt x="435" y="2845"/>
                  </a:cubicBezTo>
                  <a:lnTo>
                    <a:pt x="435" y="2845"/>
                  </a:lnTo>
                  <a:cubicBezTo>
                    <a:pt x="435" y="2833"/>
                    <a:pt x="423" y="2825"/>
                    <a:pt x="423" y="2825"/>
                  </a:cubicBezTo>
                  <a:lnTo>
                    <a:pt x="423" y="2825"/>
                  </a:lnTo>
                  <a:cubicBezTo>
                    <a:pt x="416" y="2825"/>
                    <a:pt x="415" y="2774"/>
                    <a:pt x="415" y="2761"/>
                  </a:cubicBezTo>
                  <a:lnTo>
                    <a:pt x="415" y="2761"/>
                  </a:lnTo>
                  <a:cubicBezTo>
                    <a:pt x="415" y="2718"/>
                    <a:pt x="440" y="2676"/>
                    <a:pt x="456" y="2650"/>
                  </a:cubicBezTo>
                  <a:lnTo>
                    <a:pt x="456" y="2650"/>
                  </a:lnTo>
                  <a:cubicBezTo>
                    <a:pt x="464" y="2638"/>
                    <a:pt x="467" y="2612"/>
                    <a:pt x="476" y="2599"/>
                  </a:cubicBezTo>
                  <a:lnTo>
                    <a:pt x="476" y="2599"/>
                  </a:lnTo>
                  <a:cubicBezTo>
                    <a:pt x="482" y="2592"/>
                    <a:pt x="491" y="2594"/>
                    <a:pt x="493" y="2586"/>
                  </a:cubicBezTo>
                  <a:lnTo>
                    <a:pt x="493" y="2586"/>
                  </a:lnTo>
                  <a:cubicBezTo>
                    <a:pt x="506" y="2544"/>
                    <a:pt x="506" y="2513"/>
                    <a:pt x="517" y="2469"/>
                  </a:cubicBezTo>
                  <a:lnTo>
                    <a:pt x="515" y="2332"/>
                  </a:lnTo>
                  <a:lnTo>
                    <a:pt x="515" y="2332"/>
                  </a:lnTo>
                  <a:cubicBezTo>
                    <a:pt x="504" y="2299"/>
                    <a:pt x="524" y="2273"/>
                    <a:pt x="524" y="2244"/>
                  </a:cubicBezTo>
                  <a:lnTo>
                    <a:pt x="524" y="2244"/>
                  </a:lnTo>
                  <a:cubicBezTo>
                    <a:pt x="524" y="2174"/>
                    <a:pt x="566" y="2128"/>
                    <a:pt x="566" y="2066"/>
                  </a:cubicBezTo>
                  <a:lnTo>
                    <a:pt x="566" y="2049"/>
                  </a:lnTo>
                  <a:lnTo>
                    <a:pt x="566" y="2049"/>
                  </a:lnTo>
                  <a:cubicBezTo>
                    <a:pt x="566" y="2037"/>
                    <a:pt x="576" y="2004"/>
                    <a:pt x="579" y="1985"/>
                  </a:cubicBezTo>
                  <a:lnTo>
                    <a:pt x="579" y="1905"/>
                  </a:lnTo>
                  <a:lnTo>
                    <a:pt x="579" y="1905"/>
                  </a:lnTo>
                  <a:cubicBezTo>
                    <a:pt x="579" y="1879"/>
                    <a:pt x="596" y="1830"/>
                    <a:pt x="596" y="1800"/>
                  </a:cubicBezTo>
                  <a:lnTo>
                    <a:pt x="596" y="1800"/>
                  </a:lnTo>
                  <a:cubicBezTo>
                    <a:pt x="596" y="1782"/>
                    <a:pt x="587" y="1674"/>
                    <a:pt x="581" y="1654"/>
                  </a:cubicBezTo>
                  <a:lnTo>
                    <a:pt x="581" y="1654"/>
                  </a:lnTo>
                  <a:cubicBezTo>
                    <a:pt x="564" y="1610"/>
                    <a:pt x="535" y="1583"/>
                    <a:pt x="502" y="1565"/>
                  </a:cubicBezTo>
                  <a:lnTo>
                    <a:pt x="502" y="1565"/>
                  </a:lnTo>
                  <a:cubicBezTo>
                    <a:pt x="475" y="1553"/>
                    <a:pt x="455" y="1557"/>
                    <a:pt x="435" y="1537"/>
                  </a:cubicBezTo>
                  <a:lnTo>
                    <a:pt x="435" y="1537"/>
                  </a:lnTo>
                  <a:cubicBezTo>
                    <a:pt x="412" y="1514"/>
                    <a:pt x="402" y="1507"/>
                    <a:pt x="376" y="1500"/>
                  </a:cubicBezTo>
                  <a:lnTo>
                    <a:pt x="376" y="1500"/>
                  </a:lnTo>
                  <a:cubicBezTo>
                    <a:pt x="325" y="1483"/>
                    <a:pt x="299" y="1457"/>
                    <a:pt x="266" y="1424"/>
                  </a:cubicBezTo>
                  <a:lnTo>
                    <a:pt x="266" y="1424"/>
                  </a:lnTo>
                  <a:cubicBezTo>
                    <a:pt x="251" y="1410"/>
                    <a:pt x="258" y="1390"/>
                    <a:pt x="258" y="1368"/>
                  </a:cubicBezTo>
                  <a:lnTo>
                    <a:pt x="258" y="1368"/>
                  </a:lnTo>
                  <a:cubicBezTo>
                    <a:pt x="258" y="1339"/>
                    <a:pt x="231" y="1324"/>
                    <a:pt x="224" y="1298"/>
                  </a:cubicBezTo>
                  <a:lnTo>
                    <a:pt x="224" y="1298"/>
                  </a:lnTo>
                  <a:cubicBezTo>
                    <a:pt x="209" y="1254"/>
                    <a:pt x="173" y="1221"/>
                    <a:pt x="160" y="1181"/>
                  </a:cubicBezTo>
                  <a:lnTo>
                    <a:pt x="160" y="1181"/>
                  </a:lnTo>
                  <a:cubicBezTo>
                    <a:pt x="147" y="1139"/>
                    <a:pt x="135" y="1115"/>
                    <a:pt x="119" y="1080"/>
                  </a:cubicBezTo>
                  <a:lnTo>
                    <a:pt x="119" y="1080"/>
                  </a:lnTo>
                  <a:cubicBezTo>
                    <a:pt x="114" y="1069"/>
                    <a:pt x="101" y="1073"/>
                    <a:pt x="96" y="1067"/>
                  </a:cubicBezTo>
                  <a:lnTo>
                    <a:pt x="96" y="1067"/>
                  </a:lnTo>
                  <a:cubicBezTo>
                    <a:pt x="83" y="1055"/>
                    <a:pt x="79" y="1029"/>
                    <a:pt x="73" y="1016"/>
                  </a:cubicBezTo>
                  <a:lnTo>
                    <a:pt x="73" y="1016"/>
                  </a:lnTo>
                  <a:cubicBezTo>
                    <a:pt x="68" y="1005"/>
                    <a:pt x="53" y="1009"/>
                    <a:pt x="46" y="1002"/>
                  </a:cubicBezTo>
                  <a:lnTo>
                    <a:pt x="46" y="1002"/>
                  </a:lnTo>
                  <a:cubicBezTo>
                    <a:pt x="26" y="981"/>
                    <a:pt x="0" y="945"/>
                    <a:pt x="0" y="912"/>
                  </a:cubicBezTo>
                  <a:lnTo>
                    <a:pt x="0" y="912"/>
                  </a:lnTo>
                  <a:cubicBezTo>
                    <a:pt x="0" y="890"/>
                    <a:pt x="13" y="864"/>
                    <a:pt x="21" y="856"/>
                  </a:cubicBezTo>
                  <a:lnTo>
                    <a:pt x="21" y="856"/>
                  </a:lnTo>
                  <a:cubicBezTo>
                    <a:pt x="37" y="830"/>
                    <a:pt x="70" y="822"/>
                    <a:pt x="77" y="793"/>
                  </a:cubicBezTo>
                  <a:lnTo>
                    <a:pt x="77" y="793"/>
                  </a:lnTo>
                  <a:cubicBezTo>
                    <a:pt x="61" y="781"/>
                    <a:pt x="63" y="791"/>
                    <a:pt x="50" y="791"/>
                  </a:cubicBezTo>
                  <a:lnTo>
                    <a:pt x="50" y="791"/>
                  </a:lnTo>
                  <a:cubicBezTo>
                    <a:pt x="24" y="791"/>
                    <a:pt x="21" y="754"/>
                    <a:pt x="21" y="729"/>
                  </a:cubicBezTo>
                  <a:lnTo>
                    <a:pt x="21" y="729"/>
                  </a:lnTo>
                  <a:cubicBezTo>
                    <a:pt x="21" y="686"/>
                    <a:pt x="66" y="694"/>
                    <a:pt x="59" y="613"/>
                  </a:cubicBezTo>
                  <a:lnTo>
                    <a:pt x="59" y="613"/>
                  </a:lnTo>
                  <a:cubicBezTo>
                    <a:pt x="108" y="613"/>
                    <a:pt x="121" y="563"/>
                    <a:pt x="135" y="534"/>
                  </a:cubicBezTo>
                  <a:lnTo>
                    <a:pt x="135" y="534"/>
                  </a:lnTo>
                  <a:cubicBezTo>
                    <a:pt x="156" y="494"/>
                    <a:pt x="204" y="507"/>
                    <a:pt x="215" y="457"/>
                  </a:cubicBezTo>
                  <a:lnTo>
                    <a:pt x="215" y="457"/>
                  </a:lnTo>
                  <a:cubicBezTo>
                    <a:pt x="205" y="454"/>
                    <a:pt x="196" y="444"/>
                    <a:pt x="196" y="439"/>
                  </a:cubicBezTo>
                  <a:lnTo>
                    <a:pt x="204" y="424"/>
                  </a:lnTo>
                  <a:lnTo>
                    <a:pt x="204" y="42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2" name="Freeform 100">
              <a:extLst>
                <a:ext uri="{FF2B5EF4-FFF2-40B4-BE49-F238E27FC236}">
                  <a16:creationId xmlns:a16="http://schemas.microsoft.com/office/drawing/2014/main" id="{5924F0B2-D002-4D4F-8767-C04484D43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1205" y="6039997"/>
              <a:ext cx="20163" cy="25922"/>
            </a:xfrm>
            <a:custGeom>
              <a:avLst/>
              <a:gdLst>
                <a:gd name="T0" fmla="*/ 8 w 29"/>
                <a:gd name="T1" fmla="*/ 2 h 38"/>
                <a:gd name="T2" fmla="*/ 8 w 29"/>
                <a:gd name="T3" fmla="*/ 2 h 38"/>
                <a:gd name="T4" fmla="*/ 28 w 29"/>
                <a:gd name="T5" fmla="*/ 28 h 38"/>
                <a:gd name="T6" fmla="*/ 28 w 29"/>
                <a:gd name="T7" fmla="*/ 28 h 38"/>
                <a:gd name="T8" fmla="*/ 19 w 29"/>
                <a:gd name="T9" fmla="*/ 37 h 38"/>
                <a:gd name="T10" fmla="*/ 19 w 29"/>
                <a:gd name="T11" fmla="*/ 37 h 38"/>
                <a:gd name="T12" fmla="*/ 0 w 29"/>
                <a:gd name="T13" fmla="*/ 2 h 38"/>
                <a:gd name="T14" fmla="*/ 0 w 29"/>
                <a:gd name="T15" fmla="*/ 2 h 38"/>
                <a:gd name="T16" fmla="*/ 8 w 29"/>
                <a:gd name="T17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8">
                  <a:moveTo>
                    <a:pt x="8" y="2"/>
                  </a:moveTo>
                  <a:lnTo>
                    <a:pt x="8" y="2"/>
                  </a:lnTo>
                  <a:cubicBezTo>
                    <a:pt x="23" y="4"/>
                    <a:pt x="28" y="15"/>
                    <a:pt x="28" y="28"/>
                  </a:cubicBezTo>
                  <a:lnTo>
                    <a:pt x="28" y="28"/>
                  </a:lnTo>
                  <a:cubicBezTo>
                    <a:pt x="28" y="31"/>
                    <a:pt x="23" y="37"/>
                    <a:pt x="19" y="37"/>
                  </a:cubicBezTo>
                  <a:lnTo>
                    <a:pt x="19" y="37"/>
                  </a:lnTo>
                  <a:cubicBezTo>
                    <a:pt x="0" y="37"/>
                    <a:pt x="0" y="17"/>
                    <a:pt x="0" y="2"/>
                  </a:cubicBezTo>
                  <a:lnTo>
                    <a:pt x="0" y="2"/>
                  </a:lnTo>
                  <a:cubicBezTo>
                    <a:pt x="0" y="0"/>
                    <a:pt x="6" y="2"/>
                    <a:pt x="8" y="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3" name="Freeform 101">
              <a:extLst>
                <a:ext uri="{FF2B5EF4-FFF2-40B4-BE49-F238E27FC236}">
                  <a16:creationId xmlns:a16="http://schemas.microsoft.com/office/drawing/2014/main" id="{C4909B01-601C-9140-9A90-8E477ABF6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3923" y="5973748"/>
              <a:ext cx="31684" cy="11521"/>
            </a:xfrm>
            <a:custGeom>
              <a:avLst/>
              <a:gdLst>
                <a:gd name="T0" fmla="*/ 0 w 49"/>
                <a:gd name="T1" fmla="*/ 15 h 17"/>
                <a:gd name="T2" fmla="*/ 0 w 49"/>
                <a:gd name="T3" fmla="*/ 15 h 17"/>
                <a:gd name="T4" fmla="*/ 26 w 49"/>
                <a:gd name="T5" fmla="*/ 0 h 17"/>
                <a:gd name="T6" fmla="*/ 26 w 49"/>
                <a:gd name="T7" fmla="*/ 0 h 17"/>
                <a:gd name="T8" fmla="*/ 48 w 49"/>
                <a:gd name="T9" fmla="*/ 15 h 17"/>
                <a:gd name="T10" fmla="*/ 48 w 49"/>
                <a:gd name="T11" fmla="*/ 15 h 17"/>
                <a:gd name="T12" fmla="*/ 0 w 49"/>
                <a:gd name="T13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7">
                  <a:moveTo>
                    <a:pt x="0" y="15"/>
                  </a:moveTo>
                  <a:lnTo>
                    <a:pt x="0" y="15"/>
                  </a:lnTo>
                  <a:cubicBezTo>
                    <a:pt x="4" y="7"/>
                    <a:pt x="16" y="0"/>
                    <a:pt x="26" y="0"/>
                  </a:cubicBezTo>
                  <a:lnTo>
                    <a:pt x="26" y="0"/>
                  </a:lnTo>
                  <a:cubicBezTo>
                    <a:pt x="39" y="0"/>
                    <a:pt x="44" y="9"/>
                    <a:pt x="48" y="15"/>
                  </a:cubicBezTo>
                  <a:lnTo>
                    <a:pt x="48" y="15"/>
                  </a:lnTo>
                  <a:cubicBezTo>
                    <a:pt x="29" y="16"/>
                    <a:pt x="11" y="15"/>
                    <a:pt x="0" y="15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4" name="Freeform 102">
              <a:extLst>
                <a:ext uri="{FF2B5EF4-FFF2-40B4-BE49-F238E27FC236}">
                  <a16:creationId xmlns:a16="http://schemas.microsoft.com/office/drawing/2014/main" id="{72758DC4-BEF9-B04C-AAD6-AE1833DFD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5768" y="5988151"/>
              <a:ext cx="8642" cy="11521"/>
            </a:xfrm>
            <a:custGeom>
              <a:avLst/>
              <a:gdLst>
                <a:gd name="T0" fmla="*/ 11 w 12"/>
                <a:gd name="T1" fmla="*/ 14 h 17"/>
                <a:gd name="T2" fmla="*/ 11 w 12"/>
                <a:gd name="T3" fmla="*/ 14 h 17"/>
                <a:gd name="T4" fmla="*/ 2 w 12"/>
                <a:gd name="T5" fmla="*/ 0 h 17"/>
                <a:gd name="T6" fmla="*/ 11 w 12"/>
                <a:gd name="T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7">
                  <a:moveTo>
                    <a:pt x="11" y="14"/>
                  </a:moveTo>
                  <a:lnTo>
                    <a:pt x="11" y="14"/>
                  </a:lnTo>
                  <a:cubicBezTo>
                    <a:pt x="5" y="16"/>
                    <a:pt x="0" y="5"/>
                    <a:pt x="2" y="0"/>
                  </a:cubicBezTo>
                  <a:lnTo>
                    <a:pt x="11" y="14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5" name="Freeform 103">
              <a:extLst>
                <a:ext uri="{FF2B5EF4-FFF2-40B4-BE49-F238E27FC236}">
                  <a16:creationId xmlns:a16="http://schemas.microsoft.com/office/drawing/2014/main" id="{CA201482-3A36-1B4D-83AA-7CC6F3367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9622" y="6166729"/>
              <a:ext cx="23042" cy="20161"/>
            </a:xfrm>
            <a:custGeom>
              <a:avLst/>
              <a:gdLst>
                <a:gd name="T0" fmla="*/ 0 w 37"/>
                <a:gd name="T1" fmla="*/ 16 h 30"/>
                <a:gd name="T2" fmla="*/ 0 w 37"/>
                <a:gd name="T3" fmla="*/ 27 h 30"/>
                <a:gd name="T4" fmla="*/ 0 w 37"/>
                <a:gd name="T5" fmla="*/ 27 h 30"/>
                <a:gd name="T6" fmla="*/ 7 w 37"/>
                <a:gd name="T7" fmla="*/ 27 h 30"/>
                <a:gd name="T8" fmla="*/ 7 w 37"/>
                <a:gd name="T9" fmla="*/ 27 h 30"/>
                <a:gd name="T10" fmla="*/ 36 w 37"/>
                <a:gd name="T11" fmla="*/ 16 h 30"/>
                <a:gd name="T12" fmla="*/ 36 w 37"/>
                <a:gd name="T13" fmla="*/ 0 h 30"/>
                <a:gd name="T14" fmla="*/ 36 w 37"/>
                <a:gd name="T15" fmla="*/ 0 h 30"/>
                <a:gd name="T16" fmla="*/ 0 w 37"/>
                <a:gd name="T17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0">
                  <a:moveTo>
                    <a:pt x="0" y="16"/>
                  </a:moveTo>
                  <a:lnTo>
                    <a:pt x="0" y="27"/>
                  </a:lnTo>
                  <a:lnTo>
                    <a:pt x="0" y="27"/>
                  </a:lnTo>
                  <a:cubicBezTo>
                    <a:pt x="0" y="29"/>
                    <a:pt x="5" y="27"/>
                    <a:pt x="7" y="27"/>
                  </a:cubicBezTo>
                  <a:lnTo>
                    <a:pt x="7" y="27"/>
                  </a:lnTo>
                  <a:cubicBezTo>
                    <a:pt x="16" y="27"/>
                    <a:pt x="29" y="23"/>
                    <a:pt x="36" y="16"/>
                  </a:cubicBezTo>
                  <a:lnTo>
                    <a:pt x="36" y="0"/>
                  </a:lnTo>
                  <a:lnTo>
                    <a:pt x="36" y="0"/>
                  </a:lnTo>
                  <a:cubicBezTo>
                    <a:pt x="29" y="11"/>
                    <a:pt x="14" y="20"/>
                    <a:pt x="0" y="16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6" name="Freeform 104">
              <a:extLst>
                <a:ext uri="{FF2B5EF4-FFF2-40B4-BE49-F238E27FC236}">
                  <a16:creationId xmlns:a16="http://schemas.microsoft.com/office/drawing/2014/main" id="{5C4077FE-57DC-AE45-9E34-141CFDF70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9919" y="5069333"/>
              <a:ext cx="1970127" cy="967782"/>
            </a:xfrm>
            <a:custGeom>
              <a:avLst/>
              <a:gdLst>
                <a:gd name="T0" fmla="*/ 2256 w 3018"/>
                <a:gd name="T1" fmla="*/ 1186 h 1480"/>
                <a:gd name="T2" fmla="*/ 2308 w 3018"/>
                <a:gd name="T3" fmla="*/ 1332 h 1480"/>
                <a:gd name="T4" fmla="*/ 2290 w 3018"/>
                <a:gd name="T5" fmla="*/ 1479 h 1480"/>
                <a:gd name="T6" fmla="*/ 2198 w 3018"/>
                <a:gd name="T7" fmla="*/ 1365 h 1480"/>
                <a:gd name="T8" fmla="*/ 2070 w 3018"/>
                <a:gd name="T9" fmla="*/ 1219 h 1480"/>
                <a:gd name="T10" fmla="*/ 1927 w 3018"/>
                <a:gd name="T11" fmla="*/ 1191 h 1480"/>
                <a:gd name="T12" fmla="*/ 1815 w 3018"/>
                <a:gd name="T13" fmla="*/ 1191 h 1480"/>
                <a:gd name="T14" fmla="*/ 1844 w 3018"/>
                <a:gd name="T15" fmla="*/ 1250 h 1480"/>
                <a:gd name="T16" fmla="*/ 1685 w 3018"/>
                <a:gd name="T17" fmla="*/ 1228 h 1480"/>
                <a:gd name="T18" fmla="*/ 1533 w 3018"/>
                <a:gd name="T19" fmla="*/ 1278 h 1480"/>
                <a:gd name="T20" fmla="*/ 1420 w 3018"/>
                <a:gd name="T21" fmla="*/ 1406 h 1480"/>
                <a:gd name="T22" fmla="*/ 1337 w 3018"/>
                <a:gd name="T23" fmla="*/ 1397 h 1480"/>
                <a:gd name="T24" fmla="*/ 1108 w 3018"/>
                <a:gd name="T25" fmla="*/ 1255 h 1480"/>
                <a:gd name="T26" fmla="*/ 860 w 3018"/>
                <a:gd name="T27" fmla="*/ 1091 h 1480"/>
                <a:gd name="T28" fmla="*/ 397 w 3018"/>
                <a:gd name="T29" fmla="*/ 1048 h 1480"/>
                <a:gd name="T30" fmla="*/ 196 w 3018"/>
                <a:gd name="T31" fmla="*/ 889 h 1480"/>
                <a:gd name="T32" fmla="*/ 18 w 3018"/>
                <a:gd name="T33" fmla="*/ 587 h 1480"/>
                <a:gd name="T34" fmla="*/ 18 w 3018"/>
                <a:gd name="T35" fmla="*/ 398 h 1480"/>
                <a:gd name="T36" fmla="*/ 3 w 3018"/>
                <a:gd name="T37" fmla="*/ 96 h 1480"/>
                <a:gd name="T38" fmla="*/ 83 w 3018"/>
                <a:gd name="T39" fmla="*/ 114 h 1480"/>
                <a:gd name="T40" fmla="*/ 85 w 3018"/>
                <a:gd name="T41" fmla="*/ 22 h 1480"/>
                <a:gd name="T42" fmla="*/ 1597 w 3018"/>
                <a:gd name="T43" fmla="*/ 46 h 1480"/>
                <a:gd name="T44" fmla="*/ 1841 w 3018"/>
                <a:gd name="T45" fmla="*/ 83 h 1480"/>
                <a:gd name="T46" fmla="*/ 1758 w 3018"/>
                <a:gd name="T47" fmla="*/ 175 h 1480"/>
                <a:gd name="T48" fmla="*/ 1835 w 3018"/>
                <a:gd name="T49" fmla="*/ 169 h 1480"/>
                <a:gd name="T50" fmla="*/ 1896 w 3018"/>
                <a:gd name="T51" fmla="*/ 175 h 1480"/>
                <a:gd name="T52" fmla="*/ 1963 w 3018"/>
                <a:gd name="T53" fmla="*/ 196 h 1480"/>
                <a:gd name="T54" fmla="*/ 2119 w 3018"/>
                <a:gd name="T55" fmla="*/ 224 h 1480"/>
                <a:gd name="T56" fmla="*/ 1919 w 3018"/>
                <a:gd name="T57" fmla="*/ 312 h 1480"/>
                <a:gd name="T58" fmla="*/ 1918 w 3018"/>
                <a:gd name="T59" fmla="*/ 468 h 1480"/>
                <a:gd name="T60" fmla="*/ 1996 w 3018"/>
                <a:gd name="T61" fmla="*/ 425 h 1480"/>
                <a:gd name="T62" fmla="*/ 2016 w 3018"/>
                <a:gd name="T63" fmla="*/ 287 h 1480"/>
                <a:gd name="T64" fmla="*/ 2165 w 3018"/>
                <a:gd name="T65" fmla="*/ 293 h 1480"/>
                <a:gd name="T66" fmla="*/ 2181 w 3018"/>
                <a:gd name="T67" fmla="*/ 348 h 1480"/>
                <a:gd name="T68" fmla="*/ 2166 w 3018"/>
                <a:gd name="T69" fmla="*/ 468 h 1480"/>
                <a:gd name="T70" fmla="*/ 2363 w 3018"/>
                <a:gd name="T71" fmla="*/ 449 h 1480"/>
                <a:gd name="T72" fmla="*/ 2366 w 3018"/>
                <a:gd name="T73" fmla="*/ 404 h 1480"/>
                <a:gd name="T74" fmla="*/ 2619 w 3018"/>
                <a:gd name="T75" fmla="*/ 274 h 1480"/>
                <a:gd name="T76" fmla="*/ 2807 w 3018"/>
                <a:gd name="T77" fmla="*/ 263 h 1480"/>
                <a:gd name="T78" fmla="*/ 2905 w 3018"/>
                <a:gd name="T79" fmla="*/ 119 h 1480"/>
                <a:gd name="T80" fmla="*/ 3017 w 3018"/>
                <a:gd name="T81" fmla="*/ 303 h 1480"/>
                <a:gd name="T82" fmla="*/ 2916 w 3018"/>
                <a:gd name="T83" fmla="*/ 334 h 1480"/>
                <a:gd name="T84" fmla="*/ 2832 w 3018"/>
                <a:gd name="T85" fmla="*/ 469 h 1480"/>
                <a:gd name="T86" fmla="*/ 2870 w 3018"/>
                <a:gd name="T87" fmla="*/ 489 h 1480"/>
                <a:gd name="T88" fmla="*/ 2810 w 3018"/>
                <a:gd name="T89" fmla="*/ 508 h 1480"/>
                <a:gd name="T90" fmla="*/ 2739 w 3018"/>
                <a:gd name="T91" fmla="*/ 548 h 1480"/>
                <a:gd name="T92" fmla="*/ 2652 w 3018"/>
                <a:gd name="T93" fmla="*/ 555 h 1480"/>
                <a:gd name="T94" fmla="*/ 2658 w 3018"/>
                <a:gd name="T95" fmla="*/ 590 h 1480"/>
                <a:gd name="T96" fmla="*/ 2594 w 3018"/>
                <a:gd name="T97" fmla="*/ 654 h 1480"/>
                <a:gd name="T98" fmla="*/ 2601 w 3018"/>
                <a:gd name="T99" fmla="*/ 699 h 1480"/>
                <a:gd name="T100" fmla="*/ 2552 w 3018"/>
                <a:gd name="T101" fmla="*/ 742 h 1480"/>
                <a:gd name="T102" fmla="*/ 2529 w 3018"/>
                <a:gd name="T103" fmla="*/ 705 h 1480"/>
                <a:gd name="T104" fmla="*/ 2539 w 3018"/>
                <a:gd name="T105" fmla="*/ 797 h 1480"/>
                <a:gd name="T106" fmla="*/ 2527 w 3018"/>
                <a:gd name="T107" fmla="*/ 838 h 1480"/>
                <a:gd name="T108" fmla="*/ 2524 w 3018"/>
                <a:gd name="T109" fmla="*/ 872 h 1480"/>
                <a:gd name="T110" fmla="*/ 2524 w 3018"/>
                <a:gd name="T111" fmla="*/ 920 h 1480"/>
                <a:gd name="T112" fmla="*/ 2447 w 3018"/>
                <a:gd name="T113" fmla="*/ 966 h 1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18" h="1480">
                  <a:moveTo>
                    <a:pt x="2452" y="969"/>
                  </a:moveTo>
                  <a:lnTo>
                    <a:pt x="2452" y="969"/>
                  </a:lnTo>
                  <a:cubicBezTo>
                    <a:pt x="2366" y="1018"/>
                    <a:pt x="2256" y="1053"/>
                    <a:pt x="2256" y="1186"/>
                  </a:cubicBezTo>
                  <a:lnTo>
                    <a:pt x="2256" y="1186"/>
                  </a:lnTo>
                  <a:cubicBezTo>
                    <a:pt x="2256" y="1246"/>
                    <a:pt x="2308" y="1265"/>
                    <a:pt x="2308" y="1323"/>
                  </a:cubicBezTo>
                  <a:lnTo>
                    <a:pt x="2308" y="1319"/>
                  </a:lnTo>
                  <a:lnTo>
                    <a:pt x="2308" y="1332"/>
                  </a:lnTo>
                  <a:lnTo>
                    <a:pt x="2308" y="1332"/>
                  </a:lnTo>
                  <a:cubicBezTo>
                    <a:pt x="2314" y="1355"/>
                    <a:pt x="2330" y="1373"/>
                    <a:pt x="2330" y="1406"/>
                  </a:cubicBezTo>
                  <a:lnTo>
                    <a:pt x="2330" y="1406"/>
                  </a:lnTo>
                  <a:cubicBezTo>
                    <a:pt x="2330" y="1444"/>
                    <a:pt x="2321" y="1479"/>
                    <a:pt x="2290" y="1479"/>
                  </a:cubicBezTo>
                  <a:lnTo>
                    <a:pt x="2290" y="1479"/>
                  </a:lnTo>
                  <a:cubicBezTo>
                    <a:pt x="2262" y="1479"/>
                    <a:pt x="2264" y="1450"/>
                    <a:pt x="2253" y="1433"/>
                  </a:cubicBezTo>
                  <a:lnTo>
                    <a:pt x="2253" y="1433"/>
                  </a:lnTo>
                  <a:cubicBezTo>
                    <a:pt x="2231" y="1404"/>
                    <a:pt x="2212" y="1394"/>
                    <a:pt x="2198" y="1365"/>
                  </a:cubicBezTo>
                  <a:lnTo>
                    <a:pt x="2198" y="1365"/>
                  </a:lnTo>
                  <a:cubicBezTo>
                    <a:pt x="2169" y="1307"/>
                    <a:pt x="2191" y="1195"/>
                    <a:pt x="2110" y="1195"/>
                  </a:cubicBezTo>
                  <a:lnTo>
                    <a:pt x="2110" y="1195"/>
                  </a:lnTo>
                  <a:cubicBezTo>
                    <a:pt x="2094" y="1195"/>
                    <a:pt x="2086" y="1219"/>
                    <a:pt x="2070" y="1219"/>
                  </a:cubicBezTo>
                  <a:lnTo>
                    <a:pt x="2070" y="1219"/>
                  </a:lnTo>
                  <a:cubicBezTo>
                    <a:pt x="2037" y="1219"/>
                    <a:pt x="2017" y="1177"/>
                    <a:pt x="1973" y="1177"/>
                  </a:cubicBezTo>
                  <a:lnTo>
                    <a:pt x="1973" y="1177"/>
                  </a:lnTo>
                  <a:cubicBezTo>
                    <a:pt x="1947" y="1177"/>
                    <a:pt x="1942" y="1191"/>
                    <a:pt x="1927" y="1191"/>
                  </a:cubicBezTo>
                  <a:lnTo>
                    <a:pt x="1927" y="1191"/>
                  </a:lnTo>
                  <a:cubicBezTo>
                    <a:pt x="1921" y="1191"/>
                    <a:pt x="1914" y="1182"/>
                    <a:pt x="1914" y="1177"/>
                  </a:cubicBezTo>
                  <a:lnTo>
                    <a:pt x="1914" y="1177"/>
                  </a:lnTo>
                  <a:cubicBezTo>
                    <a:pt x="1885" y="1184"/>
                    <a:pt x="1846" y="1180"/>
                    <a:pt x="1815" y="1191"/>
                  </a:cubicBezTo>
                  <a:lnTo>
                    <a:pt x="1815" y="1191"/>
                  </a:lnTo>
                  <a:cubicBezTo>
                    <a:pt x="1834" y="1197"/>
                    <a:pt x="1829" y="1197"/>
                    <a:pt x="1841" y="1191"/>
                  </a:cubicBezTo>
                  <a:lnTo>
                    <a:pt x="1841" y="1191"/>
                  </a:lnTo>
                  <a:cubicBezTo>
                    <a:pt x="1839" y="1219"/>
                    <a:pt x="1822" y="1235"/>
                    <a:pt x="1844" y="1250"/>
                  </a:cubicBezTo>
                  <a:lnTo>
                    <a:pt x="1844" y="1250"/>
                  </a:lnTo>
                  <a:cubicBezTo>
                    <a:pt x="1793" y="1276"/>
                    <a:pt x="1749" y="1214"/>
                    <a:pt x="1713" y="1214"/>
                  </a:cubicBezTo>
                  <a:lnTo>
                    <a:pt x="1713" y="1214"/>
                  </a:lnTo>
                  <a:cubicBezTo>
                    <a:pt x="1701" y="1214"/>
                    <a:pt x="1696" y="1228"/>
                    <a:pt x="1685" y="1228"/>
                  </a:cubicBezTo>
                  <a:lnTo>
                    <a:pt x="1685" y="1228"/>
                  </a:lnTo>
                  <a:cubicBezTo>
                    <a:pt x="1665" y="1228"/>
                    <a:pt x="1654" y="1209"/>
                    <a:pt x="1634" y="1209"/>
                  </a:cubicBezTo>
                  <a:lnTo>
                    <a:pt x="1634" y="1209"/>
                  </a:lnTo>
                  <a:cubicBezTo>
                    <a:pt x="1580" y="1209"/>
                    <a:pt x="1555" y="1255"/>
                    <a:pt x="1533" y="1278"/>
                  </a:cubicBezTo>
                  <a:lnTo>
                    <a:pt x="1533" y="1278"/>
                  </a:lnTo>
                  <a:cubicBezTo>
                    <a:pt x="1518" y="1292"/>
                    <a:pt x="1502" y="1279"/>
                    <a:pt x="1484" y="1286"/>
                  </a:cubicBezTo>
                  <a:lnTo>
                    <a:pt x="1484" y="1286"/>
                  </a:lnTo>
                  <a:cubicBezTo>
                    <a:pt x="1443" y="1301"/>
                    <a:pt x="1420" y="1350"/>
                    <a:pt x="1420" y="1406"/>
                  </a:cubicBezTo>
                  <a:lnTo>
                    <a:pt x="1420" y="1406"/>
                  </a:lnTo>
                  <a:cubicBezTo>
                    <a:pt x="1420" y="1411"/>
                    <a:pt x="1428" y="1419"/>
                    <a:pt x="1428" y="1424"/>
                  </a:cubicBezTo>
                  <a:lnTo>
                    <a:pt x="1428" y="1424"/>
                  </a:lnTo>
                  <a:cubicBezTo>
                    <a:pt x="1397" y="1420"/>
                    <a:pt x="1352" y="1411"/>
                    <a:pt x="1337" y="1397"/>
                  </a:cubicBezTo>
                  <a:lnTo>
                    <a:pt x="1337" y="1397"/>
                  </a:lnTo>
                  <a:cubicBezTo>
                    <a:pt x="1278" y="1338"/>
                    <a:pt x="1280" y="1204"/>
                    <a:pt x="1172" y="1204"/>
                  </a:cubicBezTo>
                  <a:lnTo>
                    <a:pt x="1172" y="1204"/>
                  </a:lnTo>
                  <a:cubicBezTo>
                    <a:pt x="1132" y="1204"/>
                    <a:pt x="1143" y="1255"/>
                    <a:pt x="1108" y="1255"/>
                  </a:cubicBezTo>
                  <a:lnTo>
                    <a:pt x="1108" y="1255"/>
                  </a:lnTo>
                  <a:cubicBezTo>
                    <a:pt x="1070" y="1255"/>
                    <a:pt x="1040" y="1193"/>
                    <a:pt x="1025" y="1167"/>
                  </a:cubicBezTo>
                  <a:lnTo>
                    <a:pt x="1025" y="1167"/>
                  </a:lnTo>
                  <a:cubicBezTo>
                    <a:pt x="994" y="1114"/>
                    <a:pt x="960" y="1107"/>
                    <a:pt x="897" y="1091"/>
                  </a:cubicBezTo>
                  <a:lnTo>
                    <a:pt x="860" y="1091"/>
                  </a:lnTo>
                  <a:lnTo>
                    <a:pt x="860" y="1113"/>
                  </a:lnTo>
                  <a:lnTo>
                    <a:pt x="708" y="1113"/>
                  </a:lnTo>
                  <a:lnTo>
                    <a:pt x="512" y="1048"/>
                  </a:lnTo>
                  <a:lnTo>
                    <a:pt x="397" y="1048"/>
                  </a:lnTo>
                  <a:lnTo>
                    <a:pt x="397" y="1048"/>
                  </a:lnTo>
                  <a:cubicBezTo>
                    <a:pt x="370" y="993"/>
                    <a:pt x="276" y="955"/>
                    <a:pt x="210" y="929"/>
                  </a:cubicBezTo>
                  <a:lnTo>
                    <a:pt x="210" y="929"/>
                  </a:lnTo>
                  <a:cubicBezTo>
                    <a:pt x="196" y="924"/>
                    <a:pt x="201" y="903"/>
                    <a:pt x="196" y="889"/>
                  </a:cubicBezTo>
                  <a:lnTo>
                    <a:pt x="196" y="889"/>
                  </a:lnTo>
                  <a:cubicBezTo>
                    <a:pt x="170" y="825"/>
                    <a:pt x="119" y="803"/>
                    <a:pt x="128" y="728"/>
                  </a:cubicBezTo>
                  <a:lnTo>
                    <a:pt x="128" y="728"/>
                  </a:lnTo>
                  <a:cubicBezTo>
                    <a:pt x="89" y="722"/>
                    <a:pt x="49" y="641"/>
                    <a:pt x="18" y="587"/>
                  </a:cubicBezTo>
                  <a:lnTo>
                    <a:pt x="18" y="587"/>
                  </a:lnTo>
                  <a:cubicBezTo>
                    <a:pt x="9" y="570"/>
                    <a:pt x="25" y="559"/>
                    <a:pt x="36" y="551"/>
                  </a:cubicBezTo>
                  <a:lnTo>
                    <a:pt x="36" y="551"/>
                  </a:lnTo>
                  <a:cubicBezTo>
                    <a:pt x="16" y="512"/>
                    <a:pt x="35" y="444"/>
                    <a:pt x="18" y="398"/>
                  </a:cubicBezTo>
                  <a:lnTo>
                    <a:pt x="18" y="398"/>
                  </a:lnTo>
                  <a:cubicBezTo>
                    <a:pt x="0" y="353"/>
                    <a:pt x="49" y="249"/>
                    <a:pt x="49" y="193"/>
                  </a:cubicBezTo>
                  <a:lnTo>
                    <a:pt x="49" y="193"/>
                  </a:lnTo>
                  <a:cubicBezTo>
                    <a:pt x="49" y="152"/>
                    <a:pt x="3" y="136"/>
                    <a:pt x="3" y="96"/>
                  </a:cubicBezTo>
                  <a:lnTo>
                    <a:pt x="3" y="96"/>
                  </a:lnTo>
                  <a:cubicBezTo>
                    <a:pt x="3" y="85"/>
                    <a:pt x="23" y="83"/>
                    <a:pt x="30" y="83"/>
                  </a:cubicBezTo>
                  <a:lnTo>
                    <a:pt x="30" y="83"/>
                  </a:lnTo>
                  <a:cubicBezTo>
                    <a:pt x="58" y="83"/>
                    <a:pt x="75" y="97"/>
                    <a:pt x="83" y="114"/>
                  </a:cubicBezTo>
                  <a:lnTo>
                    <a:pt x="83" y="114"/>
                  </a:lnTo>
                  <a:cubicBezTo>
                    <a:pt x="93" y="103"/>
                    <a:pt x="109" y="81"/>
                    <a:pt x="109" y="64"/>
                  </a:cubicBezTo>
                  <a:lnTo>
                    <a:pt x="109" y="64"/>
                  </a:lnTo>
                  <a:cubicBezTo>
                    <a:pt x="109" y="46"/>
                    <a:pt x="93" y="41"/>
                    <a:pt x="85" y="22"/>
                  </a:cubicBezTo>
                  <a:lnTo>
                    <a:pt x="1551" y="22"/>
                  </a:lnTo>
                  <a:lnTo>
                    <a:pt x="1551" y="0"/>
                  </a:lnTo>
                  <a:lnTo>
                    <a:pt x="1551" y="0"/>
                  </a:lnTo>
                  <a:cubicBezTo>
                    <a:pt x="1575" y="19"/>
                    <a:pt x="1574" y="33"/>
                    <a:pt x="1597" y="46"/>
                  </a:cubicBezTo>
                  <a:lnTo>
                    <a:pt x="1688" y="46"/>
                  </a:lnTo>
                  <a:lnTo>
                    <a:pt x="1688" y="46"/>
                  </a:lnTo>
                  <a:cubicBezTo>
                    <a:pt x="1726" y="83"/>
                    <a:pt x="1773" y="83"/>
                    <a:pt x="1841" y="83"/>
                  </a:cubicBezTo>
                  <a:lnTo>
                    <a:pt x="1841" y="83"/>
                  </a:lnTo>
                  <a:cubicBezTo>
                    <a:pt x="1791" y="116"/>
                    <a:pt x="1740" y="134"/>
                    <a:pt x="1698" y="187"/>
                  </a:cubicBezTo>
                  <a:lnTo>
                    <a:pt x="1726" y="187"/>
                  </a:lnTo>
                  <a:lnTo>
                    <a:pt x="1726" y="187"/>
                  </a:lnTo>
                  <a:cubicBezTo>
                    <a:pt x="1738" y="182"/>
                    <a:pt x="1746" y="176"/>
                    <a:pt x="1758" y="175"/>
                  </a:cubicBezTo>
                  <a:lnTo>
                    <a:pt x="1758" y="175"/>
                  </a:lnTo>
                  <a:cubicBezTo>
                    <a:pt x="1766" y="191"/>
                    <a:pt x="1771" y="193"/>
                    <a:pt x="1786" y="193"/>
                  </a:cubicBezTo>
                  <a:lnTo>
                    <a:pt x="1786" y="193"/>
                  </a:lnTo>
                  <a:cubicBezTo>
                    <a:pt x="1817" y="193"/>
                    <a:pt x="1819" y="169"/>
                    <a:pt x="1835" y="169"/>
                  </a:cubicBezTo>
                  <a:lnTo>
                    <a:pt x="1835" y="169"/>
                  </a:lnTo>
                  <a:cubicBezTo>
                    <a:pt x="1855" y="169"/>
                    <a:pt x="1888" y="134"/>
                    <a:pt x="1916" y="129"/>
                  </a:cubicBezTo>
                  <a:lnTo>
                    <a:pt x="1916" y="129"/>
                  </a:lnTo>
                  <a:cubicBezTo>
                    <a:pt x="1916" y="154"/>
                    <a:pt x="1903" y="160"/>
                    <a:pt x="1896" y="175"/>
                  </a:cubicBezTo>
                  <a:lnTo>
                    <a:pt x="1932" y="175"/>
                  </a:lnTo>
                  <a:lnTo>
                    <a:pt x="1932" y="175"/>
                  </a:lnTo>
                  <a:cubicBezTo>
                    <a:pt x="1934" y="187"/>
                    <a:pt x="1950" y="196"/>
                    <a:pt x="1963" y="196"/>
                  </a:cubicBezTo>
                  <a:lnTo>
                    <a:pt x="1963" y="196"/>
                  </a:lnTo>
                  <a:cubicBezTo>
                    <a:pt x="1988" y="196"/>
                    <a:pt x="1994" y="178"/>
                    <a:pt x="2015" y="178"/>
                  </a:cubicBezTo>
                  <a:lnTo>
                    <a:pt x="2015" y="178"/>
                  </a:lnTo>
                  <a:cubicBezTo>
                    <a:pt x="2059" y="178"/>
                    <a:pt x="2081" y="202"/>
                    <a:pt x="2119" y="202"/>
                  </a:cubicBezTo>
                  <a:lnTo>
                    <a:pt x="2119" y="224"/>
                  </a:lnTo>
                  <a:lnTo>
                    <a:pt x="2119" y="224"/>
                  </a:lnTo>
                  <a:cubicBezTo>
                    <a:pt x="2092" y="233"/>
                    <a:pt x="2052" y="224"/>
                    <a:pt x="2037" y="224"/>
                  </a:cubicBezTo>
                  <a:lnTo>
                    <a:pt x="2037" y="224"/>
                  </a:lnTo>
                  <a:cubicBezTo>
                    <a:pt x="1996" y="224"/>
                    <a:pt x="1923" y="275"/>
                    <a:pt x="1919" y="312"/>
                  </a:cubicBezTo>
                  <a:lnTo>
                    <a:pt x="1919" y="312"/>
                  </a:lnTo>
                  <a:cubicBezTo>
                    <a:pt x="1938" y="301"/>
                    <a:pt x="1945" y="286"/>
                    <a:pt x="1963" y="286"/>
                  </a:cubicBezTo>
                  <a:lnTo>
                    <a:pt x="1963" y="286"/>
                  </a:lnTo>
                  <a:cubicBezTo>
                    <a:pt x="1932" y="327"/>
                    <a:pt x="1918" y="420"/>
                    <a:pt x="1918" y="468"/>
                  </a:cubicBezTo>
                  <a:lnTo>
                    <a:pt x="1918" y="468"/>
                  </a:lnTo>
                  <a:cubicBezTo>
                    <a:pt x="1918" y="488"/>
                    <a:pt x="1940" y="504"/>
                    <a:pt x="1960" y="504"/>
                  </a:cubicBezTo>
                  <a:lnTo>
                    <a:pt x="1960" y="504"/>
                  </a:lnTo>
                  <a:cubicBezTo>
                    <a:pt x="1988" y="504"/>
                    <a:pt x="1996" y="449"/>
                    <a:pt x="1996" y="425"/>
                  </a:cubicBezTo>
                  <a:lnTo>
                    <a:pt x="1996" y="367"/>
                  </a:lnTo>
                  <a:lnTo>
                    <a:pt x="1996" y="367"/>
                  </a:lnTo>
                  <a:cubicBezTo>
                    <a:pt x="1996" y="344"/>
                    <a:pt x="1996" y="288"/>
                    <a:pt x="2016" y="287"/>
                  </a:cubicBezTo>
                  <a:lnTo>
                    <a:pt x="2016" y="287"/>
                  </a:lnTo>
                  <a:cubicBezTo>
                    <a:pt x="2083" y="283"/>
                    <a:pt x="2053" y="238"/>
                    <a:pt x="2083" y="238"/>
                  </a:cubicBezTo>
                  <a:lnTo>
                    <a:pt x="2083" y="238"/>
                  </a:lnTo>
                  <a:cubicBezTo>
                    <a:pt x="2097" y="238"/>
                    <a:pt x="2165" y="272"/>
                    <a:pt x="2165" y="293"/>
                  </a:cubicBezTo>
                  <a:lnTo>
                    <a:pt x="2165" y="293"/>
                  </a:lnTo>
                  <a:cubicBezTo>
                    <a:pt x="2165" y="319"/>
                    <a:pt x="2150" y="336"/>
                    <a:pt x="2145" y="361"/>
                  </a:cubicBezTo>
                  <a:lnTo>
                    <a:pt x="2145" y="361"/>
                  </a:lnTo>
                  <a:cubicBezTo>
                    <a:pt x="2166" y="361"/>
                    <a:pt x="2163" y="354"/>
                    <a:pt x="2181" y="348"/>
                  </a:cubicBezTo>
                  <a:lnTo>
                    <a:pt x="2181" y="348"/>
                  </a:lnTo>
                  <a:cubicBezTo>
                    <a:pt x="2189" y="378"/>
                    <a:pt x="2189" y="391"/>
                    <a:pt x="2207" y="405"/>
                  </a:cubicBezTo>
                  <a:lnTo>
                    <a:pt x="2207" y="405"/>
                  </a:lnTo>
                  <a:cubicBezTo>
                    <a:pt x="2185" y="427"/>
                    <a:pt x="2166" y="440"/>
                    <a:pt x="2166" y="468"/>
                  </a:cubicBezTo>
                  <a:lnTo>
                    <a:pt x="2166" y="468"/>
                  </a:lnTo>
                  <a:cubicBezTo>
                    <a:pt x="2166" y="486"/>
                    <a:pt x="2174" y="513"/>
                    <a:pt x="2193" y="513"/>
                  </a:cubicBezTo>
                  <a:lnTo>
                    <a:pt x="2193" y="513"/>
                  </a:lnTo>
                  <a:cubicBezTo>
                    <a:pt x="2240" y="513"/>
                    <a:pt x="2326" y="468"/>
                    <a:pt x="2363" y="449"/>
                  </a:cubicBezTo>
                  <a:lnTo>
                    <a:pt x="2363" y="449"/>
                  </a:lnTo>
                  <a:cubicBezTo>
                    <a:pt x="2357" y="431"/>
                    <a:pt x="2350" y="414"/>
                    <a:pt x="2345" y="405"/>
                  </a:cubicBezTo>
                  <a:lnTo>
                    <a:pt x="2345" y="405"/>
                  </a:lnTo>
                  <a:cubicBezTo>
                    <a:pt x="2357" y="405"/>
                    <a:pt x="2357" y="404"/>
                    <a:pt x="2366" y="404"/>
                  </a:cubicBezTo>
                  <a:lnTo>
                    <a:pt x="2366" y="404"/>
                  </a:lnTo>
                  <a:cubicBezTo>
                    <a:pt x="2420" y="404"/>
                    <a:pt x="2537" y="421"/>
                    <a:pt x="2537" y="352"/>
                  </a:cubicBezTo>
                  <a:lnTo>
                    <a:pt x="2537" y="352"/>
                  </a:lnTo>
                  <a:cubicBezTo>
                    <a:pt x="2541" y="350"/>
                    <a:pt x="2608" y="284"/>
                    <a:pt x="2619" y="274"/>
                  </a:cubicBezTo>
                  <a:lnTo>
                    <a:pt x="2619" y="274"/>
                  </a:lnTo>
                  <a:cubicBezTo>
                    <a:pt x="2628" y="267"/>
                    <a:pt x="2672" y="270"/>
                    <a:pt x="2715" y="270"/>
                  </a:cubicBezTo>
                  <a:lnTo>
                    <a:pt x="2760" y="270"/>
                  </a:lnTo>
                  <a:lnTo>
                    <a:pt x="2760" y="270"/>
                  </a:lnTo>
                  <a:cubicBezTo>
                    <a:pt x="2777" y="270"/>
                    <a:pt x="2795" y="264"/>
                    <a:pt x="2807" y="263"/>
                  </a:cubicBezTo>
                  <a:lnTo>
                    <a:pt x="2807" y="263"/>
                  </a:lnTo>
                  <a:cubicBezTo>
                    <a:pt x="2825" y="261"/>
                    <a:pt x="2820" y="253"/>
                    <a:pt x="2827" y="246"/>
                  </a:cubicBezTo>
                  <a:lnTo>
                    <a:pt x="2827" y="246"/>
                  </a:lnTo>
                  <a:cubicBezTo>
                    <a:pt x="2860" y="212"/>
                    <a:pt x="2859" y="151"/>
                    <a:pt x="2905" y="119"/>
                  </a:cubicBezTo>
                  <a:lnTo>
                    <a:pt x="2905" y="119"/>
                  </a:lnTo>
                  <a:cubicBezTo>
                    <a:pt x="2927" y="147"/>
                    <a:pt x="2962" y="107"/>
                    <a:pt x="2976" y="132"/>
                  </a:cubicBezTo>
                  <a:lnTo>
                    <a:pt x="2976" y="132"/>
                  </a:lnTo>
                  <a:cubicBezTo>
                    <a:pt x="3006" y="184"/>
                    <a:pt x="2982" y="258"/>
                    <a:pt x="3017" y="303"/>
                  </a:cubicBezTo>
                  <a:lnTo>
                    <a:pt x="3017" y="303"/>
                  </a:lnTo>
                  <a:cubicBezTo>
                    <a:pt x="3004" y="323"/>
                    <a:pt x="2984" y="334"/>
                    <a:pt x="2958" y="334"/>
                  </a:cubicBezTo>
                  <a:lnTo>
                    <a:pt x="2958" y="334"/>
                  </a:lnTo>
                  <a:cubicBezTo>
                    <a:pt x="2936" y="334"/>
                    <a:pt x="2935" y="324"/>
                    <a:pt x="2916" y="334"/>
                  </a:cubicBezTo>
                  <a:lnTo>
                    <a:pt x="2916" y="334"/>
                  </a:lnTo>
                  <a:cubicBezTo>
                    <a:pt x="2887" y="363"/>
                    <a:pt x="2824" y="383"/>
                    <a:pt x="2824" y="453"/>
                  </a:cubicBezTo>
                  <a:lnTo>
                    <a:pt x="2824" y="453"/>
                  </a:lnTo>
                  <a:cubicBezTo>
                    <a:pt x="2824" y="458"/>
                    <a:pt x="2827" y="468"/>
                    <a:pt x="2832" y="469"/>
                  </a:cubicBezTo>
                  <a:lnTo>
                    <a:pt x="2832" y="469"/>
                  </a:lnTo>
                  <a:cubicBezTo>
                    <a:pt x="2832" y="478"/>
                    <a:pt x="2839" y="502"/>
                    <a:pt x="2850" y="502"/>
                  </a:cubicBezTo>
                  <a:lnTo>
                    <a:pt x="2850" y="502"/>
                  </a:lnTo>
                  <a:cubicBezTo>
                    <a:pt x="2854" y="502"/>
                    <a:pt x="2870" y="489"/>
                    <a:pt x="2870" y="489"/>
                  </a:cubicBezTo>
                  <a:lnTo>
                    <a:pt x="2870" y="502"/>
                  </a:lnTo>
                  <a:lnTo>
                    <a:pt x="2870" y="502"/>
                  </a:lnTo>
                  <a:cubicBezTo>
                    <a:pt x="2849" y="508"/>
                    <a:pt x="2817" y="515"/>
                    <a:pt x="2810" y="508"/>
                  </a:cubicBezTo>
                  <a:lnTo>
                    <a:pt x="2810" y="508"/>
                  </a:lnTo>
                  <a:cubicBezTo>
                    <a:pt x="2773" y="535"/>
                    <a:pt x="2711" y="524"/>
                    <a:pt x="2675" y="548"/>
                  </a:cubicBezTo>
                  <a:lnTo>
                    <a:pt x="2693" y="548"/>
                  </a:lnTo>
                  <a:lnTo>
                    <a:pt x="2693" y="548"/>
                  </a:lnTo>
                  <a:cubicBezTo>
                    <a:pt x="2709" y="548"/>
                    <a:pt x="2726" y="539"/>
                    <a:pt x="2739" y="548"/>
                  </a:cubicBezTo>
                  <a:lnTo>
                    <a:pt x="2739" y="548"/>
                  </a:lnTo>
                  <a:cubicBezTo>
                    <a:pt x="2713" y="558"/>
                    <a:pt x="2695" y="558"/>
                    <a:pt x="2669" y="558"/>
                  </a:cubicBezTo>
                  <a:lnTo>
                    <a:pt x="2669" y="558"/>
                  </a:lnTo>
                  <a:cubicBezTo>
                    <a:pt x="2663" y="558"/>
                    <a:pt x="2658" y="555"/>
                    <a:pt x="2652" y="555"/>
                  </a:cubicBezTo>
                  <a:lnTo>
                    <a:pt x="2652" y="555"/>
                  </a:lnTo>
                  <a:cubicBezTo>
                    <a:pt x="2647" y="558"/>
                    <a:pt x="2642" y="563"/>
                    <a:pt x="2642" y="568"/>
                  </a:cubicBezTo>
                  <a:lnTo>
                    <a:pt x="2642" y="568"/>
                  </a:lnTo>
                  <a:cubicBezTo>
                    <a:pt x="2642" y="578"/>
                    <a:pt x="2658" y="590"/>
                    <a:pt x="2658" y="590"/>
                  </a:cubicBezTo>
                  <a:lnTo>
                    <a:pt x="2658" y="590"/>
                  </a:lnTo>
                  <a:cubicBezTo>
                    <a:pt x="2654" y="605"/>
                    <a:pt x="2619" y="669"/>
                    <a:pt x="2607" y="669"/>
                  </a:cubicBezTo>
                  <a:lnTo>
                    <a:pt x="2607" y="669"/>
                  </a:lnTo>
                  <a:cubicBezTo>
                    <a:pt x="2601" y="669"/>
                    <a:pt x="2598" y="658"/>
                    <a:pt x="2594" y="654"/>
                  </a:cubicBezTo>
                  <a:lnTo>
                    <a:pt x="2585" y="664"/>
                  </a:lnTo>
                  <a:lnTo>
                    <a:pt x="2585" y="664"/>
                  </a:lnTo>
                  <a:cubicBezTo>
                    <a:pt x="2588" y="678"/>
                    <a:pt x="2601" y="684"/>
                    <a:pt x="2601" y="699"/>
                  </a:cubicBezTo>
                  <a:lnTo>
                    <a:pt x="2601" y="699"/>
                  </a:lnTo>
                  <a:cubicBezTo>
                    <a:pt x="2601" y="710"/>
                    <a:pt x="2564" y="774"/>
                    <a:pt x="2559" y="774"/>
                  </a:cubicBezTo>
                  <a:lnTo>
                    <a:pt x="2559" y="774"/>
                  </a:lnTo>
                  <a:cubicBezTo>
                    <a:pt x="2556" y="774"/>
                    <a:pt x="2552" y="766"/>
                    <a:pt x="2552" y="762"/>
                  </a:cubicBezTo>
                  <a:lnTo>
                    <a:pt x="2552" y="742"/>
                  </a:lnTo>
                  <a:lnTo>
                    <a:pt x="2552" y="742"/>
                  </a:lnTo>
                  <a:cubicBezTo>
                    <a:pt x="2552" y="730"/>
                    <a:pt x="2536" y="700"/>
                    <a:pt x="2531" y="682"/>
                  </a:cubicBezTo>
                  <a:lnTo>
                    <a:pt x="2531" y="682"/>
                  </a:lnTo>
                  <a:cubicBezTo>
                    <a:pt x="2528" y="691"/>
                    <a:pt x="2529" y="705"/>
                    <a:pt x="2529" y="705"/>
                  </a:cubicBezTo>
                  <a:lnTo>
                    <a:pt x="2529" y="705"/>
                  </a:lnTo>
                  <a:cubicBezTo>
                    <a:pt x="2529" y="719"/>
                    <a:pt x="2539" y="751"/>
                    <a:pt x="2539" y="770"/>
                  </a:cubicBezTo>
                  <a:lnTo>
                    <a:pt x="2539" y="770"/>
                  </a:lnTo>
                  <a:cubicBezTo>
                    <a:pt x="2539" y="788"/>
                    <a:pt x="2528" y="787"/>
                    <a:pt x="2539" y="797"/>
                  </a:cubicBezTo>
                  <a:lnTo>
                    <a:pt x="2552" y="797"/>
                  </a:lnTo>
                  <a:lnTo>
                    <a:pt x="2552" y="816"/>
                  </a:lnTo>
                  <a:lnTo>
                    <a:pt x="2552" y="816"/>
                  </a:lnTo>
                  <a:cubicBezTo>
                    <a:pt x="2552" y="830"/>
                    <a:pt x="2537" y="838"/>
                    <a:pt x="2527" y="838"/>
                  </a:cubicBezTo>
                  <a:lnTo>
                    <a:pt x="2527" y="838"/>
                  </a:lnTo>
                  <a:cubicBezTo>
                    <a:pt x="2535" y="851"/>
                    <a:pt x="2544" y="852"/>
                    <a:pt x="2552" y="854"/>
                  </a:cubicBezTo>
                  <a:lnTo>
                    <a:pt x="2552" y="854"/>
                  </a:lnTo>
                  <a:cubicBezTo>
                    <a:pt x="2549" y="874"/>
                    <a:pt x="2541" y="872"/>
                    <a:pt x="2524" y="872"/>
                  </a:cubicBezTo>
                  <a:lnTo>
                    <a:pt x="2524" y="887"/>
                  </a:lnTo>
                  <a:lnTo>
                    <a:pt x="2546" y="900"/>
                  </a:lnTo>
                  <a:lnTo>
                    <a:pt x="2546" y="900"/>
                  </a:lnTo>
                  <a:cubicBezTo>
                    <a:pt x="2540" y="907"/>
                    <a:pt x="2534" y="918"/>
                    <a:pt x="2524" y="920"/>
                  </a:cubicBezTo>
                  <a:lnTo>
                    <a:pt x="2524" y="920"/>
                  </a:lnTo>
                  <a:cubicBezTo>
                    <a:pt x="2503" y="924"/>
                    <a:pt x="2493" y="938"/>
                    <a:pt x="2478" y="942"/>
                  </a:cubicBezTo>
                  <a:lnTo>
                    <a:pt x="2478" y="942"/>
                  </a:lnTo>
                  <a:cubicBezTo>
                    <a:pt x="2457" y="949"/>
                    <a:pt x="2458" y="955"/>
                    <a:pt x="2447" y="966"/>
                  </a:cubicBezTo>
                  <a:lnTo>
                    <a:pt x="2452" y="969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7" name="Freeform 105">
              <a:extLst>
                <a:ext uri="{FF2B5EF4-FFF2-40B4-BE49-F238E27FC236}">
                  <a16:creationId xmlns:a16="http://schemas.microsoft.com/office/drawing/2014/main" id="{F880AE43-CAD9-EC47-8EAB-51930D2EF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9780" y="3891290"/>
              <a:ext cx="2903345" cy="1497757"/>
            </a:xfrm>
            <a:custGeom>
              <a:avLst/>
              <a:gdLst>
                <a:gd name="T0" fmla="*/ 3942 w 4447"/>
                <a:gd name="T1" fmla="*/ 2080 h 2295"/>
                <a:gd name="T2" fmla="*/ 3906 w 4447"/>
                <a:gd name="T3" fmla="*/ 2144 h 2295"/>
                <a:gd name="T4" fmla="*/ 4162 w 4447"/>
                <a:gd name="T5" fmla="*/ 2065 h 2295"/>
                <a:gd name="T6" fmla="*/ 3985 w 4447"/>
                <a:gd name="T7" fmla="*/ 1902 h 2295"/>
                <a:gd name="T8" fmla="*/ 3920 w 4447"/>
                <a:gd name="T9" fmla="*/ 1809 h 2295"/>
                <a:gd name="T10" fmla="*/ 3896 w 4447"/>
                <a:gd name="T11" fmla="*/ 1745 h 2295"/>
                <a:gd name="T12" fmla="*/ 4446 w 4447"/>
                <a:gd name="T13" fmla="*/ 1595 h 2295"/>
                <a:gd name="T14" fmla="*/ 4400 w 4447"/>
                <a:gd name="T15" fmla="*/ 1457 h 2295"/>
                <a:gd name="T16" fmla="*/ 4357 w 4447"/>
                <a:gd name="T17" fmla="*/ 1436 h 2295"/>
                <a:gd name="T18" fmla="*/ 4117 w 4447"/>
                <a:gd name="T19" fmla="*/ 1288 h 2295"/>
                <a:gd name="T20" fmla="*/ 4071 w 4447"/>
                <a:gd name="T21" fmla="*/ 1127 h 2295"/>
                <a:gd name="T22" fmla="*/ 3933 w 4447"/>
                <a:gd name="T23" fmla="*/ 1054 h 2295"/>
                <a:gd name="T24" fmla="*/ 3719 w 4447"/>
                <a:gd name="T25" fmla="*/ 980 h 2295"/>
                <a:gd name="T26" fmla="*/ 3448 w 4447"/>
                <a:gd name="T27" fmla="*/ 847 h 2295"/>
                <a:gd name="T28" fmla="*/ 3261 w 4447"/>
                <a:gd name="T29" fmla="*/ 944 h 2295"/>
                <a:gd name="T30" fmla="*/ 3334 w 4447"/>
                <a:gd name="T31" fmla="*/ 1320 h 2295"/>
                <a:gd name="T32" fmla="*/ 3219 w 4447"/>
                <a:gd name="T33" fmla="*/ 1649 h 2295"/>
                <a:gd name="T34" fmla="*/ 3014 w 4447"/>
                <a:gd name="T35" fmla="*/ 1388 h 2295"/>
                <a:gd name="T36" fmla="*/ 2587 w 4447"/>
                <a:gd name="T37" fmla="*/ 1241 h 2295"/>
                <a:gd name="T38" fmla="*/ 2403 w 4447"/>
                <a:gd name="T39" fmla="*/ 1140 h 2295"/>
                <a:gd name="T40" fmla="*/ 2528 w 4447"/>
                <a:gd name="T41" fmla="*/ 807 h 2295"/>
                <a:gd name="T42" fmla="*/ 2629 w 4447"/>
                <a:gd name="T43" fmla="*/ 740 h 2295"/>
                <a:gd name="T44" fmla="*/ 2803 w 4447"/>
                <a:gd name="T45" fmla="*/ 605 h 2295"/>
                <a:gd name="T46" fmla="*/ 2849 w 4447"/>
                <a:gd name="T47" fmla="*/ 527 h 2295"/>
                <a:gd name="T48" fmla="*/ 2977 w 4447"/>
                <a:gd name="T49" fmla="*/ 508 h 2295"/>
                <a:gd name="T50" fmla="*/ 3063 w 4447"/>
                <a:gd name="T51" fmla="*/ 367 h 2295"/>
                <a:gd name="T52" fmla="*/ 2977 w 4447"/>
                <a:gd name="T53" fmla="*/ 206 h 2295"/>
                <a:gd name="T54" fmla="*/ 2913 w 4447"/>
                <a:gd name="T55" fmla="*/ 279 h 2295"/>
                <a:gd name="T56" fmla="*/ 2730 w 4447"/>
                <a:gd name="T57" fmla="*/ 352 h 2295"/>
                <a:gd name="T58" fmla="*/ 2620 w 4447"/>
                <a:gd name="T59" fmla="*/ 321 h 2295"/>
                <a:gd name="T60" fmla="*/ 2504 w 4447"/>
                <a:gd name="T61" fmla="*/ 200 h 2295"/>
                <a:gd name="T62" fmla="*/ 2381 w 4447"/>
                <a:gd name="T63" fmla="*/ 0 h 2295"/>
                <a:gd name="T64" fmla="*/ 2327 w 4447"/>
                <a:gd name="T65" fmla="*/ 114 h 2295"/>
                <a:gd name="T66" fmla="*/ 2412 w 4447"/>
                <a:gd name="T67" fmla="*/ 297 h 2295"/>
                <a:gd name="T68" fmla="*/ 2327 w 4447"/>
                <a:gd name="T69" fmla="*/ 343 h 2295"/>
                <a:gd name="T70" fmla="*/ 2042 w 4447"/>
                <a:gd name="T71" fmla="*/ 380 h 2295"/>
                <a:gd name="T72" fmla="*/ 1685 w 4447"/>
                <a:gd name="T73" fmla="*/ 341 h 2295"/>
                <a:gd name="T74" fmla="*/ 1709 w 4447"/>
                <a:gd name="T75" fmla="*/ 440 h 2295"/>
                <a:gd name="T76" fmla="*/ 1389 w 4447"/>
                <a:gd name="T77" fmla="*/ 383 h 2295"/>
                <a:gd name="T78" fmla="*/ 1236 w 4447"/>
                <a:gd name="T79" fmla="*/ 283 h 2295"/>
                <a:gd name="T80" fmla="*/ 835 w 4447"/>
                <a:gd name="T81" fmla="*/ 175 h 2295"/>
                <a:gd name="T82" fmla="*/ 606 w 4447"/>
                <a:gd name="T83" fmla="*/ 193 h 2295"/>
                <a:gd name="T84" fmla="*/ 361 w 4447"/>
                <a:gd name="T85" fmla="*/ 227 h 2295"/>
                <a:gd name="T86" fmla="*/ 47 w 4447"/>
                <a:gd name="T87" fmla="*/ 234 h 2295"/>
                <a:gd name="T88" fmla="*/ 0 w 4447"/>
                <a:gd name="T89" fmla="*/ 1003 h 2295"/>
                <a:gd name="T90" fmla="*/ 243 w 4447"/>
                <a:gd name="T91" fmla="*/ 1057 h 2295"/>
                <a:gd name="T92" fmla="*/ 432 w 4447"/>
                <a:gd name="T93" fmla="*/ 1222 h 2295"/>
                <a:gd name="T94" fmla="*/ 560 w 4447"/>
                <a:gd name="T95" fmla="*/ 1376 h 2295"/>
                <a:gd name="T96" fmla="*/ 564 w 4447"/>
                <a:gd name="T97" fmla="*/ 1520 h 2295"/>
                <a:gd name="T98" fmla="*/ 672 w 4447"/>
                <a:gd name="T99" fmla="*/ 1624 h 2295"/>
                <a:gd name="T100" fmla="*/ 908 w 4447"/>
                <a:gd name="T101" fmla="*/ 1816 h 2295"/>
                <a:gd name="T102" fmla="*/ 2394 w 4447"/>
                <a:gd name="T103" fmla="*/ 1805 h 2295"/>
                <a:gd name="T104" fmla="*/ 2731 w 4447"/>
                <a:gd name="T105" fmla="*/ 1878 h 2295"/>
                <a:gd name="T106" fmla="*/ 2806 w 4447"/>
                <a:gd name="T107" fmla="*/ 1855 h 2295"/>
                <a:gd name="T108" fmla="*/ 2927 w 4447"/>
                <a:gd name="T109" fmla="*/ 1980 h 2295"/>
                <a:gd name="T110" fmla="*/ 3151 w 4447"/>
                <a:gd name="T111" fmla="*/ 2124 h 2295"/>
                <a:gd name="T112" fmla="*/ 3009 w 4447"/>
                <a:gd name="T113" fmla="*/ 2273 h 2295"/>
                <a:gd name="T114" fmla="*/ 3133 w 4447"/>
                <a:gd name="T115" fmla="*/ 2262 h 2295"/>
                <a:gd name="T116" fmla="*/ 3195 w 4447"/>
                <a:gd name="T117" fmla="*/ 2224 h 2295"/>
                <a:gd name="T118" fmla="*/ 3380 w 4447"/>
                <a:gd name="T119" fmla="*/ 2157 h 2295"/>
                <a:gd name="T120" fmla="*/ 3603 w 4447"/>
                <a:gd name="T121" fmla="*/ 2075 h 2295"/>
                <a:gd name="T122" fmla="*/ 3748 w 4447"/>
                <a:gd name="T123" fmla="*/ 1924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47" h="2295">
                  <a:moveTo>
                    <a:pt x="3851" y="2089"/>
                  </a:moveTo>
                  <a:lnTo>
                    <a:pt x="3851" y="2083"/>
                  </a:lnTo>
                  <a:lnTo>
                    <a:pt x="3851" y="2083"/>
                  </a:lnTo>
                  <a:cubicBezTo>
                    <a:pt x="3855" y="2086"/>
                    <a:pt x="3864" y="2083"/>
                    <a:pt x="3869" y="2083"/>
                  </a:cubicBezTo>
                  <a:lnTo>
                    <a:pt x="3869" y="2083"/>
                  </a:lnTo>
                  <a:cubicBezTo>
                    <a:pt x="3880" y="2083"/>
                    <a:pt x="3926" y="2091"/>
                    <a:pt x="3942" y="2080"/>
                  </a:cubicBezTo>
                  <a:lnTo>
                    <a:pt x="3942" y="2080"/>
                  </a:lnTo>
                  <a:cubicBezTo>
                    <a:pt x="3959" y="2069"/>
                    <a:pt x="3959" y="2045"/>
                    <a:pt x="3986" y="2043"/>
                  </a:cubicBezTo>
                  <a:lnTo>
                    <a:pt x="3986" y="2043"/>
                  </a:lnTo>
                  <a:cubicBezTo>
                    <a:pt x="3986" y="2069"/>
                    <a:pt x="3985" y="2071"/>
                    <a:pt x="4014" y="2071"/>
                  </a:cubicBezTo>
                  <a:lnTo>
                    <a:pt x="4014" y="2071"/>
                  </a:lnTo>
                  <a:cubicBezTo>
                    <a:pt x="3972" y="2075"/>
                    <a:pt x="3906" y="2104"/>
                    <a:pt x="3906" y="2144"/>
                  </a:cubicBezTo>
                  <a:lnTo>
                    <a:pt x="3906" y="2144"/>
                  </a:lnTo>
                  <a:cubicBezTo>
                    <a:pt x="3906" y="2160"/>
                    <a:pt x="3932" y="2190"/>
                    <a:pt x="3942" y="2190"/>
                  </a:cubicBezTo>
                  <a:lnTo>
                    <a:pt x="3942" y="2190"/>
                  </a:lnTo>
                  <a:cubicBezTo>
                    <a:pt x="3957" y="2190"/>
                    <a:pt x="3991" y="2141"/>
                    <a:pt x="4028" y="2130"/>
                  </a:cubicBezTo>
                  <a:lnTo>
                    <a:pt x="4028" y="2130"/>
                  </a:lnTo>
                  <a:cubicBezTo>
                    <a:pt x="4037" y="2128"/>
                    <a:pt x="4162" y="2080"/>
                    <a:pt x="4162" y="2065"/>
                  </a:cubicBezTo>
                  <a:lnTo>
                    <a:pt x="4162" y="2065"/>
                  </a:lnTo>
                  <a:cubicBezTo>
                    <a:pt x="4162" y="2045"/>
                    <a:pt x="4115" y="2043"/>
                    <a:pt x="4104" y="2043"/>
                  </a:cubicBezTo>
                  <a:lnTo>
                    <a:pt x="4104" y="2043"/>
                  </a:lnTo>
                  <a:cubicBezTo>
                    <a:pt x="4050" y="2043"/>
                    <a:pt x="3966" y="1992"/>
                    <a:pt x="3966" y="1946"/>
                  </a:cubicBezTo>
                  <a:lnTo>
                    <a:pt x="3966" y="1946"/>
                  </a:lnTo>
                  <a:cubicBezTo>
                    <a:pt x="3966" y="1936"/>
                    <a:pt x="3981" y="1921"/>
                    <a:pt x="3985" y="1902"/>
                  </a:cubicBezTo>
                  <a:lnTo>
                    <a:pt x="3985" y="1902"/>
                  </a:lnTo>
                  <a:cubicBezTo>
                    <a:pt x="3976" y="1902"/>
                    <a:pt x="3955" y="1897"/>
                    <a:pt x="3939" y="1897"/>
                  </a:cubicBezTo>
                  <a:lnTo>
                    <a:pt x="3939" y="1897"/>
                  </a:lnTo>
                  <a:cubicBezTo>
                    <a:pt x="3950" y="1882"/>
                    <a:pt x="4016" y="1873"/>
                    <a:pt x="4016" y="1836"/>
                  </a:cubicBezTo>
                  <a:lnTo>
                    <a:pt x="4016" y="1836"/>
                  </a:lnTo>
                  <a:cubicBezTo>
                    <a:pt x="4016" y="1802"/>
                    <a:pt x="3959" y="1809"/>
                    <a:pt x="3920" y="1809"/>
                  </a:cubicBezTo>
                  <a:lnTo>
                    <a:pt x="3920" y="1809"/>
                  </a:lnTo>
                  <a:cubicBezTo>
                    <a:pt x="3840" y="1809"/>
                    <a:pt x="3803" y="1866"/>
                    <a:pt x="3748" y="1873"/>
                  </a:cubicBezTo>
                  <a:lnTo>
                    <a:pt x="3748" y="1873"/>
                  </a:lnTo>
                  <a:cubicBezTo>
                    <a:pt x="3772" y="1824"/>
                    <a:pt x="3811" y="1840"/>
                    <a:pt x="3851" y="1800"/>
                  </a:cubicBezTo>
                  <a:lnTo>
                    <a:pt x="3851" y="1800"/>
                  </a:lnTo>
                  <a:cubicBezTo>
                    <a:pt x="3877" y="1774"/>
                    <a:pt x="3858" y="1757"/>
                    <a:pt x="3896" y="1745"/>
                  </a:cubicBezTo>
                  <a:lnTo>
                    <a:pt x="3896" y="1745"/>
                  </a:lnTo>
                  <a:cubicBezTo>
                    <a:pt x="3966" y="1723"/>
                    <a:pt x="4007" y="1736"/>
                    <a:pt x="4076" y="1736"/>
                  </a:cubicBezTo>
                  <a:lnTo>
                    <a:pt x="4076" y="1736"/>
                  </a:lnTo>
                  <a:cubicBezTo>
                    <a:pt x="4168" y="1736"/>
                    <a:pt x="4218" y="1766"/>
                    <a:pt x="4272" y="1695"/>
                  </a:cubicBezTo>
                  <a:lnTo>
                    <a:pt x="4272" y="1695"/>
                  </a:lnTo>
                  <a:cubicBezTo>
                    <a:pt x="4299" y="1661"/>
                    <a:pt x="4446" y="1653"/>
                    <a:pt x="4446" y="1595"/>
                  </a:cubicBezTo>
                  <a:lnTo>
                    <a:pt x="4446" y="1595"/>
                  </a:lnTo>
                  <a:cubicBezTo>
                    <a:pt x="4446" y="1553"/>
                    <a:pt x="4432" y="1534"/>
                    <a:pt x="4415" y="1507"/>
                  </a:cubicBezTo>
                  <a:lnTo>
                    <a:pt x="4415" y="1507"/>
                  </a:lnTo>
                  <a:cubicBezTo>
                    <a:pt x="4400" y="1507"/>
                    <a:pt x="4422" y="1489"/>
                    <a:pt x="4400" y="1479"/>
                  </a:cubicBezTo>
                  <a:lnTo>
                    <a:pt x="4400" y="1457"/>
                  </a:lnTo>
                  <a:lnTo>
                    <a:pt x="4400" y="1457"/>
                  </a:lnTo>
                  <a:cubicBezTo>
                    <a:pt x="4359" y="1481"/>
                    <a:pt x="4271" y="1512"/>
                    <a:pt x="4227" y="1512"/>
                  </a:cubicBezTo>
                  <a:lnTo>
                    <a:pt x="4227" y="1512"/>
                  </a:lnTo>
                  <a:cubicBezTo>
                    <a:pt x="4221" y="1512"/>
                    <a:pt x="4210" y="1509"/>
                    <a:pt x="4208" y="1505"/>
                  </a:cubicBezTo>
                  <a:lnTo>
                    <a:pt x="4208" y="1505"/>
                  </a:lnTo>
                  <a:cubicBezTo>
                    <a:pt x="4245" y="1484"/>
                    <a:pt x="4347" y="1471"/>
                    <a:pt x="4357" y="1436"/>
                  </a:cubicBezTo>
                  <a:lnTo>
                    <a:pt x="4357" y="1436"/>
                  </a:lnTo>
                  <a:cubicBezTo>
                    <a:pt x="4359" y="1427"/>
                    <a:pt x="4344" y="1424"/>
                    <a:pt x="4342" y="1415"/>
                  </a:cubicBezTo>
                  <a:lnTo>
                    <a:pt x="4342" y="1415"/>
                  </a:lnTo>
                  <a:cubicBezTo>
                    <a:pt x="4298" y="1420"/>
                    <a:pt x="4205" y="1400"/>
                    <a:pt x="4205" y="1338"/>
                  </a:cubicBezTo>
                  <a:lnTo>
                    <a:pt x="4205" y="1332"/>
                  </a:lnTo>
                  <a:lnTo>
                    <a:pt x="4205" y="1332"/>
                  </a:lnTo>
                  <a:cubicBezTo>
                    <a:pt x="4164" y="1332"/>
                    <a:pt x="4140" y="1307"/>
                    <a:pt x="4117" y="1288"/>
                  </a:cubicBezTo>
                  <a:lnTo>
                    <a:pt x="4117" y="1288"/>
                  </a:lnTo>
                  <a:cubicBezTo>
                    <a:pt x="4126" y="1283"/>
                    <a:pt x="4144" y="1278"/>
                    <a:pt x="4144" y="1255"/>
                  </a:cubicBezTo>
                  <a:lnTo>
                    <a:pt x="4144" y="1255"/>
                  </a:lnTo>
                  <a:cubicBezTo>
                    <a:pt x="4144" y="1237"/>
                    <a:pt x="4128" y="1222"/>
                    <a:pt x="4131" y="1204"/>
                  </a:cubicBezTo>
                  <a:lnTo>
                    <a:pt x="4131" y="1204"/>
                  </a:lnTo>
                  <a:cubicBezTo>
                    <a:pt x="4115" y="1199"/>
                    <a:pt x="4055" y="1161"/>
                    <a:pt x="4071" y="1127"/>
                  </a:cubicBezTo>
                  <a:lnTo>
                    <a:pt x="4071" y="1127"/>
                  </a:lnTo>
                  <a:cubicBezTo>
                    <a:pt x="4090" y="1086"/>
                    <a:pt x="4012" y="1076"/>
                    <a:pt x="4007" y="1026"/>
                  </a:cubicBezTo>
                  <a:lnTo>
                    <a:pt x="4007" y="1026"/>
                  </a:lnTo>
                  <a:cubicBezTo>
                    <a:pt x="4001" y="1026"/>
                    <a:pt x="3983" y="1010"/>
                    <a:pt x="3976" y="1003"/>
                  </a:cubicBezTo>
                  <a:lnTo>
                    <a:pt x="3976" y="1003"/>
                  </a:lnTo>
                  <a:cubicBezTo>
                    <a:pt x="3963" y="1012"/>
                    <a:pt x="3933" y="1029"/>
                    <a:pt x="3933" y="1054"/>
                  </a:cubicBezTo>
                  <a:lnTo>
                    <a:pt x="3933" y="1054"/>
                  </a:lnTo>
                  <a:cubicBezTo>
                    <a:pt x="3933" y="1081"/>
                    <a:pt x="3875" y="1149"/>
                    <a:pt x="3829" y="1149"/>
                  </a:cubicBezTo>
                  <a:lnTo>
                    <a:pt x="3829" y="1149"/>
                  </a:lnTo>
                  <a:cubicBezTo>
                    <a:pt x="3796" y="1149"/>
                    <a:pt x="3790" y="1109"/>
                    <a:pt x="3768" y="1109"/>
                  </a:cubicBezTo>
                  <a:lnTo>
                    <a:pt x="3768" y="1109"/>
                  </a:lnTo>
                  <a:cubicBezTo>
                    <a:pt x="3737" y="1109"/>
                    <a:pt x="3724" y="1019"/>
                    <a:pt x="3719" y="980"/>
                  </a:cubicBezTo>
                  <a:lnTo>
                    <a:pt x="3719" y="980"/>
                  </a:lnTo>
                  <a:cubicBezTo>
                    <a:pt x="3712" y="929"/>
                    <a:pt x="3613" y="966"/>
                    <a:pt x="3613" y="898"/>
                  </a:cubicBezTo>
                  <a:lnTo>
                    <a:pt x="3613" y="898"/>
                  </a:lnTo>
                  <a:cubicBezTo>
                    <a:pt x="3561" y="891"/>
                    <a:pt x="3551" y="829"/>
                    <a:pt x="3499" y="829"/>
                  </a:cubicBezTo>
                  <a:lnTo>
                    <a:pt x="3499" y="829"/>
                  </a:lnTo>
                  <a:cubicBezTo>
                    <a:pt x="3475" y="829"/>
                    <a:pt x="3475" y="847"/>
                    <a:pt x="3448" y="847"/>
                  </a:cubicBezTo>
                  <a:lnTo>
                    <a:pt x="3448" y="847"/>
                  </a:lnTo>
                  <a:cubicBezTo>
                    <a:pt x="3395" y="847"/>
                    <a:pt x="3362" y="816"/>
                    <a:pt x="3310" y="816"/>
                  </a:cubicBezTo>
                  <a:lnTo>
                    <a:pt x="3310" y="816"/>
                  </a:lnTo>
                  <a:cubicBezTo>
                    <a:pt x="3283" y="816"/>
                    <a:pt x="3255" y="829"/>
                    <a:pt x="3255" y="862"/>
                  </a:cubicBezTo>
                  <a:lnTo>
                    <a:pt x="3255" y="862"/>
                  </a:lnTo>
                  <a:cubicBezTo>
                    <a:pt x="3255" y="880"/>
                    <a:pt x="3320" y="906"/>
                    <a:pt x="3261" y="944"/>
                  </a:cubicBezTo>
                  <a:lnTo>
                    <a:pt x="3261" y="944"/>
                  </a:lnTo>
                  <a:cubicBezTo>
                    <a:pt x="3238" y="959"/>
                    <a:pt x="3294" y="999"/>
                    <a:pt x="3298" y="1026"/>
                  </a:cubicBezTo>
                  <a:lnTo>
                    <a:pt x="3298" y="1026"/>
                  </a:lnTo>
                  <a:cubicBezTo>
                    <a:pt x="3304" y="1081"/>
                    <a:pt x="3252" y="1095"/>
                    <a:pt x="3228" y="1104"/>
                  </a:cubicBezTo>
                  <a:lnTo>
                    <a:pt x="3228" y="1104"/>
                  </a:lnTo>
                  <a:cubicBezTo>
                    <a:pt x="3270" y="1176"/>
                    <a:pt x="3334" y="1199"/>
                    <a:pt x="3334" y="1320"/>
                  </a:cubicBezTo>
                  <a:lnTo>
                    <a:pt x="3334" y="1320"/>
                  </a:lnTo>
                  <a:cubicBezTo>
                    <a:pt x="3334" y="1353"/>
                    <a:pt x="3224" y="1435"/>
                    <a:pt x="3188" y="1443"/>
                  </a:cubicBezTo>
                  <a:lnTo>
                    <a:pt x="3188" y="1443"/>
                  </a:lnTo>
                  <a:cubicBezTo>
                    <a:pt x="3251" y="1475"/>
                    <a:pt x="3226" y="1574"/>
                    <a:pt x="3251" y="1605"/>
                  </a:cubicBezTo>
                  <a:lnTo>
                    <a:pt x="3251" y="1605"/>
                  </a:lnTo>
                  <a:cubicBezTo>
                    <a:pt x="3245" y="1616"/>
                    <a:pt x="3220" y="1629"/>
                    <a:pt x="3219" y="1649"/>
                  </a:cubicBezTo>
                  <a:lnTo>
                    <a:pt x="3219" y="1649"/>
                  </a:lnTo>
                  <a:cubicBezTo>
                    <a:pt x="3197" y="1649"/>
                    <a:pt x="3181" y="1685"/>
                    <a:pt x="3164" y="1671"/>
                  </a:cubicBezTo>
                  <a:lnTo>
                    <a:pt x="3164" y="1671"/>
                  </a:lnTo>
                  <a:cubicBezTo>
                    <a:pt x="3118" y="1635"/>
                    <a:pt x="3054" y="1578"/>
                    <a:pt x="3054" y="1525"/>
                  </a:cubicBezTo>
                  <a:lnTo>
                    <a:pt x="3054" y="1525"/>
                  </a:lnTo>
                  <a:cubicBezTo>
                    <a:pt x="3054" y="1466"/>
                    <a:pt x="3065" y="1420"/>
                    <a:pt x="3014" y="1388"/>
                  </a:cubicBezTo>
                  <a:lnTo>
                    <a:pt x="2895" y="1388"/>
                  </a:lnTo>
                  <a:lnTo>
                    <a:pt x="2895" y="1388"/>
                  </a:lnTo>
                  <a:cubicBezTo>
                    <a:pt x="2827" y="1338"/>
                    <a:pt x="2750" y="1309"/>
                    <a:pt x="2669" y="1278"/>
                  </a:cubicBezTo>
                  <a:lnTo>
                    <a:pt x="2669" y="1278"/>
                  </a:lnTo>
                  <a:cubicBezTo>
                    <a:pt x="2654" y="1272"/>
                    <a:pt x="2612" y="1241"/>
                    <a:pt x="2587" y="1241"/>
                  </a:cubicBezTo>
                  <a:lnTo>
                    <a:pt x="2587" y="1241"/>
                  </a:lnTo>
                  <a:cubicBezTo>
                    <a:pt x="2559" y="1241"/>
                    <a:pt x="2546" y="1268"/>
                    <a:pt x="2519" y="1268"/>
                  </a:cubicBezTo>
                  <a:lnTo>
                    <a:pt x="2519" y="1268"/>
                  </a:lnTo>
                  <a:cubicBezTo>
                    <a:pt x="2519" y="1224"/>
                    <a:pt x="2489" y="1122"/>
                    <a:pt x="2449" y="1122"/>
                  </a:cubicBezTo>
                  <a:lnTo>
                    <a:pt x="2449" y="1122"/>
                  </a:lnTo>
                  <a:cubicBezTo>
                    <a:pt x="2431" y="1122"/>
                    <a:pt x="2422" y="1137"/>
                    <a:pt x="2403" y="1140"/>
                  </a:cubicBezTo>
                  <a:lnTo>
                    <a:pt x="2403" y="1140"/>
                  </a:lnTo>
                  <a:cubicBezTo>
                    <a:pt x="2410" y="1118"/>
                    <a:pt x="2403" y="1111"/>
                    <a:pt x="2403" y="1057"/>
                  </a:cubicBezTo>
                  <a:lnTo>
                    <a:pt x="2403" y="1057"/>
                  </a:lnTo>
                  <a:cubicBezTo>
                    <a:pt x="2403" y="984"/>
                    <a:pt x="2425" y="941"/>
                    <a:pt x="2468" y="898"/>
                  </a:cubicBezTo>
                  <a:lnTo>
                    <a:pt x="2468" y="898"/>
                  </a:lnTo>
                  <a:cubicBezTo>
                    <a:pt x="2482" y="884"/>
                    <a:pt x="2513" y="812"/>
                    <a:pt x="2528" y="807"/>
                  </a:cubicBezTo>
                  <a:lnTo>
                    <a:pt x="2528" y="807"/>
                  </a:lnTo>
                  <a:cubicBezTo>
                    <a:pt x="2559" y="795"/>
                    <a:pt x="2614" y="814"/>
                    <a:pt x="2614" y="770"/>
                  </a:cubicBezTo>
                  <a:lnTo>
                    <a:pt x="2614" y="770"/>
                  </a:lnTo>
                  <a:cubicBezTo>
                    <a:pt x="2614" y="743"/>
                    <a:pt x="2544" y="740"/>
                    <a:pt x="2519" y="725"/>
                  </a:cubicBezTo>
                  <a:lnTo>
                    <a:pt x="2519" y="725"/>
                  </a:lnTo>
                  <a:cubicBezTo>
                    <a:pt x="2535" y="732"/>
                    <a:pt x="2479" y="694"/>
                    <a:pt x="2629" y="740"/>
                  </a:cubicBezTo>
                  <a:lnTo>
                    <a:pt x="2629" y="740"/>
                  </a:lnTo>
                  <a:cubicBezTo>
                    <a:pt x="2667" y="752"/>
                    <a:pt x="2644" y="700"/>
                    <a:pt x="2665" y="700"/>
                  </a:cubicBezTo>
                  <a:lnTo>
                    <a:pt x="2706" y="700"/>
                  </a:lnTo>
                  <a:lnTo>
                    <a:pt x="2706" y="700"/>
                  </a:lnTo>
                  <a:cubicBezTo>
                    <a:pt x="2750" y="700"/>
                    <a:pt x="2774" y="654"/>
                    <a:pt x="2803" y="633"/>
                  </a:cubicBezTo>
                  <a:lnTo>
                    <a:pt x="2803" y="605"/>
                  </a:lnTo>
                  <a:lnTo>
                    <a:pt x="2803" y="605"/>
                  </a:lnTo>
                  <a:cubicBezTo>
                    <a:pt x="2741" y="591"/>
                    <a:pt x="2678" y="600"/>
                    <a:pt x="2651" y="545"/>
                  </a:cubicBezTo>
                  <a:lnTo>
                    <a:pt x="2684" y="545"/>
                  </a:lnTo>
                  <a:lnTo>
                    <a:pt x="2684" y="545"/>
                  </a:lnTo>
                  <a:cubicBezTo>
                    <a:pt x="2708" y="559"/>
                    <a:pt x="2731" y="587"/>
                    <a:pt x="2766" y="587"/>
                  </a:cubicBezTo>
                  <a:lnTo>
                    <a:pt x="2766" y="587"/>
                  </a:lnTo>
                  <a:cubicBezTo>
                    <a:pt x="2795" y="587"/>
                    <a:pt x="2849" y="548"/>
                    <a:pt x="2849" y="527"/>
                  </a:cubicBezTo>
                  <a:lnTo>
                    <a:pt x="2849" y="527"/>
                  </a:lnTo>
                  <a:cubicBezTo>
                    <a:pt x="2849" y="519"/>
                    <a:pt x="2821" y="486"/>
                    <a:pt x="2836" y="486"/>
                  </a:cubicBezTo>
                  <a:lnTo>
                    <a:pt x="2836" y="486"/>
                  </a:lnTo>
                  <a:cubicBezTo>
                    <a:pt x="2876" y="486"/>
                    <a:pt x="2891" y="523"/>
                    <a:pt x="2916" y="523"/>
                  </a:cubicBezTo>
                  <a:lnTo>
                    <a:pt x="2916" y="523"/>
                  </a:lnTo>
                  <a:cubicBezTo>
                    <a:pt x="2933" y="523"/>
                    <a:pt x="2944" y="508"/>
                    <a:pt x="2977" y="508"/>
                  </a:cubicBezTo>
                  <a:lnTo>
                    <a:pt x="2977" y="508"/>
                  </a:lnTo>
                  <a:cubicBezTo>
                    <a:pt x="2968" y="497"/>
                    <a:pt x="2977" y="465"/>
                    <a:pt x="2999" y="499"/>
                  </a:cubicBezTo>
                  <a:lnTo>
                    <a:pt x="2999" y="499"/>
                  </a:lnTo>
                  <a:cubicBezTo>
                    <a:pt x="3011" y="517"/>
                    <a:pt x="3105" y="437"/>
                    <a:pt x="3105" y="412"/>
                  </a:cubicBezTo>
                  <a:lnTo>
                    <a:pt x="3105" y="412"/>
                  </a:lnTo>
                  <a:cubicBezTo>
                    <a:pt x="3105" y="396"/>
                    <a:pt x="3063" y="378"/>
                    <a:pt x="3063" y="367"/>
                  </a:cubicBezTo>
                  <a:lnTo>
                    <a:pt x="3063" y="367"/>
                  </a:lnTo>
                  <a:cubicBezTo>
                    <a:pt x="3063" y="354"/>
                    <a:pt x="3038" y="325"/>
                    <a:pt x="3096" y="297"/>
                  </a:cubicBezTo>
                  <a:lnTo>
                    <a:pt x="3096" y="297"/>
                  </a:lnTo>
                  <a:cubicBezTo>
                    <a:pt x="3104" y="281"/>
                    <a:pt x="3096" y="283"/>
                    <a:pt x="3096" y="252"/>
                  </a:cubicBezTo>
                  <a:lnTo>
                    <a:pt x="3096" y="252"/>
                  </a:lnTo>
                  <a:cubicBezTo>
                    <a:pt x="3037" y="252"/>
                    <a:pt x="3052" y="206"/>
                    <a:pt x="2977" y="206"/>
                  </a:cubicBezTo>
                  <a:lnTo>
                    <a:pt x="2977" y="206"/>
                  </a:lnTo>
                  <a:cubicBezTo>
                    <a:pt x="2960" y="204"/>
                    <a:pt x="2947" y="193"/>
                    <a:pt x="2931" y="193"/>
                  </a:cubicBezTo>
                  <a:lnTo>
                    <a:pt x="2931" y="193"/>
                  </a:lnTo>
                  <a:cubicBezTo>
                    <a:pt x="2909" y="193"/>
                    <a:pt x="2885" y="208"/>
                    <a:pt x="2885" y="229"/>
                  </a:cubicBezTo>
                  <a:lnTo>
                    <a:pt x="2885" y="229"/>
                  </a:lnTo>
                  <a:cubicBezTo>
                    <a:pt x="2885" y="253"/>
                    <a:pt x="2913" y="262"/>
                    <a:pt x="2913" y="279"/>
                  </a:cubicBezTo>
                  <a:lnTo>
                    <a:pt x="2913" y="279"/>
                  </a:lnTo>
                  <a:cubicBezTo>
                    <a:pt x="2913" y="297"/>
                    <a:pt x="2870" y="297"/>
                    <a:pt x="2862" y="316"/>
                  </a:cubicBezTo>
                  <a:lnTo>
                    <a:pt x="2862" y="316"/>
                  </a:lnTo>
                  <a:cubicBezTo>
                    <a:pt x="2847" y="347"/>
                    <a:pt x="2852" y="371"/>
                    <a:pt x="2825" y="405"/>
                  </a:cubicBezTo>
                  <a:lnTo>
                    <a:pt x="2825" y="405"/>
                  </a:lnTo>
                  <a:cubicBezTo>
                    <a:pt x="2784" y="458"/>
                    <a:pt x="2730" y="373"/>
                    <a:pt x="2730" y="352"/>
                  </a:cubicBezTo>
                  <a:lnTo>
                    <a:pt x="2730" y="352"/>
                  </a:lnTo>
                  <a:cubicBezTo>
                    <a:pt x="2730" y="329"/>
                    <a:pt x="2761" y="334"/>
                    <a:pt x="2761" y="306"/>
                  </a:cubicBezTo>
                  <a:lnTo>
                    <a:pt x="2761" y="306"/>
                  </a:lnTo>
                  <a:cubicBezTo>
                    <a:pt x="2761" y="294"/>
                    <a:pt x="2708" y="242"/>
                    <a:pt x="2693" y="242"/>
                  </a:cubicBezTo>
                  <a:lnTo>
                    <a:pt x="2693" y="242"/>
                  </a:lnTo>
                  <a:cubicBezTo>
                    <a:pt x="2640" y="242"/>
                    <a:pt x="2677" y="321"/>
                    <a:pt x="2620" y="321"/>
                  </a:cubicBezTo>
                  <a:lnTo>
                    <a:pt x="2620" y="321"/>
                  </a:lnTo>
                  <a:cubicBezTo>
                    <a:pt x="2620" y="290"/>
                    <a:pt x="2616" y="268"/>
                    <a:pt x="2577" y="250"/>
                  </a:cubicBezTo>
                  <a:lnTo>
                    <a:pt x="2577" y="250"/>
                  </a:lnTo>
                  <a:cubicBezTo>
                    <a:pt x="2583" y="240"/>
                    <a:pt x="2587" y="235"/>
                    <a:pt x="2595" y="227"/>
                  </a:cubicBezTo>
                  <a:lnTo>
                    <a:pt x="2595" y="227"/>
                  </a:lnTo>
                  <a:cubicBezTo>
                    <a:pt x="2567" y="209"/>
                    <a:pt x="2526" y="227"/>
                    <a:pt x="2504" y="200"/>
                  </a:cubicBezTo>
                  <a:lnTo>
                    <a:pt x="2504" y="200"/>
                  </a:lnTo>
                  <a:cubicBezTo>
                    <a:pt x="2517" y="193"/>
                    <a:pt x="2550" y="180"/>
                    <a:pt x="2550" y="156"/>
                  </a:cubicBezTo>
                  <a:lnTo>
                    <a:pt x="2550" y="156"/>
                  </a:lnTo>
                  <a:cubicBezTo>
                    <a:pt x="2550" y="121"/>
                    <a:pt x="2496" y="123"/>
                    <a:pt x="2495" y="95"/>
                  </a:cubicBezTo>
                  <a:lnTo>
                    <a:pt x="2495" y="95"/>
                  </a:lnTo>
                  <a:cubicBezTo>
                    <a:pt x="2493" y="38"/>
                    <a:pt x="2453" y="2"/>
                    <a:pt x="2381" y="0"/>
                  </a:cubicBezTo>
                  <a:lnTo>
                    <a:pt x="2381" y="0"/>
                  </a:lnTo>
                  <a:cubicBezTo>
                    <a:pt x="2347" y="0"/>
                    <a:pt x="2361" y="23"/>
                    <a:pt x="2363" y="41"/>
                  </a:cubicBezTo>
                  <a:lnTo>
                    <a:pt x="2363" y="41"/>
                  </a:lnTo>
                  <a:cubicBezTo>
                    <a:pt x="2341" y="46"/>
                    <a:pt x="2312" y="41"/>
                    <a:pt x="2312" y="68"/>
                  </a:cubicBezTo>
                  <a:lnTo>
                    <a:pt x="2312" y="68"/>
                  </a:lnTo>
                  <a:cubicBezTo>
                    <a:pt x="2312" y="86"/>
                    <a:pt x="2327" y="95"/>
                    <a:pt x="2327" y="114"/>
                  </a:cubicBezTo>
                  <a:lnTo>
                    <a:pt x="2327" y="114"/>
                  </a:lnTo>
                  <a:cubicBezTo>
                    <a:pt x="2327" y="133"/>
                    <a:pt x="2302" y="131"/>
                    <a:pt x="2302" y="156"/>
                  </a:cubicBezTo>
                  <a:lnTo>
                    <a:pt x="2302" y="156"/>
                  </a:lnTo>
                  <a:cubicBezTo>
                    <a:pt x="2302" y="217"/>
                    <a:pt x="2427" y="180"/>
                    <a:pt x="2427" y="242"/>
                  </a:cubicBezTo>
                  <a:lnTo>
                    <a:pt x="2427" y="242"/>
                  </a:lnTo>
                  <a:cubicBezTo>
                    <a:pt x="2427" y="253"/>
                    <a:pt x="2412" y="297"/>
                    <a:pt x="2412" y="297"/>
                  </a:cubicBezTo>
                  <a:lnTo>
                    <a:pt x="2412" y="297"/>
                  </a:lnTo>
                  <a:cubicBezTo>
                    <a:pt x="2425" y="290"/>
                    <a:pt x="2436" y="286"/>
                    <a:pt x="2451" y="279"/>
                  </a:cubicBezTo>
                  <a:lnTo>
                    <a:pt x="2451" y="279"/>
                  </a:lnTo>
                  <a:cubicBezTo>
                    <a:pt x="2475" y="354"/>
                    <a:pt x="2354" y="317"/>
                    <a:pt x="2354" y="407"/>
                  </a:cubicBezTo>
                  <a:lnTo>
                    <a:pt x="2354" y="407"/>
                  </a:lnTo>
                  <a:cubicBezTo>
                    <a:pt x="2294" y="423"/>
                    <a:pt x="2341" y="363"/>
                    <a:pt x="2327" y="343"/>
                  </a:cubicBezTo>
                  <a:lnTo>
                    <a:pt x="2327" y="343"/>
                  </a:lnTo>
                  <a:cubicBezTo>
                    <a:pt x="2321" y="334"/>
                    <a:pt x="2271" y="321"/>
                    <a:pt x="2244" y="321"/>
                  </a:cubicBezTo>
                  <a:lnTo>
                    <a:pt x="2244" y="321"/>
                  </a:lnTo>
                  <a:cubicBezTo>
                    <a:pt x="2211" y="321"/>
                    <a:pt x="2198" y="341"/>
                    <a:pt x="2198" y="380"/>
                  </a:cubicBezTo>
                  <a:lnTo>
                    <a:pt x="2198" y="380"/>
                  </a:lnTo>
                  <a:cubicBezTo>
                    <a:pt x="2167" y="376"/>
                    <a:pt x="2147" y="380"/>
                    <a:pt x="2042" y="380"/>
                  </a:cubicBezTo>
                  <a:lnTo>
                    <a:pt x="2042" y="380"/>
                  </a:lnTo>
                  <a:cubicBezTo>
                    <a:pt x="1944" y="380"/>
                    <a:pt x="1828" y="345"/>
                    <a:pt x="1804" y="270"/>
                  </a:cubicBezTo>
                  <a:lnTo>
                    <a:pt x="1804" y="270"/>
                  </a:lnTo>
                  <a:cubicBezTo>
                    <a:pt x="1772" y="279"/>
                    <a:pt x="1661" y="281"/>
                    <a:pt x="1661" y="321"/>
                  </a:cubicBezTo>
                  <a:lnTo>
                    <a:pt x="1661" y="321"/>
                  </a:lnTo>
                  <a:cubicBezTo>
                    <a:pt x="1661" y="334"/>
                    <a:pt x="1670" y="341"/>
                    <a:pt x="1685" y="341"/>
                  </a:cubicBezTo>
                  <a:lnTo>
                    <a:pt x="1685" y="341"/>
                  </a:lnTo>
                  <a:cubicBezTo>
                    <a:pt x="1714" y="341"/>
                    <a:pt x="1762" y="327"/>
                    <a:pt x="1784" y="312"/>
                  </a:cubicBezTo>
                  <a:lnTo>
                    <a:pt x="1784" y="312"/>
                  </a:lnTo>
                  <a:cubicBezTo>
                    <a:pt x="1792" y="373"/>
                    <a:pt x="1698" y="323"/>
                    <a:pt x="1698" y="386"/>
                  </a:cubicBezTo>
                  <a:lnTo>
                    <a:pt x="1698" y="386"/>
                  </a:lnTo>
                  <a:cubicBezTo>
                    <a:pt x="1698" y="398"/>
                    <a:pt x="1718" y="440"/>
                    <a:pt x="1709" y="440"/>
                  </a:cubicBezTo>
                  <a:lnTo>
                    <a:pt x="1709" y="440"/>
                  </a:lnTo>
                  <a:cubicBezTo>
                    <a:pt x="1672" y="440"/>
                    <a:pt x="1665" y="394"/>
                    <a:pt x="1634" y="380"/>
                  </a:cubicBezTo>
                  <a:lnTo>
                    <a:pt x="1607" y="367"/>
                  </a:lnTo>
                  <a:lnTo>
                    <a:pt x="1489" y="367"/>
                  </a:lnTo>
                  <a:lnTo>
                    <a:pt x="1489" y="367"/>
                  </a:lnTo>
                  <a:cubicBezTo>
                    <a:pt x="1453" y="367"/>
                    <a:pt x="1428" y="381"/>
                    <a:pt x="1389" y="383"/>
                  </a:cubicBezTo>
                  <a:lnTo>
                    <a:pt x="1389" y="383"/>
                  </a:lnTo>
                  <a:cubicBezTo>
                    <a:pt x="1316" y="387"/>
                    <a:pt x="1316" y="360"/>
                    <a:pt x="1316" y="354"/>
                  </a:cubicBezTo>
                  <a:lnTo>
                    <a:pt x="1316" y="354"/>
                  </a:lnTo>
                  <a:cubicBezTo>
                    <a:pt x="1316" y="338"/>
                    <a:pt x="1372" y="345"/>
                    <a:pt x="1383" y="334"/>
                  </a:cubicBezTo>
                  <a:lnTo>
                    <a:pt x="1383" y="334"/>
                  </a:lnTo>
                  <a:cubicBezTo>
                    <a:pt x="1332" y="263"/>
                    <a:pt x="1341" y="275"/>
                    <a:pt x="1236" y="283"/>
                  </a:cubicBezTo>
                  <a:lnTo>
                    <a:pt x="1236" y="283"/>
                  </a:lnTo>
                  <a:cubicBezTo>
                    <a:pt x="1125" y="291"/>
                    <a:pt x="1070" y="200"/>
                    <a:pt x="958" y="200"/>
                  </a:cubicBezTo>
                  <a:lnTo>
                    <a:pt x="958" y="200"/>
                  </a:lnTo>
                  <a:cubicBezTo>
                    <a:pt x="923" y="200"/>
                    <a:pt x="908" y="224"/>
                    <a:pt x="879" y="224"/>
                  </a:cubicBezTo>
                  <a:lnTo>
                    <a:pt x="879" y="224"/>
                  </a:lnTo>
                  <a:cubicBezTo>
                    <a:pt x="859" y="224"/>
                    <a:pt x="839" y="189"/>
                    <a:pt x="835" y="175"/>
                  </a:cubicBezTo>
                  <a:lnTo>
                    <a:pt x="835" y="175"/>
                  </a:lnTo>
                  <a:cubicBezTo>
                    <a:pt x="800" y="182"/>
                    <a:pt x="800" y="222"/>
                    <a:pt x="764" y="222"/>
                  </a:cubicBezTo>
                  <a:lnTo>
                    <a:pt x="764" y="222"/>
                  </a:lnTo>
                  <a:cubicBezTo>
                    <a:pt x="728" y="222"/>
                    <a:pt x="679" y="139"/>
                    <a:pt x="669" y="139"/>
                  </a:cubicBezTo>
                  <a:lnTo>
                    <a:pt x="669" y="139"/>
                  </a:lnTo>
                  <a:cubicBezTo>
                    <a:pt x="631" y="139"/>
                    <a:pt x="645" y="193"/>
                    <a:pt x="606" y="193"/>
                  </a:cubicBezTo>
                  <a:lnTo>
                    <a:pt x="606" y="193"/>
                  </a:lnTo>
                  <a:cubicBezTo>
                    <a:pt x="592" y="193"/>
                    <a:pt x="579" y="182"/>
                    <a:pt x="573" y="167"/>
                  </a:cubicBezTo>
                  <a:lnTo>
                    <a:pt x="573" y="167"/>
                  </a:lnTo>
                  <a:cubicBezTo>
                    <a:pt x="516" y="180"/>
                    <a:pt x="496" y="184"/>
                    <a:pt x="445" y="204"/>
                  </a:cubicBezTo>
                  <a:lnTo>
                    <a:pt x="445" y="204"/>
                  </a:lnTo>
                  <a:cubicBezTo>
                    <a:pt x="425" y="208"/>
                    <a:pt x="377" y="243"/>
                    <a:pt x="361" y="227"/>
                  </a:cubicBezTo>
                  <a:lnTo>
                    <a:pt x="361" y="227"/>
                  </a:lnTo>
                  <a:cubicBezTo>
                    <a:pt x="313" y="183"/>
                    <a:pt x="321" y="240"/>
                    <a:pt x="304" y="240"/>
                  </a:cubicBezTo>
                  <a:lnTo>
                    <a:pt x="304" y="240"/>
                  </a:lnTo>
                  <a:cubicBezTo>
                    <a:pt x="184" y="245"/>
                    <a:pt x="267" y="288"/>
                    <a:pt x="251" y="288"/>
                  </a:cubicBezTo>
                  <a:lnTo>
                    <a:pt x="251" y="288"/>
                  </a:lnTo>
                  <a:cubicBezTo>
                    <a:pt x="204" y="288"/>
                    <a:pt x="122" y="279"/>
                    <a:pt x="47" y="234"/>
                  </a:cubicBezTo>
                  <a:lnTo>
                    <a:pt x="47" y="234"/>
                  </a:lnTo>
                  <a:cubicBezTo>
                    <a:pt x="44" y="231"/>
                    <a:pt x="21" y="215"/>
                    <a:pt x="21" y="209"/>
                  </a:cubicBezTo>
                  <a:lnTo>
                    <a:pt x="21" y="209"/>
                  </a:lnTo>
                  <a:cubicBezTo>
                    <a:pt x="9" y="217"/>
                    <a:pt x="18" y="213"/>
                    <a:pt x="0" y="209"/>
                  </a:cubicBezTo>
                  <a:lnTo>
                    <a:pt x="0" y="1003"/>
                  </a:lnTo>
                  <a:lnTo>
                    <a:pt x="0" y="1003"/>
                  </a:lnTo>
                  <a:cubicBezTo>
                    <a:pt x="23" y="1026"/>
                    <a:pt x="78" y="995"/>
                    <a:pt x="100" y="1030"/>
                  </a:cubicBezTo>
                  <a:lnTo>
                    <a:pt x="100" y="1030"/>
                  </a:lnTo>
                  <a:cubicBezTo>
                    <a:pt x="117" y="1056"/>
                    <a:pt x="155" y="1104"/>
                    <a:pt x="192" y="1104"/>
                  </a:cubicBezTo>
                  <a:lnTo>
                    <a:pt x="192" y="1104"/>
                  </a:lnTo>
                  <a:cubicBezTo>
                    <a:pt x="217" y="1104"/>
                    <a:pt x="217" y="1065"/>
                    <a:pt x="243" y="1057"/>
                  </a:cubicBezTo>
                  <a:lnTo>
                    <a:pt x="243" y="1057"/>
                  </a:lnTo>
                  <a:cubicBezTo>
                    <a:pt x="254" y="1054"/>
                    <a:pt x="265" y="1057"/>
                    <a:pt x="278" y="1049"/>
                  </a:cubicBezTo>
                  <a:lnTo>
                    <a:pt x="278" y="1049"/>
                  </a:lnTo>
                  <a:cubicBezTo>
                    <a:pt x="333" y="1104"/>
                    <a:pt x="361" y="1124"/>
                    <a:pt x="408" y="1195"/>
                  </a:cubicBezTo>
                  <a:lnTo>
                    <a:pt x="408" y="1195"/>
                  </a:lnTo>
                  <a:cubicBezTo>
                    <a:pt x="412" y="1202"/>
                    <a:pt x="427" y="1206"/>
                    <a:pt x="432" y="1222"/>
                  </a:cubicBezTo>
                  <a:lnTo>
                    <a:pt x="432" y="1222"/>
                  </a:lnTo>
                  <a:cubicBezTo>
                    <a:pt x="439" y="1245"/>
                    <a:pt x="448" y="1272"/>
                    <a:pt x="469" y="1292"/>
                  </a:cubicBezTo>
                  <a:lnTo>
                    <a:pt x="469" y="1292"/>
                  </a:lnTo>
                  <a:cubicBezTo>
                    <a:pt x="479" y="1303"/>
                    <a:pt x="502" y="1298"/>
                    <a:pt x="512" y="1312"/>
                  </a:cubicBezTo>
                  <a:lnTo>
                    <a:pt x="512" y="1312"/>
                  </a:lnTo>
                  <a:cubicBezTo>
                    <a:pt x="529" y="1329"/>
                    <a:pt x="560" y="1338"/>
                    <a:pt x="560" y="1376"/>
                  </a:cubicBezTo>
                  <a:lnTo>
                    <a:pt x="560" y="1376"/>
                  </a:lnTo>
                  <a:cubicBezTo>
                    <a:pt x="560" y="1397"/>
                    <a:pt x="535" y="1400"/>
                    <a:pt x="535" y="1413"/>
                  </a:cubicBezTo>
                  <a:lnTo>
                    <a:pt x="535" y="1413"/>
                  </a:lnTo>
                  <a:cubicBezTo>
                    <a:pt x="535" y="1422"/>
                    <a:pt x="546" y="1428"/>
                    <a:pt x="546" y="1439"/>
                  </a:cubicBezTo>
                  <a:lnTo>
                    <a:pt x="546" y="1439"/>
                  </a:lnTo>
                  <a:cubicBezTo>
                    <a:pt x="546" y="1463"/>
                    <a:pt x="538" y="1512"/>
                    <a:pt x="564" y="1520"/>
                  </a:cubicBezTo>
                  <a:lnTo>
                    <a:pt x="564" y="1520"/>
                  </a:lnTo>
                  <a:cubicBezTo>
                    <a:pt x="579" y="1523"/>
                    <a:pt x="593" y="1523"/>
                    <a:pt x="604" y="1534"/>
                  </a:cubicBezTo>
                  <a:lnTo>
                    <a:pt x="604" y="1534"/>
                  </a:lnTo>
                  <a:cubicBezTo>
                    <a:pt x="620" y="1551"/>
                    <a:pt x="600" y="1574"/>
                    <a:pt x="623" y="1589"/>
                  </a:cubicBezTo>
                  <a:lnTo>
                    <a:pt x="623" y="1589"/>
                  </a:lnTo>
                  <a:cubicBezTo>
                    <a:pt x="623" y="1589"/>
                    <a:pt x="670" y="1618"/>
                    <a:pt x="672" y="1624"/>
                  </a:cubicBezTo>
                  <a:lnTo>
                    <a:pt x="672" y="1624"/>
                  </a:lnTo>
                  <a:cubicBezTo>
                    <a:pt x="685" y="1666"/>
                    <a:pt x="689" y="1715"/>
                    <a:pt x="751" y="1715"/>
                  </a:cubicBezTo>
                  <a:lnTo>
                    <a:pt x="751" y="1715"/>
                  </a:lnTo>
                  <a:cubicBezTo>
                    <a:pt x="760" y="1752"/>
                    <a:pt x="824" y="1728"/>
                    <a:pt x="839" y="1776"/>
                  </a:cubicBezTo>
                  <a:lnTo>
                    <a:pt x="839" y="1776"/>
                  </a:lnTo>
                  <a:cubicBezTo>
                    <a:pt x="844" y="1794"/>
                    <a:pt x="890" y="1798"/>
                    <a:pt x="908" y="1816"/>
                  </a:cubicBezTo>
                  <a:lnTo>
                    <a:pt x="908" y="1816"/>
                  </a:lnTo>
                  <a:cubicBezTo>
                    <a:pt x="912" y="1820"/>
                    <a:pt x="921" y="1824"/>
                    <a:pt x="929" y="1827"/>
                  </a:cubicBezTo>
                  <a:lnTo>
                    <a:pt x="929" y="1827"/>
                  </a:lnTo>
                  <a:lnTo>
                    <a:pt x="928" y="1827"/>
                  </a:lnTo>
                  <a:lnTo>
                    <a:pt x="2394" y="1827"/>
                  </a:lnTo>
                  <a:lnTo>
                    <a:pt x="2394" y="1805"/>
                  </a:lnTo>
                  <a:lnTo>
                    <a:pt x="2394" y="1805"/>
                  </a:lnTo>
                  <a:cubicBezTo>
                    <a:pt x="2418" y="1824"/>
                    <a:pt x="2417" y="1838"/>
                    <a:pt x="2440" y="1851"/>
                  </a:cubicBezTo>
                  <a:lnTo>
                    <a:pt x="2531" y="1851"/>
                  </a:lnTo>
                  <a:lnTo>
                    <a:pt x="2531" y="1851"/>
                  </a:lnTo>
                  <a:cubicBezTo>
                    <a:pt x="2569" y="1888"/>
                    <a:pt x="2616" y="1888"/>
                    <a:pt x="2684" y="1888"/>
                  </a:cubicBezTo>
                  <a:lnTo>
                    <a:pt x="2684" y="1888"/>
                  </a:lnTo>
                  <a:cubicBezTo>
                    <a:pt x="2708" y="1880"/>
                    <a:pt x="2711" y="1888"/>
                    <a:pt x="2731" y="1878"/>
                  </a:cubicBezTo>
                  <a:lnTo>
                    <a:pt x="2731" y="1878"/>
                  </a:lnTo>
                  <a:cubicBezTo>
                    <a:pt x="2750" y="1869"/>
                    <a:pt x="2742" y="1840"/>
                    <a:pt x="2761" y="1840"/>
                  </a:cubicBezTo>
                  <a:lnTo>
                    <a:pt x="2761" y="1840"/>
                  </a:lnTo>
                  <a:cubicBezTo>
                    <a:pt x="2783" y="1840"/>
                    <a:pt x="2797" y="1873"/>
                    <a:pt x="2805" y="1880"/>
                  </a:cubicBezTo>
                  <a:lnTo>
                    <a:pt x="2805" y="1880"/>
                  </a:lnTo>
                  <a:cubicBezTo>
                    <a:pt x="2808" y="1873"/>
                    <a:pt x="2806" y="1858"/>
                    <a:pt x="2806" y="1855"/>
                  </a:cubicBezTo>
                  <a:lnTo>
                    <a:pt x="2821" y="1855"/>
                  </a:lnTo>
                  <a:lnTo>
                    <a:pt x="2821" y="1855"/>
                  </a:lnTo>
                  <a:cubicBezTo>
                    <a:pt x="2832" y="1855"/>
                    <a:pt x="2909" y="1917"/>
                    <a:pt x="2913" y="1924"/>
                  </a:cubicBezTo>
                  <a:lnTo>
                    <a:pt x="2913" y="1924"/>
                  </a:lnTo>
                  <a:cubicBezTo>
                    <a:pt x="2924" y="1946"/>
                    <a:pt x="2913" y="1965"/>
                    <a:pt x="2927" y="1980"/>
                  </a:cubicBezTo>
                  <a:lnTo>
                    <a:pt x="2927" y="1980"/>
                  </a:lnTo>
                  <a:cubicBezTo>
                    <a:pt x="2970" y="2021"/>
                    <a:pt x="3027" y="2012"/>
                    <a:pt x="3072" y="2042"/>
                  </a:cubicBezTo>
                  <a:lnTo>
                    <a:pt x="3120" y="2042"/>
                  </a:lnTo>
                  <a:lnTo>
                    <a:pt x="3120" y="2042"/>
                  </a:lnTo>
                  <a:cubicBezTo>
                    <a:pt x="3142" y="2057"/>
                    <a:pt x="3169" y="2075"/>
                    <a:pt x="3169" y="2102"/>
                  </a:cubicBezTo>
                  <a:lnTo>
                    <a:pt x="3169" y="2102"/>
                  </a:lnTo>
                  <a:cubicBezTo>
                    <a:pt x="3169" y="2115"/>
                    <a:pt x="3162" y="2124"/>
                    <a:pt x="3151" y="2124"/>
                  </a:cubicBezTo>
                  <a:lnTo>
                    <a:pt x="3151" y="2124"/>
                  </a:lnTo>
                  <a:cubicBezTo>
                    <a:pt x="3129" y="2124"/>
                    <a:pt x="3107" y="2101"/>
                    <a:pt x="3099" y="2093"/>
                  </a:cubicBezTo>
                  <a:lnTo>
                    <a:pt x="3099" y="2093"/>
                  </a:lnTo>
                  <a:cubicBezTo>
                    <a:pt x="3092" y="2122"/>
                    <a:pt x="3076" y="2210"/>
                    <a:pt x="3050" y="2210"/>
                  </a:cubicBezTo>
                  <a:lnTo>
                    <a:pt x="3050" y="2210"/>
                  </a:lnTo>
                  <a:cubicBezTo>
                    <a:pt x="3028" y="2232"/>
                    <a:pt x="3009" y="2245"/>
                    <a:pt x="3009" y="2273"/>
                  </a:cubicBezTo>
                  <a:lnTo>
                    <a:pt x="3009" y="2273"/>
                  </a:lnTo>
                  <a:cubicBezTo>
                    <a:pt x="3016" y="2282"/>
                    <a:pt x="3027" y="2294"/>
                    <a:pt x="3037" y="2294"/>
                  </a:cubicBezTo>
                  <a:lnTo>
                    <a:pt x="3037" y="2294"/>
                  </a:lnTo>
                  <a:cubicBezTo>
                    <a:pt x="3054" y="2294"/>
                    <a:pt x="3055" y="2283"/>
                    <a:pt x="3063" y="2276"/>
                  </a:cubicBezTo>
                  <a:lnTo>
                    <a:pt x="3063" y="2276"/>
                  </a:lnTo>
                  <a:cubicBezTo>
                    <a:pt x="3079" y="2260"/>
                    <a:pt x="3107" y="2262"/>
                    <a:pt x="3133" y="2262"/>
                  </a:cubicBezTo>
                  <a:lnTo>
                    <a:pt x="3133" y="2262"/>
                  </a:lnTo>
                  <a:cubicBezTo>
                    <a:pt x="3157" y="2262"/>
                    <a:pt x="3168" y="2274"/>
                    <a:pt x="3177" y="2269"/>
                  </a:cubicBezTo>
                  <a:lnTo>
                    <a:pt x="3177" y="2269"/>
                  </a:lnTo>
                  <a:cubicBezTo>
                    <a:pt x="3188" y="2263"/>
                    <a:pt x="3198" y="2258"/>
                    <a:pt x="3206" y="2254"/>
                  </a:cubicBezTo>
                  <a:lnTo>
                    <a:pt x="3206" y="2254"/>
                  </a:lnTo>
                  <a:cubicBezTo>
                    <a:pt x="3203" y="2243"/>
                    <a:pt x="3199" y="2233"/>
                    <a:pt x="3195" y="2224"/>
                  </a:cubicBezTo>
                  <a:lnTo>
                    <a:pt x="3195" y="2224"/>
                  </a:lnTo>
                  <a:cubicBezTo>
                    <a:pt x="3193" y="2217"/>
                    <a:pt x="3184" y="2214"/>
                    <a:pt x="3184" y="2206"/>
                  </a:cubicBezTo>
                  <a:lnTo>
                    <a:pt x="3184" y="2206"/>
                  </a:lnTo>
                  <a:cubicBezTo>
                    <a:pt x="3184" y="2197"/>
                    <a:pt x="3202" y="2194"/>
                    <a:pt x="3208" y="2192"/>
                  </a:cubicBezTo>
                  <a:lnTo>
                    <a:pt x="3208" y="2192"/>
                  </a:lnTo>
                  <a:cubicBezTo>
                    <a:pt x="3248" y="2179"/>
                    <a:pt x="3334" y="2157"/>
                    <a:pt x="3380" y="2157"/>
                  </a:cubicBezTo>
                  <a:lnTo>
                    <a:pt x="3380" y="2157"/>
                  </a:lnTo>
                  <a:cubicBezTo>
                    <a:pt x="3384" y="2155"/>
                    <a:pt x="3451" y="2089"/>
                    <a:pt x="3462" y="2079"/>
                  </a:cubicBezTo>
                  <a:lnTo>
                    <a:pt x="3462" y="2079"/>
                  </a:lnTo>
                  <a:cubicBezTo>
                    <a:pt x="3471" y="2072"/>
                    <a:pt x="3515" y="2075"/>
                    <a:pt x="3558" y="2075"/>
                  </a:cubicBezTo>
                  <a:lnTo>
                    <a:pt x="3603" y="2075"/>
                  </a:lnTo>
                  <a:lnTo>
                    <a:pt x="3603" y="2075"/>
                  </a:lnTo>
                  <a:cubicBezTo>
                    <a:pt x="3620" y="2075"/>
                    <a:pt x="3638" y="2069"/>
                    <a:pt x="3650" y="2068"/>
                  </a:cubicBezTo>
                  <a:lnTo>
                    <a:pt x="3650" y="2068"/>
                  </a:lnTo>
                  <a:cubicBezTo>
                    <a:pt x="3668" y="2066"/>
                    <a:pt x="3663" y="2058"/>
                    <a:pt x="3670" y="2051"/>
                  </a:cubicBezTo>
                  <a:lnTo>
                    <a:pt x="3670" y="2051"/>
                  </a:lnTo>
                  <a:cubicBezTo>
                    <a:pt x="3703" y="2017"/>
                    <a:pt x="3702" y="1956"/>
                    <a:pt x="3748" y="1924"/>
                  </a:cubicBezTo>
                  <a:lnTo>
                    <a:pt x="3748" y="1924"/>
                  </a:lnTo>
                  <a:cubicBezTo>
                    <a:pt x="3770" y="1952"/>
                    <a:pt x="3805" y="1912"/>
                    <a:pt x="3819" y="1937"/>
                  </a:cubicBezTo>
                  <a:lnTo>
                    <a:pt x="3819" y="1937"/>
                  </a:lnTo>
                  <a:cubicBezTo>
                    <a:pt x="3846" y="1984"/>
                    <a:pt x="3829" y="2051"/>
                    <a:pt x="3852" y="2095"/>
                  </a:cubicBezTo>
                  <a:lnTo>
                    <a:pt x="3851" y="2089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8" name="Freeform 106">
              <a:extLst>
                <a:ext uri="{FF2B5EF4-FFF2-40B4-BE49-F238E27FC236}">
                  <a16:creationId xmlns:a16="http://schemas.microsoft.com/office/drawing/2014/main" id="{3754D465-C7E4-6344-B549-88BD4D62C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2487" y="3928734"/>
              <a:ext cx="1273094" cy="930339"/>
            </a:xfrm>
            <a:custGeom>
              <a:avLst/>
              <a:gdLst>
                <a:gd name="T0" fmla="*/ 1389 w 1950"/>
                <a:gd name="T1" fmla="*/ 944 h 1423"/>
                <a:gd name="T2" fmla="*/ 1581 w 1950"/>
                <a:gd name="T3" fmla="*/ 1045 h 1423"/>
                <a:gd name="T4" fmla="*/ 1632 w 1950"/>
                <a:gd name="T5" fmla="*/ 998 h 1423"/>
                <a:gd name="T6" fmla="*/ 1797 w 1950"/>
                <a:gd name="T7" fmla="*/ 1136 h 1423"/>
                <a:gd name="T8" fmla="*/ 1821 w 1950"/>
                <a:gd name="T9" fmla="*/ 1163 h 1423"/>
                <a:gd name="T10" fmla="*/ 1901 w 1950"/>
                <a:gd name="T11" fmla="*/ 1253 h 1423"/>
                <a:gd name="T12" fmla="*/ 1949 w 1950"/>
                <a:gd name="T13" fmla="*/ 1317 h 1423"/>
                <a:gd name="T14" fmla="*/ 1905 w 1950"/>
                <a:gd name="T15" fmla="*/ 1356 h 1423"/>
                <a:gd name="T16" fmla="*/ 1828 w 1950"/>
                <a:gd name="T17" fmla="*/ 1273 h 1423"/>
                <a:gd name="T18" fmla="*/ 1773 w 1950"/>
                <a:gd name="T19" fmla="*/ 1246 h 1423"/>
                <a:gd name="T20" fmla="*/ 1768 w 1950"/>
                <a:gd name="T21" fmla="*/ 1188 h 1423"/>
                <a:gd name="T22" fmla="*/ 1718 w 1950"/>
                <a:gd name="T23" fmla="*/ 1188 h 1423"/>
                <a:gd name="T24" fmla="*/ 1691 w 1950"/>
                <a:gd name="T25" fmla="*/ 1160 h 1423"/>
                <a:gd name="T26" fmla="*/ 1676 w 1950"/>
                <a:gd name="T27" fmla="*/ 1109 h 1423"/>
                <a:gd name="T28" fmla="*/ 1621 w 1950"/>
                <a:gd name="T29" fmla="*/ 1081 h 1423"/>
                <a:gd name="T30" fmla="*/ 1508 w 1950"/>
                <a:gd name="T31" fmla="*/ 1045 h 1423"/>
                <a:gd name="T32" fmla="*/ 1242 w 1950"/>
                <a:gd name="T33" fmla="*/ 980 h 1423"/>
                <a:gd name="T34" fmla="*/ 1070 w 1950"/>
                <a:gd name="T35" fmla="*/ 889 h 1423"/>
                <a:gd name="T36" fmla="*/ 1013 w 1950"/>
                <a:gd name="T37" fmla="*/ 942 h 1423"/>
                <a:gd name="T38" fmla="*/ 830 w 1950"/>
                <a:gd name="T39" fmla="*/ 1045 h 1423"/>
                <a:gd name="T40" fmla="*/ 826 w 1950"/>
                <a:gd name="T41" fmla="*/ 1017 h 1423"/>
                <a:gd name="T42" fmla="*/ 824 w 1950"/>
                <a:gd name="T43" fmla="*/ 995 h 1423"/>
                <a:gd name="T44" fmla="*/ 906 w 1950"/>
                <a:gd name="T45" fmla="*/ 889 h 1423"/>
                <a:gd name="T46" fmla="*/ 720 w 1950"/>
                <a:gd name="T47" fmla="*/ 1050 h 1423"/>
                <a:gd name="T48" fmla="*/ 638 w 1950"/>
                <a:gd name="T49" fmla="*/ 1151 h 1423"/>
                <a:gd name="T50" fmla="*/ 592 w 1950"/>
                <a:gd name="T51" fmla="*/ 1196 h 1423"/>
                <a:gd name="T52" fmla="*/ 326 w 1950"/>
                <a:gd name="T53" fmla="*/ 1334 h 1423"/>
                <a:gd name="T54" fmla="*/ 146 w 1950"/>
                <a:gd name="T55" fmla="*/ 1400 h 1423"/>
                <a:gd name="T56" fmla="*/ 293 w 1950"/>
                <a:gd name="T57" fmla="*/ 1301 h 1423"/>
                <a:gd name="T58" fmla="*/ 381 w 1950"/>
                <a:gd name="T59" fmla="*/ 1273 h 1423"/>
                <a:gd name="T60" fmla="*/ 613 w 1950"/>
                <a:gd name="T61" fmla="*/ 1063 h 1423"/>
                <a:gd name="T62" fmla="*/ 518 w 1950"/>
                <a:gd name="T63" fmla="*/ 1087 h 1423"/>
                <a:gd name="T64" fmla="*/ 469 w 1950"/>
                <a:gd name="T65" fmla="*/ 1072 h 1423"/>
                <a:gd name="T66" fmla="*/ 368 w 1950"/>
                <a:gd name="T67" fmla="*/ 1054 h 1423"/>
                <a:gd name="T68" fmla="*/ 344 w 1950"/>
                <a:gd name="T69" fmla="*/ 1081 h 1423"/>
                <a:gd name="T70" fmla="*/ 317 w 1950"/>
                <a:gd name="T71" fmla="*/ 1096 h 1423"/>
                <a:gd name="T72" fmla="*/ 298 w 1950"/>
                <a:gd name="T73" fmla="*/ 1013 h 1423"/>
                <a:gd name="T74" fmla="*/ 247 w 1950"/>
                <a:gd name="T75" fmla="*/ 1017 h 1423"/>
                <a:gd name="T76" fmla="*/ 124 w 1950"/>
                <a:gd name="T77" fmla="*/ 933 h 1423"/>
                <a:gd name="T78" fmla="*/ 78 w 1950"/>
                <a:gd name="T79" fmla="*/ 849 h 1423"/>
                <a:gd name="T80" fmla="*/ 216 w 1950"/>
                <a:gd name="T81" fmla="*/ 748 h 1423"/>
                <a:gd name="T82" fmla="*/ 326 w 1950"/>
                <a:gd name="T83" fmla="*/ 630 h 1423"/>
                <a:gd name="T84" fmla="*/ 353 w 1950"/>
                <a:gd name="T85" fmla="*/ 601 h 1423"/>
                <a:gd name="T86" fmla="*/ 326 w 1950"/>
                <a:gd name="T87" fmla="*/ 601 h 1423"/>
                <a:gd name="T88" fmla="*/ 170 w 1950"/>
                <a:gd name="T89" fmla="*/ 620 h 1423"/>
                <a:gd name="T90" fmla="*/ 49 w 1950"/>
                <a:gd name="T91" fmla="*/ 568 h 1423"/>
                <a:gd name="T92" fmla="*/ 55 w 1950"/>
                <a:gd name="T93" fmla="*/ 550 h 1423"/>
                <a:gd name="T94" fmla="*/ 165 w 1950"/>
                <a:gd name="T95" fmla="*/ 440 h 1423"/>
                <a:gd name="T96" fmla="*/ 265 w 1950"/>
                <a:gd name="T97" fmla="*/ 482 h 1423"/>
                <a:gd name="T98" fmla="*/ 317 w 1950"/>
                <a:gd name="T99" fmla="*/ 482 h 1423"/>
                <a:gd name="T100" fmla="*/ 152 w 1950"/>
                <a:gd name="T101" fmla="*/ 321 h 1423"/>
                <a:gd name="T102" fmla="*/ 55 w 1950"/>
                <a:gd name="T103" fmla="*/ 281 h 1423"/>
                <a:gd name="T104" fmla="*/ 183 w 1950"/>
                <a:gd name="T105" fmla="*/ 229 h 1423"/>
                <a:gd name="T106" fmla="*/ 485 w 1950"/>
                <a:gd name="T107" fmla="*/ 51 h 1423"/>
                <a:gd name="T108" fmla="*/ 564 w 1950"/>
                <a:gd name="T109" fmla="*/ 0 h 1423"/>
                <a:gd name="T110" fmla="*/ 605 w 1950"/>
                <a:gd name="T111" fmla="*/ 51 h 1423"/>
                <a:gd name="T112" fmla="*/ 650 w 1950"/>
                <a:gd name="T113" fmla="*/ 27 h 1423"/>
                <a:gd name="T114" fmla="*/ 784 w 1950"/>
                <a:gd name="T115" fmla="*/ 46 h 1423"/>
                <a:gd name="T116" fmla="*/ 980 w 1950"/>
                <a:gd name="T117" fmla="*/ 83 h 1423"/>
                <a:gd name="T118" fmla="*/ 1273 w 1950"/>
                <a:gd name="T119" fmla="*/ 116 h 1423"/>
                <a:gd name="T120" fmla="*/ 1389 w 1950"/>
                <a:gd name="T121" fmla="*/ 147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50" h="1423">
                  <a:moveTo>
                    <a:pt x="1389" y="150"/>
                  </a:moveTo>
                  <a:lnTo>
                    <a:pt x="1389" y="944"/>
                  </a:lnTo>
                  <a:lnTo>
                    <a:pt x="1389" y="944"/>
                  </a:lnTo>
                  <a:cubicBezTo>
                    <a:pt x="1412" y="967"/>
                    <a:pt x="1467" y="936"/>
                    <a:pt x="1489" y="971"/>
                  </a:cubicBezTo>
                  <a:lnTo>
                    <a:pt x="1489" y="971"/>
                  </a:lnTo>
                  <a:cubicBezTo>
                    <a:pt x="1506" y="997"/>
                    <a:pt x="1544" y="1045"/>
                    <a:pt x="1581" y="1045"/>
                  </a:cubicBezTo>
                  <a:lnTo>
                    <a:pt x="1581" y="1045"/>
                  </a:lnTo>
                  <a:cubicBezTo>
                    <a:pt x="1606" y="1045"/>
                    <a:pt x="1606" y="1006"/>
                    <a:pt x="1632" y="998"/>
                  </a:cubicBezTo>
                  <a:lnTo>
                    <a:pt x="1632" y="998"/>
                  </a:lnTo>
                  <a:cubicBezTo>
                    <a:pt x="1643" y="995"/>
                    <a:pt x="1654" y="998"/>
                    <a:pt x="1667" y="990"/>
                  </a:cubicBezTo>
                  <a:lnTo>
                    <a:pt x="1667" y="990"/>
                  </a:lnTo>
                  <a:cubicBezTo>
                    <a:pt x="1722" y="1045"/>
                    <a:pt x="1750" y="1065"/>
                    <a:pt x="1797" y="1136"/>
                  </a:cubicBezTo>
                  <a:lnTo>
                    <a:pt x="1797" y="1136"/>
                  </a:lnTo>
                  <a:cubicBezTo>
                    <a:pt x="1801" y="1143"/>
                    <a:pt x="1816" y="1147"/>
                    <a:pt x="1821" y="1163"/>
                  </a:cubicBezTo>
                  <a:lnTo>
                    <a:pt x="1821" y="1163"/>
                  </a:lnTo>
                  <a:cubicBezTo>
                    <a:pt x="1828" y="1186"/>
                    <a:pt x="1837" y="1213"/>
                    <a:pt x="1858" y="1233"/>
                  </a:cubicBezTo>
                  <a:lnTo>
                    <a:pt x="1858" y="1233"/>
                  </a:lnTo>
                  <a:cubicBezTo>
                    <a:pt x="1868" y="1244"/>
                    <a:pt x="1891" y="1239"/>
                    <a:pt x="1901" y="1253"/>
                  </a:cubicBezTo>
                  <a:lnTo>
                    <a:pt x="1901" y="1253"/>
                  </a:lnTo>
                  <a:cubicBezTo>
                    <a:pt x="1918" y="1270"/>
                    <a:pt x="1949" y="1279"/>
                    <a:pt x="1949" y="1317"/>
                  </a:cubicBezTo>
                  <a:lnTo>
                    <a:pt x="1949" y="1317"/>
                  </a:lnTo>
                  <a:cubicBezTo>
                    <a:pt x="1949" y="1337"/>
                    <a:pt x="1924" y="1341"/>
                    <a:pt x="1924" y="1354"/>
                  </a:cubicBezTo>
                  <a:lnTo>
                    <a:pt x="1924" y="1354"/>
                  </a:lnTo>
                  <a:cubicBezTo>
                    <a:pt x="1914" y="1354"/>
                    <a:pt x="1914" y="1356"/>
                    <a:pt x="1905" y="1356"/>
                  </a:cubicBezTo>
                  <a:lnTo>
                    <a:pt x="1905" y="1356"/>
                  </a:lnTo>
                  <a:cubicBezTo>
                    <a:pt x="1874" y="1356"/>
                    <a:pt x="1828" y="1322"/>
                    <a:pt x="1828" y="1301"/>
                  </a:cubicBezTo>
                  <a:lnTo>
                    <a:pt x="1828" y="1273"/>
                  </a:lnTo>
                  <a:lnTo>
                    <a:pt x="1828" y="1273"/>
                  </a:lnTo>
                  <a:cubicBezTo>
                    <a:pt x="1828" y="1246"/>
                    <a:pt x="1806" y="1246"/>
                    <a:pt x="1773" y="1246"/>
                  </a:cubicBezTo>
                  <a:lnTo>
                    <a:pt x="1773" y="1246"/>
                  </a:lnTo>
                  <a:cubicBezTo>
                    <a:pt x="1747" y="1246"/>
                    <a:pt x="1741" y="1229"/>
                    <a:pt x="1741" y="1219"/>
                  </a:cubicBezTo>
                  <a:lnTo>
                    <a:pt x="1741" y="1219"/>
                  </a:lnTo>
                  <a:cubicBezTo>
                    <a:pt x="1741" y="1204"/>
                    <a:pt x="1768" y="1202"/>
                    <a:pt x="1768" y="1188"/>
                  </a:cubicBezTo>
                  <a:lnTo>
                    <a:pt x="1768" y="1163"/>
                  </a:lnTo>
                  <a:lnTo>
                    <a:pt x="1768" y="1163"/>
                  </a:lnTo>
                  <a:cubicBezTo>
                    <a:pt x="1733" y="1165"/>
                    <a:pt x="1742" y="1188"/>
                    <a:pt x="1718" y="1188"/>
                  </a:cubicBezTo>
                  <a:lnTo>
                    <a:pt x="1718" y="1188"/>
                  </a:lnTo>
                  <a:cubicBezTo>
                    <a:pt x="1711" y="1188"/>
                    <a:pt x="1691" y="1171"/>
                    <a:pt x="1691" y="1160"/>
                  </a:cubicBezTo>
                  <a:lnTo>
                    <a:pt x="1691" y="1160"/>
                  </a:lnTo>
                  <a:cubicBezTo>
                    <a:pt x="1691" y="1138"/>
                    <a:pt x="1703" y="1131"/>
                    <a:pt x="1709" y="1121"/>
                  </a:cubicBezTo>
                  <a:lnTo>
                    <a:pt x="1709" y="1121"/>
                  </a:lnTo>
                  <a:cubicBezTo>
                    <a:pt x="1700" y="1112"/>
                    <a:pt x="1683" y="1096"/>
                    <a:pt x="1676" y="1109"/>
                  </a:cubicBezTo>
                  <a:lnTo>
                    <a:pt x="1676" y="1109"/>
                  </a:lnTo>
                  <a:cubicBezTo>
                    <a:pt x="1649" y="1109"/>
                    <a:pt x="1636" y="1096"/>
                    <a:pt x="1621" y="1081"/>
                  </a:cubicBezTo>
                  <a:lnTo>
                    <a:pt x="1621" y="1081"/>
                  </a:lnTo>
                  <a:cubicBezTo>
                    <a:pt x="1616" y="1096"/>
                    <a:pt x="1608" y="1114"/>
                    <a:pt x="1593" y="1114"/>
                  </a:cubicBezTo>
                  <a:lnTo>
                    <a:pt x="1593" y="1114"/>
                  </a:lnTo>
                  <a:cubicBezTo>
                    <a:pt x="1555" y="1114"/>
                    <a:pt x="1530" y="1061"/>
                    <a:pt x="1508" y="1045"/>
                  </a:cubicBezTo>
                  <a:lnTo>
                    <a:pt x="1508" y="1045"/>
                  </a:lnTo>
                  <a:cubicBezTo>
                    <a:pt x="1460" y="1010"/>
                    <a:pt x="1398" y="1011"/>
                    <a:pt x="1343" y="980"/>
                  </a:cubicBezTo>
                  <a:lnTo>
                    <a:pt x="1242" y="980"/>
                  </a:lnTo>
                  <a:lnTo>
                    <a:pt x="1242" y="980"/>
                  </a:lnTo>
                  <a:cubicBezTo>
                    <a:pt x="1181" y="960"/>
                    <a:pt x="1101" y="953"/>
                    <a:pt x="1070" y="889"/>
                  </a:cubicBezTo>
                  <a:lnTo>
                    <a:pt x="1070" y="889"/>
                  </a:lnTo>
                  <a:cubicBezTo>
                    <a:pt x="1048" y="898"/>
                    <a:pt x="1011" y="907"/>
                    <a:pt x="995" y="916"/>
                  </a:cubicBezTo>
                  <a:lnTo>
                    <a:pt x="995" y="916"/>
                  </a:lnTo>
                  <a:cubicBezTo>
                    <a:pt x="1000" y="929"/>
                    <a:pt x="1004" y="935"/>
                    <a:pt x="1013" y="942"/>
                  </a:cubicBezTo>
                  <a:lnTo>
                    <a:pt x="1013" y="942"/>
                  </a:lnTo>
                  <a:cubicBezTo>
                    <a:pt x="989" y="978"/>
                    <a:pt x="872" y="1045"/>
                    <a:pt x="830" y="1045"/>
                  </a:cubicBezTo>
                  <a:lnTo>
                    <a:pt x="830" y="1045"/>
                  </a:lnTo>
                  <a:cubicBezTo>
                    <a:pt x="822" y="1045"/>
                    <a:pt x="811" y="1039"/>
                    <a:pt x="811" y="1032"/>
                  </a:cubicBezTo>
                  <a:lnTo>
                    <a:pt x="811" y="1032"/>
                  </a:lnTo>
                  <a:cubicBezTo>
                    <a:pt x="811" y="1021"/>
                    <a:pt x="822" y="1019"/>
                    <a:pt x="826" y="1017"/>
                  </a:cubicBezTo>
                  <a:lnTo>
                    <a:pt x="826" y="1017"/>
                  </a:lnTo>
                  <a:cubicBezTo>
                    <a:pt x="817" y="1004"/>
                    <a:pt x="824" y="1004"/>
                    <a:pt x="824" y="995"/>
                  </a:cubicBezTo>
                  <a:lnTo>
                    <a:pt x="824" y="995"/>
                  </a:lnTo>
                  <a:cubicBezTo>
                    <a:pt x="824" y="955"/>
                    <a:pt x="852" y="923"/>
                    <a:pt x="905" y="907"/>
                  </a:cubicBezTo>
                  <a:lnTo>
                    <a:pt x="905" y="907"/>
                  </a:lnTo>
                  <a:cubicBezTo>
                    <a:pt x="905" y="901"/>
                    <a:pt x="906" y="895"/>
                    <a:pt x="906" y="889"/>
                  </a:cubicBezTo>
                  <a:lnTo>
                    <a:pt x="885" y="889"/>
                  </a:lnTo>
                  <a:lnTo>
                    <a:pt x="885" y="889"/>
                  </a:lnTo>
                  <a:cubicBezTo>
                    <a:pt x="841" y="889"/>
                    <a:pt x="720" y="990"/>
                    <a:pt x="720" y="1050"/>
                  </a:cubicBezTo>
                  <a:lnTo>
                    <a:pt x="720" y="1078"/>
                  </a:lnTo>
                  <a:lnTo>
                    <a:pt x="720" y="1078"/>
                  </a:lnTo>
                  <a:cubicBezTo>
                    <a:pt x="720" y="1119"/>
                    <a:pt x="679" y="1134"/>
                    <a:pt x="638" y="1151"/>
                  </a:cubicBezTo>
                  <a:lnTo>
                    <a:pt x="638" y="1151"/>
                  </a:lnTo>
                  <a:cubicBezTo>
                    <a:pt x="613" y="1160"/>
                    <a:pt x="606" y="1178"/>
                    <a:pt x="592" y="1196"/>
                  </a:cubicBezTo>
                  <a:lnTo>
                    <a:pt x="592" y="1196"/>
                  </a:lnTo>
                  <a:cubicBezTo>
                    <a:pt x="564" y="1232"/>
                    <a:pt x="502" y="1250"/>
                    <a:pt x="472" y="1279"/>
                  </a:cubicBezTo>
                  <a:lnTo>
                    <a:pt x="472" y="1279"/>
                  </a:lnTo>
                  <a:cubicBezTo>
                    <a:pt x="445" y="1306"/>
                    <a:pt x="379" y="1327"/>
                    <a:pt x="326" y="1334"/>
                  </a:cubicBezTo>
                  <a:lnTo>
                    <a:pt x="326" y="1334"/>
                  </a:lnTo>
                  <a:cubicBezTo>
                    <a:pt x="260" y="1345"/>
                    <a:pt x="223" y="1422"/>
                    <a:pt x="146" y="1400"/>
                  </a:cubicBezTo>
                  <a:lnTo>
                    <a:pt x="146" y="1400"/>
                  </a:lnTo>
                  <a:cubicBezTo>
                    <a:pt x="168" y="1365"/>
                    <a:pt x="203" y="1380"/>
                    <a:pt x="234" y="1361"/>
                  </a:cubicBezTo>
                  <a:lnTo>
                    <a:pt x="234" y="1361"/>
                  </a:lnTo>
                  <a:cubicBezTo>
                    <a:pt x="256" y="1349"/>
                    <a:pt x="273" y="1312"/>
                    <a:pt x="293" y="1301"/>
                  </a:cubicBezTo>
                  <a:lnTo>
                    <a:pt x="293" y="1301"/>
                  </a:lnTo>
                  <a:cubicBezTo>
                    <a:pt x="324" y="1283"/>
                    <a:pt x="359" y="1301"/>
                    <a:pt x="381" y="1273"/>
                  </a:cubicBezTo>
                  <a:lnTo>
                    <a:pt x="381" y="1273"/>
                  </a:lnTo>
                  <a:cubicBezTo>
                    <a:pt x="412" y="1233"/>
                    <a:pt x="484" y="1202"/>
                    <a:pt x="528" y="1173"/>
                  </a:cubicBezTo>
                  <a:lnTo>
                    <a:pt x="528" y="1173"/>
                  </a:lnTo>
                  <a:cubicBezTo>
                    <a:pt x="569" y="1145"/>
                    <a:pt x="569" y="1090"/>
                    <a:pt x="613" y="1063"/>
                  </a:cubicBezTo>
                  <a:lnTo>
                    <a:pt x="586" y="1063"/>
                  </a:lnTo>
                  <a:lnTo>
                    <a:pt x="586" y="1063"/>
                  </a:lnTo>
                  <a:cubicBezTo>
                    <a:pt x="559" y="1074"/>
                    <a:pt x="546" y="1087"/>
                    <a:pt x="518" y="1087"/>
                  </a:cubicBezTo>
                  <a:lnTo>
                    <a:pt x="518" y="1087"/>
                  </a:lnTo>
                  <a:cubicBezTo>
                    <a:pt x="496" y="1087"/>
                    <a:pt x="487" y="1078"/>
                    <a:pt x="469" y="1072"/>
                  </a:cubicBezTo>
                  <a:lnTo>
                    <a:pt x="469" y="1072"/>
                  </a:lnTo>
                  <a:cubicBezTo>
                    <a:pt x="463" y="1087"/>
                    <a:pt x="458" y="1092"/>
                    <a:pt x="456" y="1105"/>
                  </a:cubicBezTo>
                  <a:lnTo>
                    <a:pt x="456" y="1105"/>
                  </a:lnTo>
                  <a:cubicBezTo>
                    <a:pt x="412" y="1088"/>
                    <a:pt x="399" y="1078"/>
                    <a:pt x="368" y="1054"/>
                  </a:cubicBezTo>
                  <a:lnTo>
                    <a:pt x="368" y="1054"/>
                  </a:lnTo>
                  <a:cubicBezTo>
                    <a:pt x="364" y="1065"/>
                    <a:pt x="366" y="1074"/>
                    <a:pt x="366" y="1081"/>
                  </a:cubicBezTo>
                  <a:lnTo>
                    <a:pt x="344" y="1081"/>
                  </a:lnTo>
                  <a:lnTo>
                    <a:pt x="344" y="1081"/>
                  </a:lnTo>
                  <a:cubicBezTo>
                    <a:pt x="333" y="1081"/>
                    <a:pt x="324" y="1096"/>
                    <a:pt x="317" y="1096"/>
                  </a:cubicBezTo>
                  <a:lnTo>
                    <a:pt x="317" y="1096"/>
                  </a:lnTo>
                  <a:cubicBezTo>
                    <a:pt x="306" y="1096"/>
                    <a:pt x="298" y="1065"/>
                    <a:pt x="298" y="1050"/>
                  </a:cubicBezTo>
                  <a:lnTo>
                    <a:pt x="298" y="1013"/>
                  </a:lnTo>
                  <a:lnTo>
                    <a:pt x="298" y="1013"/>
                  </a:lnTo>
                  <a:cubicBezTo>
                    <a:pt x="298" y="1008"/>
                    <a:pt x="300" y="986"/>
                    <a:pt x="284" y="986"/>
                  </a:cubicBezTo>
                  <a:lnTo>
                    <a:pt x="284" y="986"/>
                  </a:lnTo>
                  <a:cubicBezTo>
                    <a:pt x="269" y="986"/>
                    <a:pt x="255" y="1017"/>
                    <a:pt x="247" y="1017"/>
                  </a:cubicBezTo>
                  <a:lnTo>
                    <a:pt x="247" y="1017"/>
                  </a:lnTo>
                  <a:cubicBezTo>
                    <a:pt x="223" y="1017"/>
                    <a:pt x="137" y="949"/>
                    <a:pt x="124" y="933"/>
                  </a:cubicBezTo>
                  <a:lnTo>
                    <a:pt x="124" y="933"/>
                  </a:lnTo>
                  <a:cubicBezTo>
                    <a:pt x="134" y="933"/>
                    <a:pt x="142" y="927"/>
                    <a:pt x="152" y="927"/>
                  </a:cubicBezTo>
                  <a:lnTo>
                    <a:pt x="152" y="927"/>
                  </a:lnTo>
                  <a:cubicBezTo>
                    <a:pt x="137" y="887"/>
                    <a:pt x="78" y="878"/>
                    <a:pt x="78" y="849"/>
                  </a:cubicBezTo>
                  <a:lnTo>
                    <a:pt x="78" y="849"/>
                  </a:lnTo>
                  <a:cubicBezTo>
                    <a:pt x="78" y="794"/>
                    <a:pt x="177" y="748"/>
                    <a:pt x="216" y="748"/>
                  </a:cubicBezTo>
                  <a:lnTo>
                    <a:pt x="216" y="748"/>
                  </a:lnTo>
                  <a:cubicBezTo>
                    <a:pt x="232" y="748"/>
                    <a:pt x="357" y="698"/>
                    <a:pt x="357" y="674"/>
                  </a:cubicBezTo>
                  <a:lnTo>
                    <a:pt x="357" y="674"/>
                  </a:lnTo>
                  <a:cubicBezTo>
                    <a:pt x="357" y="661"/>
                    <a:pt x="328" y="636"/>
                    <a:pt x="326" y="630"/>
                  </a:cubicBezTo>
                  <a:lnTo>
                    <a:pt x="326" y="630"/>
                  </a:lnTo>
                  <a:cubicBezTo>
                    <a:pt x="344" y="620"/>
                    <a:pt x="340" y="621"/>
                    <a:pt x="353" y="628"/>
                  </a:cubicBezTo>
                  <a:lnTo>
                    <a:pt x="353" y="601"/>
                  </a:lnTo>
                  <a:lnTo>
                    <a:pt x="353" y="601"/>
                  </a:lnTo>
                  <a:cubicBezTo>
                    <a:pt x="337" y="599"/>
                    <a:pt x="337" y="601"/>
                    <a:pt x="326" y="601"/>
                  </a:cubicBezTo>
                  <a:lnTo>
                    <a:pt x="326" y="601"/>
                  </a:lnTo>
                  <a:cubicBezTo>
                    <a:pt x="296" y="601"/>
                    <a:pt x="286" y="633"/>
                    <a:pt x="247" y="633"/>
                  </a:cubicBezTo>
                  <a:lnTo>
                    <a:pt x="247" y="633"/>
                  </a:lnTo>
                  <a:cubicBezTo>
                    <a:pt x="211" y="633"/>
                    <a:pt x="197" y="614"/>
                    <a:pt x="170" y="620"/>
                  </a:cubicBezTo>
                  <a:lnTo>
                    <a:pt x="73" y="620"/>
                  </a:lnTo>
                  <a:lnTo>
                    <a:pt x="73" y="620"/>
                  </a:lnTo>
                  <a:cubicBezTo>
                    <a:pt x="71" y="592"/>
                    <a:pt x="49" y="584"/>
                    <a:pt x="49" y="568"/>
                  </a:cubicBezTo>
                  <a:lnTo>
                    <a:pt x="49" y="568"/>
                  </a:lnTo>
                  <a:cubicBezTo>
                    <a:pt x="49" y="563"/>
                    <a:pt x="53" y="555"/>
                    <a:pt x="55" y="550"/>
                  </a:cubicBezTo>
                  <a:lnTo>
                    <a:pt x="55" y="550"/>
                  </a:lnTo>
                  <a:cubicBezTo>
                    <a:pt x="25" y="550"/>
                    <a:pt x="9" y="539"/>
                    <a:pt x="0" y="520"/>
                  </a:cubicBezTo>
                  <a:lnTo>
                    <a:pt x="0" y="520"/>
                  </a:lnTo>
                  <a:cubicBezTo>
                    <a:pt x="45" y="493"/>
                    <a:pt x="121" y="469"/>
                    <a:pt x="165" y="440"/>
                  </a:cubicBezTo>
                  <a:lnTo>
                    <a:pt x="197" y="440"/>
                  </a:lnTo>
                  <a:lnTo>
                    <a:pt x="197" y="440"/>
                  </a:lnTo>
                  <a:cubicBezTo>
                    <a:pt x="197" y="499"/>
                    <a:pt x="227" y="482"/>
                    <a:pt x="265" y="482"/>
                  </a:cubicBezTo>
                  <a:lnTo>
                    <a:pt x="265" y="482"/>
                  </a:lnTo>
                  <a:cubicBezTo>
                    <a:pt x="291" y="482"/>
                    <a:pt x="295" y="487"/>
                    <a:pt x="317" y="482"/>
                  </a:cubicBezTo>
                  <a:lnTo>
                    <a:pt x="317" y="482"/>
                  </a:lnTo>
                  <a:cubicBezTo>
                    <a:pt x="298" y="423"/>
                    <a:pt x="260" y="419"/>
                    <a:pt x="207" y="394"/>
                  </a:cubicBezTo>
                  <a:lnTo>
                    <a:pt x="207" y="394"/>
                  </a:lnTo>
                  <a:cubicBezTo>
                    <a:pt x="192" y="387"/>
                    <a:pt x="170" y="332"/>
                    <a:pt x="152" y="321"/>
                  </a:cubicBezTo>
                  <a:lnTo>
                    <a:pt x="152" y="321"/>
                  </a:lnTo>
                  <a:cubicBezTo>
                    <a:pt x="130" y="308"/>
                    <a:pt x="55" y="293"/>
                    <a:pt x="55" y="281"/>
                  </a:cubicBezTo>
                  <a:lnTo>
                    <a:pt x="55" y="281"/>
                  </a:lnTo>
                  <a:cubicBezTo>
                    <a:pt x="55" y="281"/>
                    <a:pt x="80" y="235"/>
                    <a:pt x="82" y="229"/>
                  </a:cubicBezTo>
                  <a:lnTo>
                    <a:pt x="183" y="229"/>
                  </a:lnTo>
                  <a:lnTo>
                    <a:pt x="183" y="229"/>
                  </a:lnTo>
                  <a:cubicBezTo>
                    <a:pt x="238" y="156"/>
                    <a:pt x="320" y="86"/>
                    <a:pt x="417" y="55"/>
                  </a:cubicBezTo>
                  <a:lnTo>
                    <a:pt x="417" y="55"/>
                  </a:lnTo>
                  <a:cubicBezTo>
                    <a:pt x="443" y="47"/>
                    <a:pt x="459" y="60"/>
                    <a:pt x="485" y="51"/>
                  </a:cubicBezTo>
                  <a:lnTo>
                    <a:pt x="485" y="51"/>
                  </a:lnTo>
                  <a:cubicBezTo>
                    <a:pt x="515" y="40"/>
                    <a:pt x="533" y="0"/>
                    <a:pt x="564" y="0"/>
                  </a:cubicBezTo>
                  <a:lnTo>
                    <a:pt x="564" y="0"/>
                  </a:lnTo>
                  <a:cubicBezTo>
                    <a:pt x="588" y="0"/>
                    <a:pt x="597" y="20"/>
                    <a:pt x="621" y="27"/>
                  </a:cubicBezTo>
                  <a:lnTo>
                    <a:pt x="621" y="27"/>
                  </a:lnTo>
                  <a:cubicBezTo>
                    <a:pt x="611" y="39"/>
                    <a:pt x="610" y="42"/>
                    <a:pt x="605" y="51"/>
                  </a:cubicBezTo>
                  <a:lnTo>
                    <a:pt x="605" y="51"/>
                  </a:lnTo>
                  <a:cubicBezTo>
                    <a:pt x="623" y="55"/>
                    <a:pt x="641" y="42"/>
                    <a:pt x="650" y="27"/>
                  </a:cubicBezTo>
                  <a:lnTo>
                    <a:pt x="650" y="27"/>
                  </a:lnTo>
                  <a:cubicBezTo>
                    <a:pt x="670" y="35"/>
                    <a:pt x="676" y="40"/>
                    <a:pt x="693" y="46"/>
                  </a:cubicBezTo>
                  <a:lnTo>
                    <a:pt x="784" y="46"/>
                  </a:lnTo>
                  <a:lnTo>
                    <a:pt x="784" y="46"/>
                  </a:lnTo>
                  <a:cubicBezTo>
                    <a:pt x="806" y="60"/>
                    <a:pt x="813" y="70"/>
                    <a:pt x="839" y="83"/>
                  </a:cubicBezTo>
                  <a:lnTo>
                    <a:pt x="980" y="83"/>
                  </a:lnTo>
                  <a:lnTo>
                    <a:pt x="980" y="83"/>
                  </a:lnTo>
                  <a:cubicBezTo>
                    <a:pt x="1017" y="119"/>
                    <a:pt x="1130" y="128"/>
                    <a:pt x="1187" y="128"/>
                  </a:cubicBezTo>
                  <a:lnTo>
                    <a:pt x="1187" y="128"/>
                  </a:lnTo>
                  <a:cubicBezTo>
                    <a:pt x="1220" y="128"/>
                    <a:pt x="1240" y="116"/>
                    <a:pt x="1273" y="116"/>
                  </a:cubicBezTo>
                  <a:lnTo>
                    <a:pt x="1273" y="116"/>
                  </a:lnTo>
                  <a:cubicBezTo>
                    <a:pt x="1326" y="116"/>
                    <a:pt x="1343" y="137"/>
                    <a:pt x="1389" y="152"/>
                  </a:cubicBezTo>
                  <a:lnTo>
                    <a:pt x="1389" y="147"/>
                  </a:lnTo>
                  <a:lnTo>
                    <a:pt x="1389" y="150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79" name="Freeform 107">
              <a:extLst>
                <a:ext uri="{FF2B5EF4-FFF2-40B4-BE49-F238E27FC236}">
                  <a16:creationId xmlns:a16="http://schemas.microsoft.com/office/drawing/2014/main" id="{E72628AE-21B3-5E4F-8783-934A9D53D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8847" y="4746739"/>
              <a:ext cx="60485" cy="80648"/>
            </a:xfrm>
            <a:custGeom>
              <a:avLst/>
              <a:gdLst>
                <a:gd name="T0" fmla="*/ 40 w 93"/>
                <a:gd name="T1" fmla="*/ 44 h 122"/>
                <a:gd name="T2" fmla="*/ 40 w 93"/>
                <a:gd name="T3" fmla="*/ 44 h 122"/>
                <a:gd name="T4" fmla="*/ 0 w 93"/>
                <a:gd name="T5" fmla="*/ 44 h 122"/>
                <a:gd name="T6" fmla="*/ 0 w 93"/>
                <a:gd name="T7" fmla="*/ 44 h 122"/>
                <a:gd name="T8" fmla="*/ 48 w 93"/>
                <a:gd name="T9" fmla="*/ 8 h 122"/>
                <a:gd name="T10" fmla="*/ 48 w 93"/>
                <a:gd name="T11" fmla="*/ 8 h 122"/>
                <a:gd name="T12" fmla="*/ 92 w 93"/>
                <a:gd name="T13" fmla="*/ 103 h 122"/>
                <a:gd name="T14" fmla="*/ 92 w 93"/>
                <a:gd name="T15" fmla="*/ 103 h 122"/>
                <a:gd name="T16" fmla="*/ 77 w 93"/>
                <a:gd name="T17" fmla="*/ 121 h 122"/>
                <a:gd name="T18" fmla="*/ 77 w 93"/>
                <a:gd name="T19" fmla="*/ 121 h 122"/>
                <a:gd name="T20" fmla="*/ 40 w 93"/>
                <a:gd name="T21" fmla="*/ 81 h 122"/>
                <a:gd name="T22" fmla="*/ 40 w 93"/>
                <a:gd name="T23" fmla="*/ 81 h 122"/>
                <a:gd name="T24" fmla="*/ 40 w 93"/>
                <a:gd name="T25" fmla="*/ 4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122">
                  <a:moveTo>
                    <a:pt x="40" y="44"/>
                  </a:moveTo>
                  <a:lnTo>
                    <a:pt x="40" y="44"/>
                  </a:lnTo>
                  <a:cubicBezTo>
                    <a:pt x="11" y="39"/>
                    <a:pt x="22" y="30"/>
                    <a:pt x="0" y="44"/>
                  </a:cubicBezTo>
                  <a:lnTo>
                    <a:pt x="0" y="44"/>
                  </a:lnTo>
                  <a:cubicBezTo>
                    <a:pt x="0" y="0"/>
                    <a:pt x="9" y="0"/>
                    <a:pt x="48" y="8"/>
                  </a:cubicBezTo>
                  <a:lnTo>
                    <a:pt x="48" y="8"/>
                  </a:lnTo>
                  <a:cubicBezTo>
                    <a:pt x="42" y="57"/>
                    <a:pt x="92" y="62"/>
                    <a:pt x="92" y="103"/>
                  </a:cubicBezTo>
                  <a:lnTo>
                    <a:pt x="92" y="103"/>
                  </a:lnTo>
                  <a:cubicBezTo>
                    <a:pt x="92" y="116"/>
                    <a:pt x="87" y="121"/>
                    <a:pt x="77" y="121"/>
                  </a:cubicBezTo>
                  <a:lnTo>
                    <a:pt x="77" y="121"/>
                  </a:lnTo>
                  <a:cubicBezTo>
                    <a:pt x="61" y="121"/>
                    <a:pt x="40" y="82"/>
                    <a:pt x="40" y="81"/>
                  </a:cubicBezTo>
                  <a:lnTo>
                    <a:pt x="40" y="81"/>
                  </a:lnTo>
                  <a:cubicBezTo>
                    <a:pt x="40" y="69"/>
                    <a:pt x="35" y="53"/>
                    <a:pt x="40" y="4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0" name="Freeform 108">
              <a:extLst>
                <a:ext uri="{FF2B5EF4-FFF2-40B4-BE49-F238E27FC236}">
                  <a16:creationId xmlns:a16="http://schemas.microsoft.com/office/drawing/2014/main" id="{20CC9C1C-A1EF-7A4D-BE79-DA3F9341FF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9557" y="4657452"/>
              <a:ext cx="63367" cy="97930"/>
            </a:xfrm>
            <a:custGeom>
              <a:avLst/>
              <a:gdLst>
                <a:gd name="T0" fmla="*/ 64 w 97"/>
                <a:gd name="T1" fmla="*/ 77 h 148"/>
                <a:gd name="T2" fmla="*/ 64 w 97"/>
                <a:gd name="T3" fmla="*/ 77 h 148"/>
                <a:gd name="T4" fmla="*/ 82 w 97"/>
                <a:gd name="T5" fmla="*/ 77 h 148"/>
                <a:gd name="T6" fmla="*/ 82 w 97"/>
                <a:gd name="T7" fmla="*/ 77 h 148"/>
                <a:gd name="T8" fmla="*/ 78 w 97"/>
                <a:gd name="T9" fmla="*/ 147 h 148"/>
                <a:gd name="T10" fmla="*/ 78 w 97"/>
                <a:gd name="T11" fmla="*/ 147 h 148"/>
                <a:gd name="T12" fmla="*/ 49 w 97"/>
                <a:gd name="T13" fmla="*/ 74 h 148"/>
                <a:gd name="T14" fmla="*/ 49 w 97"/>
                <a:gd name="T15" fmla="*/ 74 h 148"/>
                <a:gd name="T16" fmla="*/ 0 w 97"/>
                <a:gd name="T17" fmla="*/ 18 h 148"/>
                <a:gd name="T18" fmla="*/ 0 w 97"/>
                <a:gd name="T19" fmla="*/ 18 h 148"/>
                <a:gd name="T20" fmla="*/ 22 w 97"/>
                <a:gd name="T21" fmla="*/ 0 h 148"/>
                <a:gd name="T22" fmla="*/ 22 w 97"/>
                <a:gd name="T23" fmla="*/ 0 h 148"/>
                <a:gd name="T24" fmla="*/ 64 w 97"/>
                <a:gd name="T25" fmla="*/ 0 h 148"/>
                <a:gd name="T26" fmla="*/ 64 w 97"/>
                <a:gd name="T27" fmla="*/ 0 h 148"/>
                <a:gd name="T28" fmla="*/ 64 w 97"/>
                <a:gd name="T29" fmla="*/ 7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8">
                  <a:moveTo>
                    <a:pt x="64" y="77"/>
                  </a:moveTo>
                  <a:lnTo>
                    <a:pt x="64" y="77"/>
                  </a:lnTo>
                  <a:cubicBezTo>
                    <a:pt x="64" y="82"/>
                    <a:pt x="78" y="79"/>
                    <a:pt x="82" y="77"/>
                  </a:cubicBezTo>
                  <a:lnTo>
                    <a:pt x="82" y="77"/>
                  </a:lnTo>
                  <a:cubicBezTo>
                    <a:pt x="78" y="103"/>
                    <a:pt x="96" y="128"/>
                    <a:pt x="78" y="147"/>
                  </a:cubicBezTo>
                  <a:lnTo>
                    <a:pt x="78" y="147"/>
                  </a:lnTo>
                  <a:cubicBezTo>
                    <a:pt x="56" y="125"/>
                    <a:pt x="49" y="103"/>
                    <a:pt x="49" y="74"/>
                  </a:cubicBezTo>
                  <a:lnTo>
                    <a:pt x="49" y="74"/>
                  </a:lnTo>
                  <a:cubicBezTo>
                    <a:pt x="22" y="70"/>
                    <a:pt x="0" y="46"/>
                    <a:pt x="0" y="18"/>
                  </a:cubicBezTo>
                  <a:lnTo>
                    <a:pt x="0" y="18"/>
                  </a:lnTo>
                  <a:cubicBezTo>
                    <a:pt x="0" y="4"/>
                    <a:pt x="14" y="0"/>
                    <a:pt x="22" y="0"/>
                  </a:cubicBezTo>
                  <a:lnTo>
                    <a:pt x="22" y="0"/>
                  </a:lnTo>
                  <a:cubicBezTo>
                    <a:pt x="54" y="0"/>
                    <a:pt x="38" y="15"/>
                    <a:pt x="64" y="0"/>
                  </a:cubicBezTo>
                  <a:lnTo>
                    <a:pt x="64" y="0"/>
                  </a:lnTo>
                  <a:cubicBezTo>
                    <a:pt x="64" y="48"/>
                    <a:pt x="54" y="48"/>
                    <a:pt x="64" y="7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1" name="Freeform 109">
              <a:extLst>
                <a:ext uri="{FF2B5EF4-FFF2-40B4-BE49-F238E27FC236}">
                  <a16:creationId xmlns:a16="http://schemas.microsoft.com/office/drawing/2014/main" id="{27BD80B4-0EA1-384A-979C-DBA7D49D5E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8498" y="3758796"/>
              <a:ext cx="627906" cy="331234"/>
            </a:xfrm>
            <a:custGeom>
              <a:avLst/>
              <a:gdLst>
                <a:gd name="T0" fmla="*/ 889 w 963"/>
                <a:gd name="T1" fmla="*/ 397 h 505"/>
                <a:gd name="T2" fmla="*/ 865 w 963"/>
                <a:gd name="T3" fmla="*/ 416 h 505"/>
                <a:gd name="T4" fmla="*/ 892 w 963"/>
                <a:gd name="T5" fmla="*/ 430 h 505"/>
                <a:gd name="T6" fmla="*/ 910 w 963"/>
                <a:gd name="T7" fmla="*/ 456 h 505"/>
                <a:gd name="T8" fmla="*/ 806 w 963"/>
                <a:gd name="T9" fmla="*/ 489 h 505"/>
                <a:gd name="T10" fmla="*/ 656 w 963"/>
                <a:gd name="T11" fmla="*/ 435 h 505"/>
                <a:gd name="T12" fmla="*/ 608 w 963"/>
                <a:gd name="T13" fmla="*/ 467 h 505"/>
                <a:gd name="T14" fmla="*/ 311 w 963"/>
                <a:gd name="T15" fmla="*/ 504 h 505"/>
                <a:gd name="T16" fmla="*/ 279 w 963"/>
                <a:gd name="T17" fmla="*/ 458 h 505"/>
                <a:gd name="T18" fmla="*/ 178 w 963"/>
                <a:gd name="T19" fmla="*/ 448 h 505"/>
                <a:gd name="T20" fmla="*/ 92 w 963"/>
                <a:gd name="T21" fmla="*/ 385 h 505"/>
                <a:gd name="T22" fmla="*/ 270 w 963"/>
                <a:gd name="T23" fmla="*/ 343 h 505"/>
                <a:gd name="T24" fmla="*/ 330 w 963"/>
                <a:gd name="T25" fmla="*/ 339 h 505"/>
                <a:gd name="T26" fmla="*/ 284 w 963"/>
                <a:gd name="T27" fmla="*/ 320 h 505"/>
                <a:gd name="T28" fmla="*/ 187 w 963"/>
                <a:gd name="T29" fmla="*/ 320 h 505"/>
                <a:gd name="T30" fmla="*/ 46 w 963"/>
                <a:gd name="T31" fmla="*/ 287 h 505"/>
                <a:gd name="T32" fmla="*/ 119 w 963"/>
                <a:gd name="T33" fmla="*/ 249 h 505"/>
                <a:gd name="T34" fmla="*/ 56 w 963"/>
                <a:gd name="T35" fmla="*/ 247 h 505"/>
                <a:gd name="T36" fmla="*/ 0 w 963"/>
                <a:gd name="T37" fmla="*/ 211 h 505"/>
                <a:gd name="T38" fmla="*/ 233 w 963"/>
                <a:gd name="T39" fmla="*/ 55 h 505"/>
                <a:gd name="T40" fmla="*/ 264 w 963"/>
                <a:gd name="T41" fmla="*/ 119 h 505"/>
                <a:gd name="T42" fmla="*/ 321 w 963"/>
                <a:gd name="T43" fmla="*/ 86 h 505"/>
                <a:gd name="T44" fmla="*/ 403 w 963"/>
                <a:gd name="T45" fmla="*/ 141 h 505"/>
                <a:gd name="T46" fmla="*/ 458 w 963"/>
                <a:gd name="T47" fmla="*/ 128 h 505"/>
                <a:gd name="T48" fmla="*/ 490 w 963"/>
                <a:gd name="T49" fmla="*/ 95 h 505"/>
                <a:gd name="T50" fmla="*/ 550 w 963"/>
                <a:gd name="T51" fmla="*/ 146 h 505"/>
                <a:gd name="T52" fmla="*/ 581 w 963"/>
                <a:gd name="T53" fmla="*/ 214 h 505"/>
                <a:gd name="T54" fmla="*/ 605 w 963"/>
                <a:gd name="T55" fmla="*/ 199 h 505"/>
                <a:gd name="T56" fmla="*/ 563 w 963"/>
                <a:gd name="T57" fmla="*/ 73 h 505"/>
                <a:gd name="T58" fmla="*/ 596 w 963"/>
                <a:gd name="T59" fmla="*/ 49 h 505"/>
                <a:gd name="T60" fmla="*/ 647 w 963"/>
                <a:gd name="T61" fmla="*/ 49 h 505"/>
                <a:gd name="T62" fmla="*/ 645 w 963"/>
                <a:gd name="T63" fmla="*/ 31 h 505"/>
                <a:gd name="T64" fmla="*/ 700 w 963"/>
                <a:gd name="T65" fmla="*/ 0 h 505"/>
                <a:gd name="T66" fmla="*/ 764 w 963"/>
                <a:gd name="T67" fmla="*/ 40 h 505"/>
                <a:gd name="T68" fmla="*/ 724 w 963"/>
                <a:gd name="T69" fmla="*/ 101 h 505"/>
                <a:gd name="T70" fmla="*/ 773 w 963"/>
                <a:gd name="T71" fmla="*/ 256 h 505"/>
                <a:gd name="T72" fmla="*/ 962 w 963"/>
                <a:gd name="T73" fmla="*/ 383 h 505"/>
                <a:gd name="T74" fmla="*/ 889 w 963"/>
                <a:gd name="T75" fmla="*/ 39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3" h="505">
                  <a:moveTo>
                    <a:pt x="889" y="397"/>
                  </a:moveTo>
                  <a:lnTo>
                    <a:pt x="889" y="397"/>
                  </a:lnTo>
                  <a:cubicBezTo>
                    <a:pt x="874" y="397"/>
                    <a:pt x="865" y="403"/>
                    <a:pt x="865" y="416"/>
                  </a:cubicBezTo>
                  <a:lnTo>
                    <a:pt x="865" y="416"/>
                  </a:lnTo>
                  <a:cubicBezTo>
                    <a:pt x="865" y="430"/>
                    <a:pt x="885" y="430"/>
                    <a:pt x="892" y="430"/>
                  </a:cubicBezTo>
                  <a:lnTo>
                    <a:pt x="892" y="430"/>
                  </a:lnTo>
                  <a:cubicBezTo>
                    <a:pt x="894" y="445"/>
                    <a:pt x="904" y="451"/>
                    <a:pt x="910" y="456"/>
                  </a:cubicBezTo>
                  <a:lnTo>
                    <a:pt x="910" y="456"/>
                  </a:lnTo>
                  <a:cubicBezTo>
                    <a:pt x="894" y="491"/>
                    <a:pt x="852" y="489"/>
                    <a:pt x="806" y="489"/>
                  </a:cubicBezTo>
                  <a:lnTo>
                    <a:pt x="806" y="489"/>
                  </a:lnTo>
                  <a:cubicBezTo>
                    <a:pt x="735" y="489"/>
                    <a:pt x="709" y="435"/>
                    <a:pt x="656" y="435"/>
                  </a:cubicBezTo>
                  <a:lnTo>
                    <a:pt x="656" y="435"/>
                  </a:lnTo>
                  <a:cubicBezTo>
                    <a:pt x="623" y="435"/>
                    <a:pt x="636" y="454"/>
                    <a:pt x="608" y="467"/>
                  </a:cubicBezTo>
                  <a:lnTo>
                    <a:pt x="608" y="467"/>
                  </a:lnTo>
                  <a:cubicBezTo>
                    <a:pt x="561" y="491"/>
                    <a:pt x="515" y="476"/>
                    <a:pt x="477" y="504"/>
                  </a:cubicBezTo>
                  <a:lnTo>
                    <a:pt x="311" y="504"/>
                  </a:lnTo>
                  <a:lnTo>
                    <a:pt x="311" y="504"/>
                  </a:lnTo>
                  <a:cubicBezTo>
                    <a:pt x="280" y="504"/>
                    <a:pt x="300" y="474"/>
                    <a:pt x="279" y="458"/>
                  </a:cubicBezTo>
                  <a:lnTo>
                    <a:pt x="279" y="458"/>
                  </a:lnTo>
                  <a:cubicBezTo>
                    <a:pt x="259" y="443"/>
                    <a:pt x="203" y="448"/>
                    <a:pt x="178" y="448"/>
                  </a:cubicBezTo>
                  <a:lnTo>
                    <a:pt x="178" y="448"/>
                  </a:lnTo>
                  <a:cubicBezTo>
                    <a:pt x="138" y="448"/>
                    <a:pt x="105" y="407"/>
                    <a:pt x="92" y="385"/>
                  </a:cubicBezTo>
                  <a:lnTo>
                    <a:pt x="92" y="385"/>
                  </a:lnTo>
                  <a:cubicBezTo>
                    <a:pt x="136" y="352"/>
                    <a:pt x="192" y="343"/>
                    <a:pt x="270" y="343"/>
                  </a:cubicBezTo>
                  <a:lnTo>
                    <a:pt x="270" y="343"/>
                  </a:lnTo>
                  <a:cubicBezTo>
                    <a:pt x="297" y="343"/>
                    <a:pt x="308" y="340"/>
                    <a:pt x="330" y="339"/>
                  </a:cubicBezTo>
                  <a:lnTo>
                    <a:pt x="330" y="339"/>
                  </a:lnTo>
                  <a:cubicBezTo>
                    <a:pt x="318" y="332"/>
                    <a:pt x="302" y="320"/>
                    <a:pt x="284" y="320"/>
                  </a:cubicBezTo>
                  <a:lnTo>
                    <a:pt x="187" y="320"/>
                  </a:lnTo>
                  <a:lnTo>
                    <a:pt x="187" y="320"/>
                  </a:lnTo>
                  <a:cubicBezTo>
                    <a:pt x="147" y="320"/>
                    <a:pt x="46" y="339"/>
                    <a:pt x="46" y="287"/>
                  </a:cubicBezTo>
                  <a:lnTo>
                    <a:pt x="46" y="287"/>
                  </a:lnTo>
                  <a:cubicBezTo>
                    <a:pt x="46" y="247"/>
                    <a:pt x="99" y="262"/>
                    <a:pt x="119" y="249"/>
                  </a:cubicBezTo>
                  <a:lnTo>
                    <a:pt x="119" y="249"/>
                  </a:lnTo>
                  <a:cubicBezTo>
                    <a:pt x="90" y="242"/>
                    <a:pt x="79" y="247"/>
                    <a:pt x="56" y="247"/>
                  </a:cubicBezTo>
                  <a:lnTo>
                    <a:pt x="56" y="247"/>
                  </a:lnTo>
                  <a:cubicBezTo>
                    <a:pt x="35" y="247"/>
                    <a:pt x="0" y="220"/>
                    <a:pt x="0" y="211"/>
                  </a:cubicBezTo>
                  <a:lnTo>
                    <a:pt x="0" y="211"/>
                  </a:lnTo>
                  <a:cubicBezTo>
                    <a:pt x="0" y="121"/>
                    <a:pt x="167" y="55"/>
                    <a:pt x="233" y="55"/>
                  </a:cubicBezTo>
                  <a:lnTo>
                    <a:pt x="233" y="55"/>
                  </a:lnTo>
                  <a:cubicBezTo>
                    <a:pt x="259" y="55"/>
                    <a:pt x="257" y="108"/>
                    <a:pt x="264" y="119"/>
                  </a:cubicBezTo>
                  <a:lnTo>
                    <a:pt x="264" y="119"/>
                  </a:lnTo>
                  <a:cubicBezTo>
                    <a:pt x="279" y="110"/>
                    <a:pt x="292" y="86"/>
                    <a:pt x="321" y="86"/>
                  </a:cubicBezTo>
                  <a:lnTo>
                    <a:pt x="321" y="86"/>
                  </a:lnTo>
                  <a:cubicBezTo>
                    <a:pt x="372" y="86"/>
                    <a:pt x="390" y="108"/>
                    <a:pt x="403" y="141"/>
                  </a:cubicBezTo>
                  <a:lnTo>
                    <a:pt x="403" y="141"/>
                  </a:lnTo>
                  <a:cubicBezTo>
                    <a:pt x="424" y="137"/>
                    <a:pt x="438" y="134"/>
                    <a:pt x="458" y="128"/>
                  </a:cubicBezTo>
                  <a:lnTo>
                    <a:pt x="458" y="128"/>
                  </a:lnTo>
                  <a:cubicBezTo>
                    <a:pt x="457" y="111"/>
                    <a:pt x="452" y="106"/>
                    <a:pt x="449" y="95"/>
                  </a:cubicBezTo>
                  <a:lnTo>
                    <a:pt x="490" y="95"/>
                  </a:lnTo>
                  <a:lnTo>
                    <a:pt x="490" y="95"/>
                  </a:lnTo>
                  <a:cubicBezTo>
                    <a:pt x="515" y="103"/>
                    <a:pt x="541" y="127"/>
                    <a:pt x="550" y="146"/>
                  </a:cubicBezTo>
                  <a:lnTo>
                    <a:pt x="550" y="146"/>
                  </a:lnTo>
                  <a:cubicBezTo>
                    <a:pt x="561" y="168"/>
                    <a:pt x="548" y="214"/>
                    <a:pt x="581" y="214"/>
                  </a:cubicBezTo>
                  <a:lnTo>
                    <a:pt x="581" y="214"/>
                  </a:lnTo>
                  <a:cubicBezTo>
                    <a:pt x="596" y="214"/>
                    <a:pt x="596" y="207"/>
                    <a:pt x="605" y="199"/>
                  </a:cubicBezTo>
                  <a:lnTo>
                    <a:pt x="605" y="199"/>
                  </a:lnTo>
                  <a:cubicBezTo>
                    <a:pt x="590" y="176"/>
                    <a:pt x="563" y="90"/>
                    <a:pt x="563" y="73"/>
                  </a:cubicBezTo>
                  <a:lnTo>
                    <a:pt x="563" y="73"/>
                  </a:lnTo>
                  <a:cubicBezTo>
                    <a:pt x="563" y="59"/>
                    <a:pt x="581" y="49"/>
                    <a:pt x="596" y="49"/>
                  </a:cubicBezTo>
                  <a:lnTo>
                    <a:pt x="596" y="49"/>
                  </a:lnTo>
                  <a:cubicBezTo>
                    <a:pt x="629" y="49"/>
                    <a:pt x="617" y="64"/>
                    <a:pt x="647" y="49"/>
                  </a:cubicBezTo>
                  <a:lnTo>
                    <a:pt x="647" y="49"/>
                  </a:lnTo>
                  <a:cubicBezTo>
                    <a:pt x="645" y="44"/>
                    <a:pt x="645" y="37"/>
                    <a:pt x="645" y="31"/>
                  </a:cubicBezTo>
                  <a:lnTo>
                    <a:pt x="645" y="31"/>
                  </a:lnTo>
                  <a:cubicBezTo>
                    <a:pt x="645" y="13"/>
                    <a:pt x="671" y="0"/>
                    <a:pt x="700" y="0"/>
                  </a:cubicBezTo>
                  <a:lnTo>
                    <a:pt x="700" y="0"/>
                  </a:lnTo>
                  <a:cubicBezTo>
                    <a:pt x="733" y="0"/>
                    <a:pt x="764" y="13"/>
                    <a:pt x="764" y="40"/>
                  </a:cubicBezTo>
                  <a:lnTo>
                    <a:pt x="764" y="40"/>
                  </a:lnTo>
                  <a:cubicBezTo>
                    <a:pt x="764" y="68"/>
                    <a:pt x="724" y="84"/>
                    <a:pt x="724" y="101"/>
                  </a:cubicBezTo>
                  <a:lnTo>
                    <a:pt x="724" y="101"/>
                  </a:lnTo>
                  <a:cubicBezTo>
                    <a:pt x="724" y="166"/>
                    <a:pt x="773" y="209"/>
                    <a:pt x="773" y="256"/>
                  </a:cubicBezTo>
                  <a:lnTo>
                    <a:pt x="773" y="256"/>
                  </a:lnTo>
                  <a:cubicBezTo>
                    <a:pt x="773" y="315"/>
                    <a:pt x="927" y="355"/>
                    <a:pt x="962" y="383"/>
                  </a:cubicBezTo>
                  <a:lnTo>
                    <a:pt x="962" y="383"/>
                  </a:lnTo>
                  <a:cubicBezTo>
                    <a:pt x="929" y="405"/>
                    <a:pt x="922" y="397"/>
                    <a:pt x="889" y="39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2" name="Freeform 110">
              <a:extLst>
                <a:ext uri="{FF2B5EF4-FFF2-40B4-BE49-F238E27FC236}">
                  <a16:creationId xmlns:a16="http://schemas.microsoft.com/office/drawing/2014/main" id="{D181C2B4-FDB9-F846-8EEC-DFCF441ED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8074" y="3704070"/>
              <a:ext cx="351397" cy="233305"/>
            </a:xfrm>
            <a:custGeom>
              <a:avLst/>
              <a:gdLst>
                <a:gd name="T0" fmla="*/ 115 w 537"/>
                <a:gd name="T1" fmla="*/ 338 h 358"/>
                <a:gd name="T2" fmla="*/ 115 w 537"/>
                <a:gd name="T3" fmla="*/ 338 h 358"/>
                <a:gd name="T4" fmla="*/ 88 w 537"/>
                <a:gd name="T5" fmla="*/ 302 h 358"/>
                <a:gd name="T6" fmla="*/ 88 w 537"/>
                <a:gd name="T7" fmla="*/ 302 h 358"/>
                <a:gd name="T8" fmla="*/ 0 w 537"/>
                <a:gd name="T9" fmla="*/ 265 h 358"/>
                <a:gd name="T10" fmla="*/ 0 w 537"/>
                <a:gd name="T11" fmla="*/ 265 h 358"/>
                <a:gd name="T12" fmla="*/ 91 w 537"/>
                <a:gd name="T13" fmla="*/ 85 h 358"/>
                <a:gd name="T14" fmla="*/ 91 w 537"/>
                <a:gd name="T15" fmla="*/ 85 h 358"/>
                <a:gd name="T16" fmla="*/ 64 w 537"/>
                <a:gd name="T17" fmla="*/ 21 h 358"/>
                <a:gd name="T18" fmla="*/ 64 w 537"/>
                <a:gd name="T19" fmla="*/ 21 h 358"/>
                <a:gd name="T20" fmla="*/ 174 w 537"/>
                <a:gd name="T21" fmla="*/ 21 h 358"/>
                <a:gd name="T22" fmla="*/ 174 w 537"/>
                <a:gd name="T23" fmla="*/ 21 h 358"/>
                <a:gd name="T24" fmla="*/ 247 w 537"/>
                <a:gd name="T25" fmla="*/ 8 h 358"/>
                <a:gd name="T26" fmla="*/ 247 w 537"/>
                <a:gd name="T27" fmla="*/ 8 h 358"/>
                <a:gd name="T28" fmla="*/ 346 w 537"/>
                <a:gd name="T29" fmla="*/ 45 h 358"/>
                <a:gd name="T30" fmla="*/ 346 w 537"/>
                <a:gd name="T31" fmla="*/ 45 h 358"/>
                <a:gd name="T32" fmla="*/ 409 w 537"/>
                <a:gd name="T33" fmla="*/ 40 h 358"/>
                <a:gd name="T34" fmla="*/ 409 w 537"/>
                <a:gd name="T35" fmla="*/ 40 h 358"/>
                <a:gd name="T36" fmla="*/ 536 w 537"/>
                <a:gd name="T37" fmla="*/ 119 h 358"/>
                <a:gd name="T38" fmla="*/ 536 w 537"/>
                <a:gd name="T39" fmla="*/ 119 h 358"/>
                <a:gd name="T40" fmla="*/ 421 w 537"/>
                <a:gd name="T41" fmla="*/ 159 h 358"/>
                <a:gd name="T42" fmla="*/ 421 w 537"/>
                <a:gd name="T43" fmla="*/ 159 h 358"/>
                <a:gd name="T44" fmla="*/ 283 w 537"/>
                <a:gd name="T45" fmla="*/ 296 h 358"/>
                <a:gd name="T46" fmla="*/ 283 w 537"/>
                <a:gd name="T47" fmla="*/ 296 h 358"/>
                <a:gd name="T48" fmla="*/ 142 w 537"/>
                <a:gd name="T49" fmla="*/ 357 h 358"/>
                <a:gd name="T50" fmla="*/ 142 w 537"/>
                <a:gd name="T51" fmla="*/ 357 h 358"/>
                <a:gd name="T52" fmla="*/ 115 w 537"/>
                <a:gd name="T53" fmla="*/ 33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7" h="358">
                  <a:moveTo>
                    <a:pt x="115" y="338"/>
                  </a:moveTo>
                  <a:lnTo>
                    <a:pt x="115" y="338"/>
                  </a:lnTo>
                  <a:cubicBezTo>
                    <a:pt x="106" y="338"/>
                    <a:pt x="93" y="311"/>
                    <a:pt x="88" y="302"/>
                  </a:cubicBezTo>
                  <a:lnTo>
                    <a:pt x="88" y="302"/>
                  </a:lnTo>
                  <a:cubicBezTo>
                    <a:pt x="73" y="281"/>
                    <a:pt x="0" y="287"/>
                    <a:pt x="0" y="265"/>
                  </a:cubicBezTo>
                  <a:lnTo>
                    <a:pt x="0" y="265"/>
                  </a:lnTo>
                  <a:cubicBezTo>
                    <a:pt x="0" y="203"/>
                    <a:pt x="91" y="152"/>
                    <a:pt x="91" y="85"/>
                  </a:cubicBezTo>
                  <a:lnTo>
                    <a:pt x="91" y="85"/>
                  </a:lnTo>
                  <a:cubicBezTo>
                    <a:pt x="91" y="71"/>
                    <a:pt x="66" y="42"/>
                    <a:pt x="64" y="21"/>
                  </a:cubicBezTo>
                  <a:lnTo>
                    <a:pt x="64" y="21"/>
                  </a:lnTo>
                  <a:cubicBezTo>
                    <a:pt x="109" y="3"/>
                    <a:pt x="129" y="21"/>
                    <a:pt x="174" y="21"/>
                  </a:cubicBezTo>
                  <a:lnTo>
                    <a:pt x="174" y="21"/>
                  </a:lnTo>
                  <a:cubicBezTo>
                    <a:pt x="196" y="21"/>
                    <a:pt x="214" y="0"/>
                    <a:pt x="247" y="8"/>
                  </a:cubicBezTo>
                  <a:lnTo>
                    <a:pt x="247" y="8"/>
                  </a:lnTo>
                  <a:cubicBezTo>
                    <a:pt x="288" y="20"/>
                    <a:pt x="306" y="42"/>
                    <a:pt x="346" y="45"/>
                  </a:cubicBezTo>
                  <a:lnTo>
                    <a:pt x="346" y="45"/>
                  </a:lnTo>
                  <a:cubicBezTo>
                    <a:pt x="362" y="62"/>
                    <a:pt x="384" y="40"/>
                    <a:pt x="409" y="40"/>
                  </a:cubicBezTo>
                  <a:lnTo>
                    <a:pt x="409" y="40"/>
                  </a:lnTo>
                  <a:cubicBezTo>
                    <a:pt x="447" y="40"/>
                    <a:pt x="536" y="76"/>
                    <a:pt x="536" y="119"/>
                  </a:cubicBezTo>
                  <a:lnTo>
                    <a:pt x="536" y="119"/>
                  </a:lnTo>
                  <a:cubicBezTo>
                    <a:pt x="536" y="139"/>
                    <a:pt x="439" y="154"/>
                    <a:pt x="421" y="159"/>
                  </a:cubicBezTo>
                  <a:lnTo>
                    <a:pt x="421" y="159"/>
                  </a:lnTo>
                  <a:cubicBezTo>
                    <a:pt x="364" y="177"/>
                    <a:pt x="283" y="254"/>
                    <a:pt x="283" y="296"/>
                  </a:cubicBezTo>
                  <a:lnTo>
                    <a:pt x="283" y="296"/>
                  </a:lnTo>
                  <a:cubicBezTo>
                    <a:pt x="283" y="311"/>
                    <a:pt x="157" y="357"/>
                    <a:pt x="142" y="357"/>
                  </a:cubicBezTo>
                  <a:lnTo>
                    <a:pt x="142" y="357"/>
                  </a:lnTo>
                  <a:cubicBezTo>
                    <a:pt x="129" y="357"/>
                    <a:pt x="124" y="338"/>
                    <a:pt x="115" y="338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3" name="Freeform 111">
              <a:extLst>
                <a:ext uri="{FF2B5EF4-FFF2-40B4-BE49-F238E27FC236}">
                  <a16:creationId xmlns:a16="http://schemas.microsoft.com/office/drawing/2014/main" id="{4EBFEBC8-0D49-FC4A-9E1E-812570F41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7463" y="3542773"/>
              <a:ext cx="420524" cy="175699"/>
            </a:xfrm>
            <a:custGeom>
              <a:avLst/>
              <a:gdLst>
                <a:gd name="T0" fmla="*/ 219 w 642"/>
                <a:gd name="T1" fmla="*/ 269 h 270"/>
                <a:gd name="T2" fmla="*/ 168 w 642"/>
                <a:gd name="T3" fmla="*/ 242 h 270"/>
                <a:gd name="T4" fmla="*/ 219 w 642"/>
                <a:gd name="T5" fmla="*/ 220 h 270"/>
                <a:gd name="T6" fmla="*/ 188 w 642"/>
                <a:gd name="T7" fmla="*/ 178 h 270"/>
                <a:gd name="T8" fmla="*/ 168 w 642"/>
                <a:gd name="T9" fmla="*/ 202 h 270"/>
                <a:gd name="T10" fmla="*/ 91 w 642"/>
                <a:gd name="T11" fmla="*/ 215 h 270"/>
                <a:gd name="T12" fmla="*/ 27 w 642"/>
                <a:gd name="T13" fmla="*/ 202 h 270"/>
                <a:gd name="T14" fmla="*/ 0 w 642"/>
                <a:gd name="T15" fmla="*/ 174 h 270"/>
                <a:gd name="T16" fmla="*/ 0 w 642"/>
                <a:gd name="T17" fmla="*/ 147 h 270"/>
                <a:gd name="T18" fmla="*/ 45 w 642"/>
                <a:gd name="T19" fmla="*/ 128 h 270"/>
                <a:gd name="T20" fmla="*/ 128 w 642"/>
                <a:gd name="T21" fmla="*/ 147 h 270"/>
                <a:gd name="T22" fmla="*/ 45 w 642"/>
                <a:gd name="T23" fmla="*/ 96 h 270"/>
                <a:gd name="T24" fmla="*/ 77 w 642"/>
                <a:gd name="T25" fmla="*/ 96 h 270"/>
                <a:gd name="T26" fmla="*/ 159 w 642"/>
                <a:gd name="T27" fmla="*/ 108 h 270"/>
                <a:gd name="T28" fmla="*/ 67 w 642"/>
                <a:gd name="T29" fmla="*/ 88 h 270"/>
                <a:gd name="T30" fmla="*/ 104 w 642"/>
                <a:gd name="T31" fmla="*/ 68 h 270"/>
                <a:gd name="T32" fmla="*/ 150 w 642"/>
                <a:gd name="T33" fmla="*/ 73 h 270"/>
                <a:gd name="T34" fmla="*/ 95 w 642"/>
                <a:gd name="T35" fmla="*/ 50 h 270"/>
                <a:gd name="T36" fmla="*/ 155 w 642"/>
                <a:gd name="T37" fmla="*/ 50 h 270"/>
                <a:gd name="T38" fmla="*/ 186 w 642"/>
                <a:gd name="T39" fmla="*/ 77 h 270"/>
                <a:gd name="T40" fmla="*/ 228 w 642"/>
                <a:gd name="T41" fmla="*/ 77 h 270"/>
                <a:gd name="T42" fmla="*/ 403 w 642"/>
                <a:gd name="T43" fmla="*/ 147 h 270"/>
                <a:gd name="T44" fmla="*/ 443 w 642"/>
                <a:gd name="T45" fmla="*/ 123 h 270"/>
                <a:gd name="T46" fmla="*/ 406 w 642"/>
                <a:gd name="T47" fmla="*/ 117 h 270"/>
                <a:gd name="T48" fmla="*/ 424 w 642"/>
                <a:gd name="T49" fmla="*/ 86 h 270"/>
                <a:gd name="T50" fmla="*/ 378 w 642"/>
                <a:gd name="T51" fmla="*/ 59 h 270"/>
                <a:gd name="T52" fmla="*/ 445 w 642"/>
                <a:gd name="T53" fmla="*/ 0 h 270"/>
                <a:gd name="T54" fmla="*/ 480 w 642"/>
                <a:gd name="T55" fmla="*/ 13 h 270"/>
                <a:gd name="T56" fmla="*/ 480 w 642"/>
                <a:gd name="T57" fmla="*/ 37 h 270"/>
                <a:gd name="T58" fmla="*/ 549 w 642"/>
                <a:gd name="T59" fmla="*/ 104 h 270"/>
                <a:gd name="T60" fmla="*/ 599 w 642"/>
                <a:gd name="T61" fmla="*/ 82 h 270"/>
                <a:gd name="T62" fmla="*/ 641 w 642"/>
                <a:gd name="T63" fmla="*/ 128 h 270"/>
                <a:gd name="T64" fmla="*/ 581 w 642"/>
                <a:gd name="T65" fmla="*/ 215 h 270"/>
                <a:gd name="T66" fmla="*/ 461 w 642"/>
                <a:gd name="T67" fmla="*/ 211 h 270"/>
                <a:gd name="T68" fmla="*/ 339 w 642"/>
                <a:gd name="T69" fmla="*/ 242 h 270"/>
                <a:gd name="T70" fmla="*/ 219 w 642"/>
                <a:gd name="T71" fmla="*/ 26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2" h="270">
                  <a:moveTo>
                    <a:pt x="219" y="269"/>
                  </a:moveTo>
                  <a:lnTo>
                    <a:pt x="219" y="269"/>
                  </a:lnTo>
                  <a:cubicBezTo>
                    <a:pt x="198" y="269"/>
                    <a:pt x="168" y="253"/>
                    <a:pt x="168" y="242"/>
                  </a:cubicBezTo>
                  <a:lnTo>
                    <a:pt x="168" y="242"/>
                  </a:lnTo>
                  <a:cubicBezTo>
                    <a:pt x="168" y="215"/>
                    <a:pt x="195" y="220"/>
                    <a:pt x="219" y="220"/>
                  </a:cubicBezTo>
                  <a:lnTo>
                    <a:pt x="219" y="220"/>
                  </a:lnTo>
                  <a:cubicBezTo>
                    <a:pt x="208" y="205"/>
                    <a:pt x="192" y="196"/>
                    <a:pt x="188" y="178"/>
                  </a:cubicBezTo>
                  <a:lnTo>
                    <a:pt x="188" y="178"/>
                  </a:lnTo>
                  <a:cubicBezTo>
                    <a:pt x="177" y="179"/>
                    <a:pt x="168" y="191"/>
                    <a:pt x="168" y="202"/>
                  </a:cubicBezTo>
                  <a:lnTo>
                    <a:pt x="168" y="202"/>
                  </a:lnTo>
                  <a:cubicBezTo>
                    <a:pt x="137" y="205"/>
                    <a:pt x="113" y="215"/>
                    <a:pt x="91" y="215"/>
                  </a:cubicBezTo>
                  <a:lnTo>
                    <a:pt x="91" y="215"/>
                  </a:lnTo>
                  <a:cubicBezTo>
                    <a:pt x="67" y="215"/>
                    <a:pt x="40" y="202"/>
                    <a:pt x="27" y="202"/>
                  </a:cubicBezTo>
                  <a:lnTo>
                    <a:pt x="27" y="202"/>
                  </a:lnTo>
                  <a:cubicBezTo>
                    <a:pt x="12" y="202"/>
                    <a:pt x="0" y="189"/>
                    <a:pt x="0" y="174"/>
                  </a:cubicBezTo>
                  <a:lnTo>
                    <a:pt x="0" y="174"/>
                  </a:lnTo>
                  <a:cubicBezTo>
                    <a:pt x="0" y="156"/>
                    <a:pt x="7" y="159"/>
                    <a:pt x="0" y="147"/>
                  </a:cubicBezTo>
                  <a:lnTo>
                    <a:pt x="0" y="147"/>
                  </a:lnTo>
                  <a:cubicBezTo>
                    <a:pt x="18" y="143"/>
                    <a:pt x="27" y="128"/>
                    <a:pt x="45" y="128"/>
                  </a:cubicBezTo>
                  <a:lnTo>
                    <a:pt x="45" y="128"/>
                  </a:lnTo>
                  <a:cubicBezTo>
                    <a:pt x="82" y="128"/>
                    <a:pt x="100" y="145"/>
                    <a:pt x="128" y="147"/>
                  </a:cubicBezTo>
                  <a:lnTo>
                    <a:pt x="128" y="147"/>
                  </a:lnTo>
                  <a:cubicBezTo>
                    <a:pt x="96" y="143"/>
                    <a:pt x="69" y="132"/>
                    <a:pt x="45" y="123"/>
                  </a:cubicBezTo>
                  <a:lnTo>
                    <a:pt x="45" y="96"/>
                  </a:lnTo>
                  <a:lnTo>
                    <a:pt x="45" y="96"/>
                  </a:lnTo>
                  <a:cubicBezTo>
                    <a:pt x="60" y="94"/>
                    <a:pt x="77" y="96"/>
                    <a:pt x="77" y="96"/>
                  </a:cubicBezTo>
                  <a:lnTo>
                    <a:pt x="77" y="96"/>
                  </a:lnTo>
                  <a:cubicBezTo>
                    <a:pt x="84" y="96"/>
                    <a:pt x="141" y="107"/>
                    <a:pt x="159" y="108"/>
                  </a:cubicBezTo>
                  <a:lnTo>
                    <a:pt x="159" y="108"/>
                  </a:lnTo>
                  <a:cubicBezTo>
                    <a:pt x="124" y="101"/>
                    <a:pt x="93" y="104"/>
                    <a:pt x="67" y="88"/>
                  </a:cubicBezTo>
                  <a:lnTo>
                    <a:pt x="67" y="88"/>
                  </a:lnTo>
                  <a:cubicBezTo>
                    <a:pt x="74" y="77"/>
                    <a:pt x="89" y="68"/>
                    <a:pt x="104" y="68"/>
                  </a:cubicBezTo>
                  <a:lnTo>
                    <a:pt x="104" y="68"/>
                  </a:lnTo>
                  <a:cubicBezTo>
                    <a:pt x="128" y="68"/>
                    <a:pt x="133" y="76"/>
                    <a:pt x="150" y="73"/>
                  </a:cubicBezTo>
                  <a:lnTo>
                    <a:pt x="150" y="73"/>
                  </a:lnTo>
                  <a:cubicBezTo>
                    <a:pt x="128" y="76"/>
                    <a:pt x="95" y="71"/>
                    <a:pt x="95" y="50"/>
                  </a:cubicBezTo>
                  <a:lnTo>
                    <a:pt x="95" y="50"/>
                  </a:lnTo>
                  <a:cubicBezTo>
                    <a:pt x="128" y="44"/>
                    <a:pt x="139" y="50"/>
                    <a:pt x="155" y="50"/>
                  </a:cubicBezTo>
                  <a:lnTo>
                    <a:pt x="155" y="50"/>
                  </a:lnTo>
                  <a:cubicBezTo>
                    <a:pt x="162" y="50"/>
                    <a:pt x="185" y="55"/>
                    <a:pt x="186" y="77"/>
                  </a:cubicBezTo>
                  <a:lnTo>
                    <a:pt x="228" y="77"/>
                  </a:lnTo>
                  <a:lnTo>
                    <a:pt x="228" y="77"/>
                  </a:lnTo>
                  <a:cubicBezTo>
                    <a:pt x="283" y="77"/>
                    <a:pt x="322" y="147"/>
                    <a:pt x="403" y="147"/>
                  </a:cubicBezTo>
                  <a:lnTo>
                    <a:pt x="403" y="147"/>
                  </a:lnTo>
                  <a:cubicBezTo>
                    <a:pt x="426" y="147"/>
                    <a:pt x="436" y="139"/>
                    <a:pt x="443" y="123"/>
                  </a:cubicBezTo>
                  <a:lnTo>
                    <a:pt x="443" y="123"/>
                  </a:lnTo>
                  <a:cubicBezTo>
                    <a:pt x="422" y="123"/>
                    <a:pt x="414" y="121"/>
                    <a:pt x="406" y="117"/>
                  </a:cubicBezTo>
                  <a:lnTo>
                    <a:pt x="406" y="117"/>
                  </a:lnTo>
                  <a:cubicBezTo>
                    <a:pt x="408" y="114"/>
                    <a:pt x="419" y="110"/>
                    <a:pt x="424" y="110"/>
                  </a:cubicBezTo>
                  <a:lnTo>
                    <a:pt x="424" y="86"/>
                  </a:lnTo>
                  <a:lnTo>
                    <a:pt x="424" y="86"/>
                  </a:lnTo>
                  <a:cubicBezTo>
                    <a:pt x="412" y="84"/>
                    <a:pt x="378" y="76"/>
                    <a:pt x="378" y="59"/>
                  </a:cubicBezTo>
                  <a:lnTo>
                    <a:pt x="378" y="59"/>
                  </a:lnTo>
                  <a:cubicBezTo>
                    <a:pt x="378" y="29"/>
                    <a:pt x="426" y="15"/>
                    <a:pt x="445" y="0"/>
                  </a:cubicBezTo>
                  <a:lnTo>
                    <a:pt x="445" y="0"/>
                  </a:lnTo>
                  <a:cubicBezTo>
                    <a:pt x="456" y="7"/>
                    <a:pt x="467" y="13"/>
                    <a:pt x="480" y="13"/>
                  </a:cubicBezTo>
                  <a:lnTo>
                    <a:pt x="480" y="13"/>
                  </a:lnTo>
                  <a:cubicBezTo>
                    <a:pt x="478" y="27"/>
                    <a:pt x="480" y="33"/>
                    <a:pt x="480" y="37"/>
                  </a:cubicBezTo>
                  <a:lnTo>
                    <a:pt x="480" y="37"/>
                  </a:lnTo>
                  <a:cubicBezTo>
                    <a:pt x="480" y="64"/>
                    <a:pt x="514" y="104"/>
                    <a:pt x="549" y="104"/>
                  </a:cubicBezTo>
                  <a:lnTo>
                    <a:pt x="549" y="104"/>
                  </a:lnTo>
                  <a:cubicBezTo>
                    <a:pt x="566" y="104"/>
                    <a:pt x="575" y="82"/>
                    <a:pt x="599" y="82"/>
                  </a:cubicBezTo>
                  <a:lnTo>
                    <a:pt x="599" y="82"/>
                  </a:lnTo>
                  <a:cubicBezTo>
                    <a:pt x="621" y="82"/>
                    <a:pt x="641" y="107"/>
                    <a:pt x="641" y="128"/>
                  </a:cubicBezTo>
                  <a:lnTo>
                    <a:pt x="641" y="128"/>
                  </a:lnTo>
                  <a:cubicBezTo>
                    <a:pt x="641" y="154"/>
                    <a:pt x="597" y="209"/>
                    <a:pt x="581" y="215"/>
                  </a:cubicBezTo>
                  <a:lnTo>
                    <a:pt x="581" y="215"/>
                  </a:lnTo>
                  <a:cubicBezTo>
                    <a:pt x="569" y="218"/>
                    <a:pt x="461" y="205"/>
                    <a:pt x="461" y="211"/>
                  </a:cubicBezTo>
                  <a:lnTo>
                    <a:pt x="461" y="211"/>
                  </a:lnTo>
                  <a:cubicBezTo>
                    <a:pt x="461" y="215"/>
                    <a:pt x="344" y="240"/>
                    <a:pt x="339" y="242"/>
                  </a:cubicBezTo>
                  <a:lnTo>
                    <a:pt x="339" y="242"/>
                  </a:lnTo>
                  <a:cubicBezTo>
                    <a:pt x="302" y="256"/>
                    <a:pt x="265" y="269"/>
                    <a:pt x="219" y="269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4" name="Freeform 112">
              <a:extLst>
                <a:ext uri="{FF2B5EF4-FFF2-40B4-BE49-F238E27FC236}">
                  <a16:creationId xmlns:a16="http://schemas.microsoft.com/office/drawing/2014/main" id="{A10B087A-521D-1145-B384-9482E3236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976" y="3606141"/>
              <a:ext cx="57606" cy="43205"/>
            </a:xfrm>
            <a:custGeom>
              <a:avLst/>
              <a:gdLst>
                <a:gd name="T0" fmla="*/ 31 w 87"/>
                <a:gd name="T1" fmla="*/ 65 h 66"/>
                <a:gd name="T2" fmla="*/ 31 w 87"/>
                <a:gd name="T3" fmla="*/ 65 h 66"/>
                <a:gd name="T4" fmla="*/ 0 w 87"/>
                <a:gd name="T5" fmla="*/ 44 h 66"/>
                <a:gd name="T6" fmla="*/ 0 w 87"/>
                <a:gd name="T7" fmla="*/ 44 h 66"/>
                <a:gd name="T8" fmla="*/ 86 w 87"/>
                <a:gd name="T9" fmla="*/ 2 h 66"/>
                <a:gd name="T10" fmla="*/ 86 w 87"/>
                <a:gd name="T11" fmla="*/ 2 h 66"/>
                <a:gd name="T12" fmla="*/ 31 w 87"/>
                <a:gd name="T13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66">
                  <a:moveTo>
                    <a:pt x="31" y="65"/>
                  </a:moveTo>
                  <a:lnTo>
                    <a:pt x="31" y="65"/>
                  </a:lnTo>
                  <a:cubicBezTo>
                    <a:pt x="16" y="65"/>
                    <a:pt x="0" y="56"/>
                    <a:pt x="0" y="44"/>
                  </a:cubicBezTo>
                  <a:lnTo>
                    <a:pt x="0" y="44"/>
                  </a:lnTo>
                  <a:cubicBezTo>
                    <a:pt x="0" y="14"/>
                    <a:pt x="67" y="0"/>
                    <a:pt x="86" y="2"/>
                  </a:cubicBezTo>
                  <a:lnTo>
                    <a:pt x="86" y="2"/>
                  </a:lnTo>
                  <a:cubicBezTo>
                    <a:pt x="82" y="27"/>
                    <a:pt x="55" y="65"/>
                    <a:pt x="31" y="65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5" name="Freeform 113">
              <a:extLst>
                <a:ext uri="{FF2B5EF4-FFF2-40B4-BE49-F238E27FC236}">
                  <a16:creationId xmlns:a16="http://schemas.microsoft.com/office/drawing/2014/main" id="{3A7FD41A-3FB1-9449-BDA5-2E781A3F7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9633" y="3545655"/>
              <a:ext cx="43205" cy="14401"/>
            </a:xfrm>
            <a:custGeom>
              <a:avLst/>
              <a:gdLst>
                <a:gd name="T0" fmla="*/ 23 w 65"/>
                <a:gd name="T1" fmla="*/ 23 h 24"/>
                <a:gd name="T2" fmla="*/ 23 w 65"/>
                <a:gd name="T3" fmla="*/ 23 h 24"/>
                <a:gd name="T4" fmla="*/ 0 w 65"/>
                <a:gd name="T5" fmla="*/ 0 h 24"/>
                <a:gd name="T6" fmla="*/ 64 w 65"/>
                <a:gd name="T7" fmla="*/ 0 h 24"/>
                <a:gd name="T8" fmla="*/ 64 w 65"/>
                <a:gd name="T9" fmla="*/ 23 h 24"/>
                <a:gd name="T10" fmla="*/ 23 w 65"/>
                <a:gd name="T1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24">
                  <a:moveTo>
                    <a:pt x="23" y="23"/>
                  </a:moveTo>
                  <a:lnTo>
                    <a:pt x="23" y="23"/>
                  </a:lnTo>
                  <a:cubicBezTo>
                    <a:pt x="14" y="23"/>
                    <a:pt x="0" y="16"/>
                    <a:pt x="0" y="0"/>
                  </a:cubicBezTo>
                  <a:lnTo>
                    <a:pt x="64" y="0"/>
                  </a:lnTo>
                  <a:lnTo>
                    <a:pt x="64" y="23"/>
                  </a:lnTo>
                  <a:lnTo>
                    <a:pt x="23" y="23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6" name="Freeform 114">
              <a:extLst>
                <a:ext uri="{FF2B5EF4-FFF2-40B4-BE49-F238E27FC236}">
                  <a16:creationId xmlns:a16="http://schemas.microsoft.com/office/drawing/2014/main" id="{DDBB4BE8-39FE-114F-95FA-DB675645F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6004" y="3490928"/>
              <a:ext cx="239064" cy="132494"/>
            </a:xfrm>
            <a:custGeom>
              <a:avLst/>
              <a:gdLst>
                <a:gd name="T0" fmla="*/ 366 w 367"/>
                <a:gd name="T1" fmla="*/ 34 h 205"/>
                <a:gd name="T2" fmla="*/ 366 w 367"/>
                <a:gd name="T3" fmla="*/ 34 h 205"/>
                <a:gd name="T4" fmla="*/ 342 w 367"/>
                <a:gd name="T5" fmla="*/ 62 h 205"/>
                <a:gd name="T6" fmla="*/ 342 w 367"/>
                <a:gd name="T7" fmla="*/ 62 h 205"/>
                <a:gd name="T8" fmla="*/ 357 w 367"/>
                <a:gd name="T9" fmla="*/ 99 h 205"/>
                <a:gd name="T10" fmla="*/ 278 w 367"/>
                <a:gd name="T11" fmla="*/ 158 h 205"/>
                <a:gd name="T12" fmla="*/ 278 w 367"/>
                <a:gd name="T13" fmla="*/ 158 h 205"/>
                <a:gd name="T14" fmla="*/ 232 w 367"/>
                <a:gd name="T15" fmla="*/ 107 h 205"/>
                <a:gd name="T16" fmla="*/ 232 w 367"/>
                <a:gd name="T17" fmla="*/ 107 h 205"/>
                <a:gd name="T18" fmla="*/ 170 w 367"/>
                <a:gd name="T19" fmla="*/ 163 h 205"/>
                <a:gd name="T20" fmla="*/ 170 w 367"/>
                <a:gd name="T21" fmla="*/ 163 h 205"/>
                <a:gd name="T22" fmla="*/ 131 w 367"/>
                <a:gd name="T23" fmla="*/ 204 h 205"/>
                <a:gd name="T24" fmla="*/ 131 w 367"/>
                <a:gd name="T25" fmla="*/ 204 h 205"/>
                <a:gd name="T26" fmla="*/ 100 w 367"/>
                <a:gd name="T27" fmla="*/ 177 h 205"/>
                <a:gd name="T28" fmla="*/ 100 w 367"/>
                <a:gd name="T29" fmla="*/ 177 h 205"/>
                <a:gd name="T30" fmla="*/ 49 w 367"/>
                <a:gd name="T31" fmla="*/ 177 h 205"/>
                <a:gd name="T32" fmla="*/ 49 w 367"/>
                <a:gd name="T33" fmla="*/ 177 h 205"/>
                <a:gd name="T34" fmla="*/ 18 w 367"/>
                <a:gd name="T35" fmla="*/ 191 h 205"/>
                <a:gd name="T36" fmla="*/ 18 w 367"/>
                <a:gd name="T37" fmla="*/ 191 h 205"/>
                <a:gd name="T38" fmla="*/ 0 w 367"/>
                <a:gd name="T39" fmla="*/ 163 h 205"/>
                <a:gd name="T40" fmla="*/ 0 w 367"/>
                <a:gd name="T41" fmla="*/ 163 h 205"/>
                <a:gd name="T42" fmla="*/ 40 w 367"/>
                <a:gd name="T43" fmla="*/ 131 h 205"/>
                <a:gd name="T44" fmla="*/ 40 w 367"/>
                <a:gd name="T45" fmla="*/ 131 h 205"/>
                <a:gd name="T46" fmla="*/ 128 w 367"/>
                <a:gd name="T47" fmla="*/ 94 h 205"/>
                <a:gd name="T48" fmla="*/ 128 w 367"/>
                <a:gd name="T49" fmla="*/ 94 h 205"/>
                <a:gd name="T50" fmla="*/ 223 w 367"/>
                <a:gd name="T51" fmla="*/ 26 h 205"/>
                <a:gd name="T52" fmla="*/ 223 w 367"/>
                <a:gd name="T53" fmla="*/ 26 h 205"/>
                <a:gd name="T54" fmla="*/ 257 w 367"/>
                <a:gd name="T55" fmla="*/ 30 h 205"/>
                <a:gd name="T56" fmla="*/ 257 w 367"/>
                <a:gd name="T57" fmla="*/ 30 h 205"/>
                <a:gd name="T58" fmla="*/ 366 w 367"/>
                <a:gd name="T59" fmla="*/ 3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7" h="205">
                  <a:moveTo>
                    <a:pt x="366" y="34"/>
                  </a:moveTo>
                  <a:lnTo>
                    <a:pt x="366" y="34"/>
                  </a:lnTo>
                  <a:cubicBezTo>
                    <a:pt x="366" y="46"/>
                    <a:pt x="355" y="59"/>
                    <a:pt x="342" y="62"/>
                  </a:cubicBezTo>
                  <a:lnTo>
                    <a:pt x="342" y="62"/>
                  </a:lnTo>
                  <a:cubicBezTo>
                    <a:pt x="344" y="81"/>
                    <a:pt x="357" y="85"/>
                    <a:pt x="357" y="99"/>
                  </a:cubicBezTo>
                  <a:lnTo>
                    <a:pt x="278" y="158"/>
                  </a:lnTo>
                  <a:lnTo>
                    <a:pt x="278" y="158"/>
                  </a:lnTo>
                  <a:cubicBezTo>
                    <a:pt x="247" y="158"/>
                    <a:pt x="249" y="116"/>
                    <a:pt x="232" y="107"/>
                  </a:cubicBezTo>
                  <a:lnTo>
                    <a:pt x="232" y="107"/>
                  </a:lnTo>
                  <a:cubicBezTo>
                    <a:pt x="229" y="138"/>
                    <a:pt x="201" y="167"/>
                    <a:pt x="170" y="163"/>
                  </a:cubicBezTo>
                  <a:lnTo>
                    <a:pt x="170" y="163"/>
                  </a:lnTo>
                  <a:cubicBezTo>
                    <a:pt x="166" y="183"/>
                    <a:pt x="152" y="204"/>
                    <a:pt x="131" y="204"/>
                  </a:cubicBezTo>
                  <a:lnTo>
                    <a:pt x="131" y="204"/>
                  </a:lnTo>
                  <a:cubicBezTo>
                    <a:pt x="117" y="204"/>
                    <a:pt x="104" y="183"/>
                    <a:pt x="100" y="177"/>
                  </a:cubicBezTo>
                  <a:lnTo>
                    <a:pt x="100" y="177"/>
                  </a:lnTo>
                  <a:cubicBezTo>
                    <a:pt x="78" y="188"/>
                    <a:pt x="67" y="177"/>
                    <a:pt x="49" y="177"/>
                  </a:cubicBezTo>
                  <a:lnTo>
                    <a:pt x="49" y="177"/>
                  </a:lnTo>
                  <a:cubicBezTo>
                    <a:pt x="38" y="177"/>
                    <a:pt x="33" y="189"/>
                    <a:pt x="18" y="191"/>
                  </a:cubicBezTo>
                  <a:lnTo>
                    <a:pt x="18" y="191"/>
                  </a:lnTo>
                  <a:cubicBezTo>
                    <a:pt x="15" y="178"/>
                    <a:pt x="0" y="169"/>
                    <a:pt x="0" y="163"/>
                  </a:cubicBezTo>
                  <a:lnTo>
                    <a:pt x="0" y="163"/>
                  </a:lnTo>
                  <a:cubicBezTo>
                    <a:pt x="0" y="160"/>
                    <a:pt x="33" y="134"/>
                    <a:pt x="40" y="131"/>
                  </a:cubicBezTo>
                  <a:lnTo>
                    <a:pt x="40" y="131"/>
                  </a:lnTo>
                  <a:cubicBezTo>
                    <a:pt x="69" y="116"/>
                    <a:pt x="97" y="112"/>
                    <a:pt x="128" y="94"/>
                  </a:cubicBezTo>
                  <a:lnTo>
                    <a:pt x="128" y="94"/>
                  </a:lnTo>
                  <a:cubicBezTo>
                    <a:pt x="163" y="74"/>
                    <a:pt x="172" y="26"/>
                    <a:pt x="223" y="26"/>
                  </a:cubicBezTo>
                  <a:lnTo>
                    <a:pt x="223" y="26"/>
                  </a:lnTo>
                  <a:cubicBezTo>
                    <a:pt x="238" y="26"/>
                    <a:pt x="240" y="28"/>
                    <a:pt x="257" y="30"/>
                  </a:cubicBezTo>
                  <a:lnTo>
                    <a:pt x="257" y="30"/>
                  </a:lnTo>
                  <a:cubicBezTo>
                    <a:pt x="257" y="30"/>
                    <a:pt x="366" y="0"/>
                    <a:pt x="366" y="3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7" name="Freeform 115">
              <a:extLst>
                <a:ext uri="{FF2B5EF4-FFF2-40B4-BE49-F238E27FC236}">
                  <a16:creationId xmlns:a16="http://schemas.microsoft.com/office/drawing/2014/main" id="{176CCDDA-4360-AD42-BDE9-5A812522F3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716" y="3404519"/>
              <a:ext cx="138255" cy="43205"/>
            </a:xfrm>
            <a:custGeom>
              <a:avLst/>
              <a:gdLst>
                <a:gd name="T0" fmla="*/ 82 w 211"/>
                <a:gd name="T1" fmla="*/ 65 h 66"/>
                <a:gd name="T2" fmla="*/ 82 w 211"/>
                <a:gd name="T3" fmla="*/ 65 h 66"/>
                <a:gd name="T4" fmla="*/ 36 w 211"/>
                <a:gd name="T5" fmla="*/ 50 h 66"/>
                <a:gd name="T6" fmla="*/ 36 w 211"/>
                <a:gd name="T7" fmla="*/ 50 h 66"/>
                <a:gd name="T8" fmla="*/ 0 w 211"/>
                <a:gd name="T9" fmla="*/ 65 h 66"/>
                <a:gd name="T10" fmla="*/ 0 w 211"/>
                <a:gd name="T11" fmla="*/ 65 h 66"/>
                <a:gd name="T12" fmla="*/ 133 w 211"/>
                <a:gd name="T13" fmla="*/ 0 h 66"/>
                <a:gd name="T14" fmla="*/ 133 w 211"/>
                <a:gd name="T15" fmla="*/ 0 h 66"/>
                <a:gd name="T16" fmla="*/ 210 w 211"/>
                <a:gd name="T17" fmla="*/ 46 h 66"/>
                <a:gd name="T18" fmla="*/ 210 w 211"/>
                <a:gd name="T19" fmla="*/ 46 h 66"/>
                <a:gd name="T20" fmla="*/ 161 w 211"/>
                <a:gd name="T21" fmla="*/ 65 h 66"/>
                <a:gd name="T22" fmla="*/ 82 w 211"/>
                <a:gd name="T23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1" h="66">
                  <a:moveTo>
                    <a:pt x="82" y="65"/>
                  </a:moveTo>
                  <a:lnTo>
                    <a:pt x="82" y="65"/>
                  </a:lnTo>
                  <a:cubicBezTo>
                    <a:pt x="61" y="65"/>
                    <a:pt x="55" y="50"/>
                    <a:pt x="36" y="50"/>
                  </a:cubicBezTo>
                  <a:lnTo>
                    <a:pt x="36" y="50"/>
                  </a:lnTo>
                  <a:cubicBezTo>
                    <a:pt x="22" y="50"/>
                    <a:pt x="14" y="63"/>
                    <a:pt x="0" y="65"/>
                  </a:cubicBezTo>
                  <a:lnTo>
                    <a:pt x="0" y="65"/>
                  </a:lnTo>
                  <a:cubicBezTo>
                    <a:pt x="0" y="40"/>
                    <a:pt x="110" y="0"/>
                    <a:pt x="133" y="0"/>
                  </a:cubicBezTo>
                  <a:lnTo>
                    <a:pt x="133" y="0"/>
                  </a:lnTo>
                  <a:cubicBezTo>
                    <a:pt x="172" y="0"/>
                    <a:pt x="203" y="22"/>
                    <a:pt x="210" y="46"/>
                  </a:cubicBezTo>
                  <a:lnTo>
                    <a:pt x="210" y="46"/>
                  </a:lnTo>
                  <a:cubicBezTo>
                    <a:pt x="196" y="53"/>
                    <a:pt x="183" y="65"/>
                    <a:pt x="161" y="65"/>
                  </a:cubicBezTo>
                  <a:lnTo>
                    <a:pt x="82" y="65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8" name="Freeform 116">
              <a:extLst>
                <a:ext uri="{FF2B5EF4-FFF2-40B4-BE49-F238E27FC236}">
                  <a16:creationId xmlns:a16="http://schemas.microsoft.com/office/drawing/2014/main" id="{3D387439-4A2B-4F44-8F87-FF7CDD8E9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8598" y="3453485"/>
              <a:ext cx="120973" cy="63367"/>
            </a:xfrm>
            <a:custGeom>
              <a:avLst/>
              <a:gdLst>
                <a:gd name="T0" fmla="*/ 156 w 185"/>
                <a:gd name="T1" fmla="*/ 40 h 96"/>
                <a:gd name="T2" fmla="*/ 156 w 185"/>
                <a:gd name="T3" fmla="*/ 40 h 96"/>
                <a:gd name="T4" fmla="*/ 59 w 185"/>
                <a:gd name="T5" fmla="*/ 95 h 96"/>
                <a:gd name="T6" fmla="*/ 59 w 185"/>
                <a:gd name="T7" fmla="*/ 95 h 96"/>
                <a:gd name="T8" fmla="*/ 0 w 185"/>
                <a:gd name="T9" fmla="*/ 46 h 96"/>
                <a:gd name="T10" fmla="*/ 0 w 185"/>
                <a:gd name="T11" fmla="*/ 46 h 96"/>
                <a:gd name="T12" fmla="*/ 151 w 185"/>
                <a:gd name="T13" fmla="*/ 0 h 96"/>
                <a:gd name="T14" fmla="*/ 151 w 185"/>
                <a:gd name="T15" fmla="*/ 0 h 96"/>
                <a:gd name="T16" fmla="*/ 184 w 185"/>
                <a:gd name="T17" fmla="*/ 18 h 96"/>
                <a:gd name="T18" fmla="*/ 184 w 185"/>
                <a:gd name="T19" fmla="*/ 18 h 96"/>
                <a:gd name="T20" fmla="*/ 105 w 185"/>
                <a:gd name="T21" fmla="*/ 40 h 96"/>
                <a:gd name="T22" fmla="*/ 156 w 185"/>
                <a:gd name="T23" fmla="*/ 4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5" h="96">
                  <a:moveTo>
                    <a:pt x="156" y="40"/>
                  </a:moveTo>
                  <a:lnTo>
                    <a:pt x="156" y="40"/>
                  </a:lnTo>
                  <a:cubicBezTo>
                    <a:pt x="159" y="79"/>
                    <a:pt x="99" y="95"/>
                    <a:pt x="59" y="95"/>
                  </a:cubicBezTo>
                  <a:lnTo>
                    <a:pt x="59" y="95"/>
                  </a:lnTo>
                  <a:cubicBezTo>
                    <a:pt x="31" y="95"/>
                    <a:pt x="0" y="62"/>
                    <a:pt x="0" y="46"/>
                  </a:cubicBezTo>
                  <a:lnTo>
                    <a:pt x="0" y="46"/>
                  </a:lnTo>
                  <a:cubicBezTo>
                    <a:pt x="0" y="3"/>
                    <a:pt x="112" y="0"/>
                    <a:pt x="151" y="0"/>
                  </a:cubicBezTo>
                  <a:lnTo>
                    <a:pt x="151" y="0"/>
                  </a:lnTo>
                  <a:cubicBezTo>
                    <a:pt x="171" y="0"/>
                    <a:pt x="178" y="11"/>
                    <a:pt x="184" y="18"/>
                  </a:cubicBezTo>
                  <a:lnTo>
                    <a:pt x="184" y="18"/>
                  </a:lnTo>
                  <a:cubicBezTo>
                    <a:pt x="164" y="34"/>
                    <a:pt x="132" y="40"/>
                    <a:pt x="105" y="40"/>
                  </a:cubicBezTo>
                  <a:lnTo>
                    <a:pt x="156" y="40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89" name="Freeform 117">
              <a:extLst>
                <a:ext uri="{FF2B5EF4-FFF2-40B4-BE49-F238E27FC236}">
                  <a16:creationId xmlns:a16="http://schemas.microsoft.com/office/drawing/2014/main" id="{72EE07E4-6CFA-A041-9896-73E6467E6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3872" y="3444843"/>
              <a:ext cx="43205" cy="48966"/>
            </a:xfrm>
            <a:custGeom>
              <a:avLst/>
              <a:gdLst>
                <a:gd name="T0" fmla="*/ 63 w 64"/>
                <a:gd name="T1" fmla="*/ 51 h 74"/>
                <a:gd name="T2" fmla="*/ 63 w 64"/>
                <a:gd name="T3" fmla="*/ 51 h 74"/>
                <a:gd name="T4" fmla="*/ 37 w 64"/>
                <a:gd name="T5" fmla="*/ 73 h 74"/>
                <a:gd name="T6" fmla="*/ 37 w 64"/>
                <a:gd name="T7" fmla="*/ 73 h 74"/>
                <a:gd name="T8" fmla="*/ 0 w 64"/>
                <a:gd name="T9" fmla="*/ 46 h 74"/>
                <a:gd name="T10" fmla="*/ 0 w 64"/>
                <a:gd name="T11" fmla="*/ 46 h 74"/>
                <a:gd name="T12" fmla="*/ 63 w 64"/>
                <a:gd name="T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4">
                  <a:moveTo>
                    <a:pt x="63" y="51"/>
                  </a:moveTo>
                  <a:lnTo>
                    <a:pt x="63" y="51"/>
                  </a:lnTo>
                  <a:cubicBezTo>
                    <a:pt x="55" y="62"/>
                    <a:pt x="50" y="73"/>
                    <a:pt x="37" y="73"/>
                  </a:cubicBezTo>
                  <a:lnTo>
                    <a:pt x="37" y="73"/>
                  </a:lnTo>
                  <a:cubicBezTo>
                    <a:pt x="21" y="73"/>
                    <a:pt x="0" y="55"/>
                    <a:pt x="0" y="46"/>
                  </a:cubicBezTo>
                  <a:lnTo>
                    <a:pt x="0" y="46"/>
                  </a:lnTo>
                  <a:cubicBezTo>
                    <a:pt x="0" y="0"/>
                    <a:pt x="52" y="46"/>
                    <a:pt x="63" y="51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0" name="Freeform 118">
              <a:extLst>
                <a:ext uri="{FF2B5EF4-FFF2-40B4-BE49-F238E27FC236}">
                  <a16:creationId xmlns:a16="http://schemas.microsoft.com/office/drawing/2014/main" id="{2A4143FF-24D7-3740-A924-64F97C0BF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4558" y="3755916"/>
              <a:ext cx="204501" cy="167058"/>
            </a:xfrm>
            <a:custGeom>
              <a:avLst/>
              <a:gdLst>
                <a:gd name="T0" fmla="*/ 276 w 313"/>
                <a:gd name="T1" fmla="*/ 95 h 256"/>
                <a:gd name="T2" fmla="*/ 276 w 313"/>
                <a:gd name="T3" fmla="*/ 95 h 256"/>
                <a:gd name="T4" fmla="*/ 269 w 313"/>
                <a:gd name="T5" fmla="*/ 123 h 256"/>
                <a:gd name="T6" fmla="*/ 269 w 313"/>
                <a:gd name="T7" fmla="*/ 123 h 256"/>
                <a:gd name="T8" fmla="*/ 312 w 313"/>
                <a:gd name="T9" fmla="*/ 132 h 256"/>
                <a:gd name="T10" fmla="*/ 312 w 313"/>
                <a:gd name="T11" fmla="*/ 132 h 256"/>
                <a:gd name="T12" fmla="*/ 238 w 313"/>
                <a:gd name="T13" fmla="*/ 228 h 256"/>
                <a:gd name="T14" fmla="*/ 238 w 313"/>
                <a:gd name="T15" fmla="*/ 228 h 256"/>
                <a:gd name="T16" fmla="*/ 202 w 313"/>
                <a:gd name="T17" fmla="*/ 255 h 256"/>
                <a:gd name="T18" fmla="*/ 202 w 313"/>
                <a:gd name="T19" fmla="*/ 255 h 256"/>
                <a:gd name="T20" fmla="*/ 162 w 313"/>
                <a:gd name="T21" fmla="*/ 224 h 256"/>
                <a:gd name="T22" fmla="*/ 162 w 313"/>
                <a:gd name="T23" fmla="*/ 224 h 256"/>
                <a:gd name="T24" fmla="*/ 0 w 313"/>
                <a:gd name="T25" fmla="*/ 127 h 256"/>
                <a:gd name="T26" fmla="*/ 0 w 313"/>
                <a:gd name="T27" fmla="*/ 95 h 256"/>
                <a:gd name="T28" fmla="*/ 0 w 313"/>
                <a:gd name="T29" fmla="*/ 95 h 256"/>
                <a:gd name="T30" fmla="*/ 83 w 313"/>
                <a:gd name="T31" fmla="*/ 118 h 256"/>
                <a:gd name="T32" fmla="*/ 110 w 313"/>
                <a:gd name="T33" fmla="*/ 118 h 256"/>
                <a:gd name="T34" fmla="*/ 110 w 313"/>
                <a:gd name="T35" fmla="*/ 68 h 256"/>
                <a:gd name="T36" fmla="*/ 110 w 313"/>
                <a:gd name="T37" fmla="*/ 68 h 256"/>
                <a:gd name="T38" fmla="*/ 52 w 313"/>
                <a:gd name="T39" fmla="*/ 44 h 256"/>
                <a:gd name="T40" fmla="*/ 52 w 313"/>
                <a:gd name="T41" fmla="*/ 44 h 256"/>
                <a:gd name="T42" fmla="*/ 65 w 313"/>
                <a:gd name="T43" fmla="*/ 29 h 256"/>
                <a:gd name="T44" fmla="*/ 65 w 313"/>
                <a:gd name="T45" fmla="*/ 29 h 256"/>
                <a:gd name="T46" fmla="*/ 175 w 313"/>
                <a:gd name="T47" fmla="*/ 7 h 256"/>
                <a:gd name="T48" fmla="*/ 248 w 313"/>
                <a:gd name="T49" fmla="*/ 7 h 256"/>
                <a:gd name="T50" fmla="*/ 248 w 313"/>
                <a:gd name="T51" fmla="*/ 7 h 256"/>
                <a:gd name="T52" fmla="*/ 266 w 313"/>
                <a:gd name="T53" fmla="*/ 26 h 256"/>
                <a:gd name="T54" fmla="*/ 266 w 313"/>
                <a:gd name="T55" fmla="*/ 26 h 256"/>
                <a:gd name="T56" fmla="*/ 207 w 313"/>
                <a:gd name="T57" fmla="*/ 94 h 256"/>
                <a:gd name="T58" fmla="*/ 207 w 313"/>
                <a:gd name="T59" fmla="*/ 94 h 256"/>
                <a:gd name="T60" fmla="*/ 276 w 313"/>
                <a:gd name="T61" fmla="*/ 9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3" h="256">
                  <a:moveTo>
                    <a:pt x="276" y="95"/>
                  </a:moveTo>
                  <a:lnTo>
                    <a:pt x="276" y="95"/>
                  </a:lnTo>
                  <a:cubicBezTo>
                    <a:pt x="276" y="121"/>
                    <a:pt x="269" y="105"/>
                    <a:pt x="269" y="123"/>
                  </a:cubicBezTo>
                  <a:lnTo>
                    <a:pt x="269" y="123"/>
                  </a:lnTo>
                  <a:cubicBezTo>
                    <a:pt x="277" y="125"/>
                    <a:pt x="301" y="128"/>
                    <a:pt x="312" y="132"/>
                  </a:cubicBezTo>
                  <a:lnTo>
                    <a:pt x="312" y="132"/>
                  </a:lnTo>
                  <a:cubicBezTo>
                    <a:pt x="303" y="232"/>
                    <a:pt x="297" y="205"/>
                    <a:pt x="238" y="228"/>
                  </a:cubicBezTo>
                  <a:lnTo>
                    <a:pt x="238" y="228"/>
                  </a:lnTo>
                  <a:cubicBezTo>
                    <a:pt x="222" y="233"/>
                    <a:pt x="218" y="255"/>
                    <a:pt x="202" y="255"/>
                  </a:cubicBezTo>
                  <a:lnTo>
                    <a:pt x="202" y="255"/>
                  </a:lnTo>
                  <a:cubicBezTo>
                    <a:pt x="176" y="255"/>
                    <a:pt x="173" y="235"/>
                    <a:pt x="162" y="224"/>
                  </a:cubicBezTo>
                  <a:lnTo>
                    <a:pt x="162" y="224"/>
                  </a:lnTo>
                  <a:cubicBezTo>
                    <a:pt x="110" y="172"/>
                    <a:pt x="54" y="180"/>
                    <a:pt x="0" y="127"/>
                  </a:cubicBezTo>
                  <a:lnTo>
                    <a:pt x="0" y="95"/>
                  </a:lnTo>
                  <a:lnTo>
                    <a:pt x="0" y="95"/>
                  </a:lnTo>
                  <a:cubicBezTo>
                    <a:pt x="24" y="95"/>
                    <a:pt x="52" y="118"/>
                    <a:pt x="83" y="118"/>
                  </a:cubicBezTo>
                  <a:lnTo>
                    <a:pt x="110" y="118"/>
                  </a:lnTo>
                  <a:lnTo>
                    <a:pt x="110" y="68"/>
                  </a:lnTo>
                  <a:lnTo>
                    <a:pt x="110" y="68"/>
                  </a:lnTo>
                  <a:cubicBezTo>
                    <a:pt x="86" y="64"/>
                    <a:pt x="52" y="68"/>
                    <a:pt x="52" y="44"/>
                  </a:cubicBezTo>
                  <a:lnTo>
                    <a:pt x="52" y="44"/>
                  </a:lnTo>
                  <a:cubicBezTo>
                    <a:pt x="52" y="39"/>
                    <a:pt x="63" y="35"/>
                    <a:pt x="65" y="29"/>
                  </a:cubicBezTo>
                  <a:lnTo>
                    <a:pt x="65" y="29"/>
                  </a:lnTo>
                  <a:cubicBezTo>
                    <a:pt x="94" y="0"/>
                    <a:pt x="134" y="7"/>
                    <a:pt x="175" y="7"/>
                  </a:cubicBezTo>
                  <a:lnTo>
                    <a:pt x="248" y="7"/>
                  </a:lnTo>
                  <a:lnTo>
                    <a:pt x="248" y="7"/>
                  </a:lnTo>
                  <a:cubicBezTo>
                    <a:pt x="253" y="7"/>
                    <a:pt x="266" y="17"/>
                    <a:pt x="266" y="26"/>
                  </a:cubicBezTo>
                  <a:lnTo>
                    <a:pt x="266" y="26"/>
                  </a:lnTo>
                  <a:cubicBezTo>
                    <a:pt x="266" y="63"/>
                    <a:pt x="220" y="77"/>
                    <a:pt x="207" y="94"/>
                  </a:cubicBezTo>
                  <a:lnTo>
                    <a:pt x="207" y="94"/>
                  </a:lnTo>
                  <a:cubicBezTo>
                    <a:pt x="222" y="92"/>
                    <a:pt x="276" y="76"/>
                    <a:pt x="276" y="95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1" name="Freeform 119">
              <a:extLst>
                <a:ext uri="{FF2B5EF4-FFF2-40B4-BE49-F238E27FC236}">
                  <a16:creationId xmlns:a16="http://schemas.microsoft.com/office/drawing/2014/main" id="{6DC04267-A6FB-B44C-8D41-0BCC90BEC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2550" y="3560055"/>
              <a:ext cx="227545" cy="120973"/>
            </a:xfrm>
            <a:custGeom>
              <a:avLst/>
              <a:gdLst>
                <a:gd name="T0" fmla="*/ 18 w 349"/>
                <a:gd name="T1" fmla="*/ 44 h 186"/>
                <a:gd name="T2" fmla="*/ 18 w 349"/>
                <a:gd name="T3" fmla="*/ 44 h 186"/>
                <a:gd name="T4" fmla="*/ 0 w 349"/>
                <a:gd name="T5" fmla="*/ 7 h 186"/>
                <a:gd name="T6" fmla="*/ 21 w 349"/>
                <a:gd name="T7" fmla="*/ 7 h 186"/>
                <a:gd name="T8" fmla="*/ 21 w 349"/>
                <a:gd name="T9" fmla="*/ 7 h 186"/>
                <a:gd name="T10" fmla="*/ 159 w 349"/>
                <a:gd name="T11" fmla="*/ 84 h 186"/>
                <a:gd name="T12" fmla="*/ 159 w 349"/>
                <a:gd name="T13" fmla="*/ 84 h 186"/>
                <a:gd name="T14" fmla="*/ 122 w 349"/>
                <a:gd name="T15" fmla="*/ 53 h 186"/>
                <a:gd name="T16" fmla="*/ 122 w 349"/>
                <a:gd name="T17" fmla="*/ 31 h 186"/>
                <a:gd name="T18" fmla="*/ 122 w 349"/>
                <a:gd name="T19" fmla="*/ 31 h 186"/>
                <a:gd name="T20" fmla="*/ 223 w 349"/>
                <a:gd name="T21" fmla="*/ 72 h 186"/>
                <a:gd name="T22" fmla="*/ 223 w 349"/>
                <a:gd name="T23" fmla="*/ 31 h 186"/>
                <a:gd name="T24" fmla="*/ 223 w 349"/>
                <a:gd name="T25" fmla="*/ 31 h 186"/>
                <a:gd name="T26" fmla="*/ 159 w 349"/>
                <a:gd name="T27" fmla="*/ 5 h 186"/>
                <a:gd name="T28" fmla="*/ 159 w 349"/>
                <a:gd name="T29" fmla="*/ 5 h 186"/>
                <a:gd name="T30" fmla="*/ 192 w 349"/>
                <a:gd name="T31" fmla="*/ 3 h 186"/>
                <a:gd name="T32" fmla="*/ 192 w 349"/>
                <a:gd name="T33" fmla="*/ 3 h 186"/>
                <a:gd name="T34" fmla="*/ 275 w 349"/>
                <a:gd name="T35" fmla="*/ 22 h 186"/>
                <a:gd name="T36" fmla="*/ 275 w 349"/>
                <a:gd name="T37" fmla="*/ 22 h 186"/>
                <a:gd name="T38" fmla="*/ 311 w 349"/>
                <a:gd name="T39" fmla="*/ 7 h 186"/>
                <a:gd name="T40" fmla="*/ 311 w 349"/>
                <a:gd name="T41" fmla="*/ 7 h 186"/>
                <a:gd name="T42" fmla="*/ 348 w 349"/>
                <a:gd name="T43" fmla="*/ 53 h 186"/>
                <a:gd name="T44" fmla="*/ 348 w 349"/>
                <a:gd name="T45" fmla="*/ 53 h 186"/>
                <a:gd name="T46" fmla="*/ 333 w 349"/>
                <a:gd name="T47" fmla="*/ 168 h 186"/>
                <a:gd name="T48" fmla="*/ 333 w 349"/>
                <a:gd name="T49" fmla="*/ 168 h 186"/>
                <a:gd name="T50" fmla="*/ 260 w 349"/>
                <a:gd name="T51" fmla="*/ 178 h 186"/>
                <a:gd name="T52" fmla="*/ 260 w 349"/>
                <a:gd name="T53" fmla="*/ 178 h 186"/>
                <a:gd name="T54" fmla="*/ 201 w 349"/>
                <a:gd name="T55" fmla="*/ 168 h 186"/>
                <a:gd name="T56" fmla="*/ 201 w 349"/>
                <a:gd name="T57" fmla="*/ 168 h 186"/>
                <a:gd name="T58" fmla="*/ 214 w 349"/>
                <a:gd name="T59" fmla="*/ 150 h 186"/>
                <a:gd name="T60" fmla="*/ 214 w 349"/>
                <a:gd name="T61" fmla="*/ 150 h 186"/>
                <a:gd name="T62" fmla="*/ 214 w 349"/>
                <a:gd name="T63" fmla="*/ 132 h 186"/>
                <a:gd name="T64" fmla="*/ 214 w 349"/>
                <a:gd name="T65" fmla="*/ 132 h 186"/>
                <a:gd name="T66" fmla="*/ 260 w 349"/>
                <a:gd name="T67" fmla="*/ 104 h 186"/>
                <a:gd name="T68" fmla="*/ 260 w 349"/>
                <a:gd name="T69" fmla="*/ 104 h 186"/>
                <a:gd name="T70" fmla="*/ 238 w 349"/>
                <a:gd name="T71" fmla="*/ 99 h 186"/>
                <a:gd name="T72" fmla="*/ 238 w 349"/>
                <a:gd name="T73" fmla="*/ 99 h 186"/>
                <a:gd name="T74" fmla="*/ 104 w 349"/>
                <a:gd name="T75" fmla="*/ 117 h 186"/>
                <a:gd name="T76" fmla="*/ 104 w 349"/>
                <a:gd name="T77" fmla="*/ 117 h 186"/>
                <a:gd name="T78" fmla="*/ 82 w 349"/>
                <a:gd name="T79" fmla="*/ 95 h 186"/>
                <a:gd name="T80" fmla="*/ 55 w 349"/>
                <a:gd name="T81" fmla="*/ 95 h 186"/>
                <a:gd name="T82" fmla="*/ 49 w 349"/>
                <a:gd name="T83" fmla="*/ 77 h 186"/>
                <a:gd name="T84" fmla="*/ 49 w 349"/>
                <a:gd name="T85" fmla="*/ 77 h 186"/>
                <a:gd name="T86" fmla="*/ 3 w 349"/>
                <a:gd name="T87" fmla="*/ 58 h 186"/>
                <a:gd name="T88" fmla="*/ 3 w 349"/>
                <a:gd name="T89" fmla="*/ 26 h 186"/>
                <a:gd name="T90" fmla="*/ 18 w 349"/>
                <a:gd name="T91" fmla="*/ 4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9" h="186">
                  <a:moveTo>
                    <a:pt x="18" y="44"/>
                  </a:moveTo>
                  <a:lnTo>
                    <a:pt x="18" y="44"/>
                  </a:lnTo>
                  <a:cubicBezTo>
                    <a:pt x="11" y="35"/>
                    <a:pt x="0" y="26"/>
                    <a:pt x="0" y="7"/>
                  </a:cubicBezTo>
                  <a:lnTo>
                    <a:pt x="21" y="7"/>
                  </a:lnTo>
                  <a:lnTo>
                    <a:pt x="21" y="7"/>
                  </a:lnTo>
                  <a:cubicBezTo>
                    <a:pt x="75" y="7"/>
                    <a:pt x="102" y="101"/>
                    <a:pt x="159" y="84"/>
                  </a:cubicBezTo>
                  <a:lnTo>
                    <a:pt x="159" y="84"/>
                  </a:lnTo>
                  <a:cubicBezTo>
                    <a:pt x="145" y="75"/>
                    <a:pt x="129" y="62"/>
                    <a:pt x="122" y="53"/>
                  </a:cubicBezTo>
                  <a:lnTo>
                    <a:pt x="122" y="31"/>
                  </a:lnTo>
                  <a:lnTo>
                    <a:pt x="122" y="31"/>
                  </a:lnTo>
                  <a:cubicBezTo>
                    <a:pt x="163" y="31"/>
                    <a:pt x="178" y="72"/>
                    <a:pt x="223" y="72"/>
                  </a:cubicBezTo>
                  <a:lnTo>
                    <a:pt x="223" y="31"/>
                  </a:lnTo>
                  <a:lnTo>
                    <a:pt x="223" y="31"/>
                  </a:lnTo>
                  <a:cubicBezTo>
                    <a:pt x="192" y="31"/>
                    <a:pt x="167" y="31"/>
                    <a:pt x="159" y="5"/>
                  </a:cubicBezTo>
                  <a:lnTo>
                    <a:pt x="159" y="5"/>
                  </a:lnTo>
                  <a:cubicBezTo>
                    <a:pt x="172" y="0"/>
                    <a:pt x="179" y="3"/>
                    <a:pt x="192" y="3"/>
                  </a:cubicBezTo>
                  <a:lnTo>
                    <a:pt x="192" y="3"/>
                  </a:lnTo>
                  <a:cubicBezTo>
                    <a:pt x="222" y="3"/>
                    <a:pt x="240" y="22"/>
                    <a:pt x="275" y="22"/>
                  </a:cubicBezTo>
                  <a:lnTo>
                    <a:pt x="275" y="22"/>
                  </a:lnTo>
                  <a:cubicBezTo>
                    <a:pt x="289" y="22"/>
                    <a:pt x="297" y="7"/>
                    <a:pt x="311" y="7"/>
                  </a:cubicBezTo>
                  <a:lnTo>
                    <a:pt x="311" y="7"/>
                  </a:lnTo>
                  <a:cubicBezTo>
                    <a:pt x="344" y="7"/>
                    <a:pt x="348" y="26"/>
                    <a:pt x="348" y="53"/>
                  </a:cubicBezTo>
                  <a:lnTo>
                    <a:pt x="348" y="53"/>
                  </a:lnTo>
                  <a:cubicBezTo>
                    <a:pt x="348" y="95"/>
                    <a:pt x="326" y="117"/>
                    <a:pt x="333" y="168"/>
                  </a:cubicBezTo>
                  <a:lnTo>
                    <a:pt x="333" y="168"/>
                  </a:lnTo>
                  <a:cubicBezTo>
                    <a:pt x="306" y="178"/>
                    <a:pt x="265" y="178"/>
                    <a:pt x="260" y="178"/>
                  </a:cubicBezTo>
                  <a:lnTo>
                    <a:pt x="260" y="178"/>
                  </a:lnTo>
                  <a:cubicBezTo>
                    <a:pt x="249" y="178"/>
                    <a:pt x="201" y="185"/>
                    <a:pt x="201" y="168"/>
                  </a:cubicBezTo>
                  <a:lnTo>
                    <a:pt x="201" y="168"/>
                  </a:lnTo>
                  <a:cubicBezTo>
                    <a:pt x="201" y="161"/>
                    <a:pt x="207" y="154"/>
                    <a:pt x="214" y="150"/>
                  </a:cubicBezTo>
                  <a:lnTo>
                    <a:pt x="214" y="150"/>
                  </a:lnTo>
                  <a:cubicBezTo>
                    <a:pt x="212" y="145"/>
                    <a:pt x="212" y="137"/>
                    <a:pt x="214" y="132"/>
                  </a:cubicBezTo>
                  <a:lnTo>
                    <a:pt x="214" y="132"/>
                  </a:lnTo>
                  <a:cubicBezTo>
                    <a:pt x="214" y="115"/>
                    <a:pt x="249" y="115"/>
                    <a:pt x="260" y="104"/>
                  </a:cubicBezTo>
                  <a:lnTo>
                    <a:pt x="260" y="104"/>
                  </a:lnTo>
                  <a:cubicBezTo>
                    <a:pt x="255" y="101"/>
                    <a:pt x="245" y="99"/>
                    <a:pt x="238" y="99"/>
                  </a:cubicBezTo>
                  <a:lnTo>
                    <a:pt x="238" y="99"/>
                  </a:lnTo>
                  <a:cubicBezTo>
                    <a:pt x="205" y="99"/>
                    <a:pt x="140" y="117"/>
                    <a:pt x="104" y="117"/>
                  </a:cubicBezTo>
                  <a:lnTo>
                    <a:pt x="104" y="117"/>
                  </a:lnTo>
                  <a:cubicBezTo>
                    <a:pt x="91" y="117"/>
                    <a:pt x="82" y="106"/>
                    <a:pt x="82" y="95"/>
                  </a:cubicBezTo>
                  <a:lnTo>
                    <a:pt x="55" y="95"/>
                  </a:lnTo>
                  <a:lnTo>
                    <a:pt x="49" y="77"/>
                  </a:lnTo>
                  <a:lnTo>
                    <a:pt x="49" y="77"/>
                  </a:lnTo>
                  <a:cubicBezTo>
                    <a:pt x="31" y="83"/>
                    <a:pt x="18" y="70"/>
                    <a:pt x="3" y="58"/>
                  </a:cubicBezTo>
                  <a:lnTo>
                    <a:pt x="3" y="26"/>
                  </a:lnTo>
                  <a:lnTo>
                    <a:pt x="18" y="44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2" name="Freeform 120">
              <a:extLst>
                <a:ext uri="{FF2B5EF4-FFF2-40B4-BE49-F238E27FC236}">
                  <a16:creationId xmlns:a16="http://schemas.microsoft.com/office/drawing/2014/main" id="{D9200BDD-316C-EA46-9B0E-DDBC6A074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5369" y="4015143"/>
              <a:ext cx="135375" cy="80648"/>
            </a:xfrm>
            <a:custGeom>
              <a:avLst/>
              <a:gdLst>
                <a:gd name="T0" fmla="*/ 160 w 207"/>
                <a:gd name="T1" fmla="*/ 123 h 124"/>
                <a:gd name="T2" fmla="*/ 160 w 207"/>
                <a:gd name="T3" fmla="*/ 123 h 124"/>
                <a:gd name="T4" fmla="*/ 0 w 207"/>
                <a:gd name="T5" fmla="*/ 67 h 124"/>
                <a:gd name="T6" fmla="*/ 0 w 207"/>
                <a:gd name="T7" fmla="*/ 67 h 124"/>
                <a:gd name="T8" fmla="*/ 41 w 207"/>
                <a:gd name="T9" fmla="*/ 59 h 124"/>
                <a:gd name="T10" fmla="*/ 41 w 207"/>
                <a:gd name="T11" fmla="*/ 59 h 124"/>
                <a:gd name="T12" fmla="*/ 92 w 207"/>
                <a:gd name="T13" fmla="*/ 0 h 124"/>
                <a:gd name="T14" fmla="*/ 92 w 207"/>
                <a:gd name="T15" fmla="*/ 0 h 124"/>
                <a:gd name="T16" fmla="*/ 206 w 207"/>
                <a:gd name="T17" fmla="*/ 93 h 124"/>
                <a:gd name="T18" fmla="*/ 206 w 207"/>
                <a:gd name="T19" fmla="*/ 93 h 124"/>
                <a:gd name="T20" fmla="*/ 160 w 207"/>
                <a:gd name="T21" fmla="*/ 12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" h="124">
                  <a:moveTo>
                    <a:pt x="160" y="123"/>
                  </a:moveTo>
                  <a:lnTo>
                    <a:pt x="160" y="123"/>
                  </a:lnTo>
                  <a:cubicBezTo>
                    <a:pt x="136" y="123"/>
                    <a:pt x="0" y="73"/>
                    <a:pt x="0" y="67"/>
                  </a:cubicBezTo>
                  <a:lnTo>
                    <a:pt x="0" y="67"/>
                  </a:lnTo>
                  <a:cubicBezTo>
                    <a:pt x="0" y="53"/>
                    <a:pt x="34" y="60"/>
                    <a:pt x="41" y="59"/>
                  </a:cubicBezTo>
                  <a:lnTo>
                    <a:pt x="41" y="59"/>
                  </a:lnTo>
                  <a:cubicBezTo>
                    <a:pt x="62" y="51"/>
                    <a:pt x="55" y="0"/>
                    <a:pt x="92" y="0"/>
                  </a:cubicBezTo>
                  <a:lnTo>
                    <a:pt x="92" y="0"/>
                  </a:lnTo>
                  <a:cubicBezTo>
                    <a:pt x="119" y="0"/>
                    <a:pt x="195" y="67"/>
                    <a:pt x="206" y="93"/>
                  </a:cubicBezTo>
                  <a:lnTo>
                    <a:pt x="206" y="93"/>
                  </a:lnTo>
                  <a:cubicBezTo>
                    <a:pt x="187" y="104"/>
                    <a:pt x="180" y="123"/>
                    <a:pt x="160" y="123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3" name="Freeform 121">
              <a:extLst>
                <a:ext uri="{FF2B5EF4-FFF2-40B4-BE49-F238E27FC236}">
                  <a16:creationId xmlns:a16="http://schemas.microsoft.com/office/drawing/2014/main" id="{68397AA3-D58F-9941-845B-EFE2B0813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2102" y="3735755"/>
              <a:ext cx="178579" cy="144015"/>
            </a:xfrm>
            <a:custGeom>
              <a:avLst/>
              <a:gdLst>
                <a:gd name="T0" fmla="*/ 272 w 273"/>
                <a:gd name="T1" fmla="*/ 46 h 221"/>
                <a:gd name="T2" fmla="*/ 272 w 273"/>
                <a:gd name="T3" fmla="*/ 46 h 221"/>
                <a:gd name="T4" fmla="*/ 239 w 273"/>
                <a:gd name="T5" fmla="*/ 74 h 221"/>
                <a:gd name="T6" fmla="*/ 239 w 273"/>
                <a:gd name="T7" fmla="*/ 74 h 221"/>
                <a:gd name="T8" fmla="*/ 134 w 273"/>
                <a:gd name="T9" fmla="*/ 147 h 221"/>
                <a:gd name="T10" fmla="*/ 134 w 273"/>
                <a:gd name="T11" fmla="*/ 147 h 221"/>
                <a:gd name="T12" fmla="*/ 83 w 273"/>
                <a:gd name="T13" fmla="*/ 160 h 221"/>
                <a:gd name="T14" fmla="*/ 107 w 273"/>
                <a:gd name="T15" fmla="*/ 160 h 221"/>
                <a:gd name="T16" fmla="*/ 107 w 273"/>
                <a:gd name="T17" fmla="*/ 160 h 221"/>
                <a:gd name="T18" fmla="*/ 64 w 273"/>
                <a:gd name="T19" fmla="*/ 220 h 221"/>
                <a:gd name="T20" fmla="*/ 28 w 273"/>
                <a:gd name="T21" fmla="*/ 220 h 221"/>
                <a:gd name="T22" fmla="*/ 28 w 273"/>
                <a:gd name="T23" fmla="*/ 220 h 221"/>
                <a:gd name="T24" fmla="*/ 30 w 273"/>
                <a:gd name="T25" fmla="*/ 165 h 221"/>
                <a:gd name="T26" fmla="*/ 30 w 273"/>
                <a:gd name="T27" fmla="*/ 165 h 221"/>
                <a:gd name="T28" fmla="*/ 0 w 273"/>
                <a:gd name="T29" fmla="*/ 77 h 221"/>
                <a:gd name="T30" fmla="*/ 0 w 273"/>
                <a:gd name="T31" fmla="*/ 46 h 221"/>
                <a:gd name="T32" fmla="*/ 42 w 273"/>
                <a:gd name="T33" fmla="*/ 46 h 221"/>
                <a:gd name="T34" fmla="*/ 42 w 273"/>
                <a:gd name="T35" fmla="*/ 46 h 221"/>
                <a:gd name="T36" fmla="*/ 42 w 273"/>
                <a:gd name="T37" fmla="*/ 28 h 221"/>
                <a:gd name="T38" fmla="*/ 42 w 273"/>
                <a:gd name="T39" fmla="*/ 28 h 221"/>
                <a:gd name="T40" fmla="*/ 92 w 273"/>
                <a:gd name="T41" fmla="*/ 0 h 221"/>
                <a:gd name="T42" fmla="*/ 92 w 273"/>
                <a:gd name="T43" fmla="*/ 0 h 221"/>
                <a:gd name="T44" fmla="*/ 272 w 273"/>
                <a:gd name="T45" fmla="*/ 22 h 221"/>
                <a:gd name="T46" fmla="*/ 272 w 273"/>
                <a:gd name="T47" fmla="*/ 22 h 221"/>
                <a:gd name="T48" fmla="*/ 272 w 273"/>
                <a:gd name="T49" fmla="*/ 46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73" h="221">
                  <a:moveTo>
                    <a:pt x="272" y="46"/>
                  </a:moveTo>
                  <a:lnTo>
                    <a:pt x="272" y="46"/>
                  </a:lnTo>
                  <a:cubicBezTo>
                    <a:pt x="272" y="50"/>
                    <a:pt x="239" y="74"/>
                    <a:pt x="239" y="74"/>
                  </a:cubicBezTo>
                  <a:lnTo>
                    <a:pt x="239" y="74"/>
                  </a:lnTo>
                  <a:cubicBezTo>
                    <a:pt x="215" y="107"/>
                    <a:pt x="189" y="147"/>
                    <a:pt x="134" y="147"/>
                  </a:cubicBezTo>
                  <a:lnTo>
                    <a:pt x="134" y="147"/>
                  </a:lnTo>
                  <a:cubicBezTo>
                    <a:pt x="94" y="147"/>
                    <a:pt x="94" y="123"/>
                    <a:pt x="83" y="160"/>
                  </a:cubicBezTo>
                  <a:lnTo>
                    <a:pt x="107" y="160"/>
                  </a:lnTo>
                  <a:lnTo>
                    <a:pt x="107" y="160"/>
                  </a:lnTo>
                  <a:cubicBezTo>
                    <a:pt x="101" y="192"/>
                    <a:pt x="87" y="198"/>
                    <a:pt x="64" y="220"/>
                  </a:cubicBezTo>
                  <a:lnTo>
                    <a:pt x="28" y="220"/>
                  </a:lnTo>
                  <a:lnTo>
                    <a:pt x="28" y="220"/>
                  </a:lnTo>
                  <a:cubicBezTo>
                    <a:pt x="28" y="197"/>
                    <a:pt x="28" y="174"/>
                    <a:pt x="30" y="165"/>
                  </a:cubicBezTo>
                  <a:lnTo>
                    <a:pt x="30" y="165"/>
                  </a:lnTo>
                  <a:cubicBezTo>
                    <a:pt x="0" y="136"/>
                    <a:pt x="13" y="114"/>
                    <a:pt x="0" y="77"/>
                  </a:cubicBezTo>
                  <a:lnTo>
                    <a:pt x="0" y="46"/>
                  </a:lnTo>
                  <a:lnTo>
                    <a:pt x="42" y="46"/>
                  </a:lnTo>
                  <a:lnTo>
                    <a:pt x="42" y="46"/>
                  </a:lnTo>
                  <a:cubicBezTo>
                    <a:pt x="39" y="44"/>
                    <a:pt x="42" y="33"/>
                    <a:pt x="42" y="28"/>
                  </a:cubicBezTo>
                  <a:lnTo>
                    <a:pt x="42" y="28"/>
                  </a:lnTo>
                  <a:cubicBezTo>
                    <a:pt x="42" y="26"/>
                    <a:pt x="54" y="0"/>
                    <a:pt x="92" y="0"/>
                  </a:cubicBezTo>
                  <a:lnTo>
                    <a:pt x="92" y="0"/>
                  </a:lnTo>
                  <a:cubicBezTo>
                    <a:pt x="154" y="0"/>
                    <a:pt x="206" y="22"/>
                    <a:pt x="272" y="22"/>
                  </a:cubicBezTo>
                  <a:lnTo>
                    <a:pt x="272" y="22"/>
                  </a:lnTo>
                  <a:cubicBezTo>
                    <a:pt x="270" y="31"/>
                    <a:pt x="272" y="37"/>
                    <a:pt x="272" y="46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4" name="Freeform 122">
              <a:extLst>
                <a:ext uri="{FF2B5EF4-FFF2-40B4-BE49-F238E27FC236}">
                  <a16:creationId xmlns:a16="http://schemas.microsoft.com/office/drawing/2014/main" id="{04DA72AC-C432-D140-8D46-3A8E1730C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4944" y="3479406"/>
              <a:ext cx="57606" cy="48966"/>
            </a:xfrm>
            <a:custGeom>
              <a:avLst/>
              <a:gdLst>
                <a:gd name="T0" fmla="*/ 89 w 90"/>
                <a:gd name="T1" fmla="*/ 52 h 74"/>
                <a:gd name="T2" fmla="*/ 89 w 90"/>
                <a:gd name="T3" fmla="*/ 52 h 74"/>
                <a:gd name="T4" fmla="*/ 64 w 90"/>
                <a:gd name="T5" fmla="*/ 73 h 74"/>
                <a:gd name="T6" fmla="*/ 64 w 90"/>
                <a:gd name="T7" fmla="*/ 73 h 74"/>
                <a:gd name="T8" fmla="*/ 0 w 90"/>
                <a:gd name="T9" fmla="*/ 0 h 74"/>
                <a:gd name="T10" fmla="*/ 0 w 90"/>
                <a:gd name="T11" fmla="*/ 0 h 74"/>
                <a:gd name="T12" fmla="*/ 89 w 90"/>
                <a:gd name="T13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4">
                  <a:moveTo>
                    <a:pt x="89" y="52"/>
                  </a:moveTo>
                  <a:lnTo>
                    <a:pt x="89" y="52"/>
                  </a:lnTo>
                  <a:cubicBezTo>
                    <a:pt x="88" y="64"/>
                    <a:pt x="76" y="73"/>
                    <a:pt x="64" y="73"/>
                  </a:cubicBezTo>
                  <a:lnTo>
                    <a:pt x="64" y="73"/>
                  </a:lnTo>
                  <a:cubicBezTo>
                    <a:pt x="44" y="73"/>
                    <a:pt x="0" y="24"/>
                    <a:pt x="0" y="0"/>
                  </a:cubicBezTo>
                  <a:lnTo>
                    <a:pt x="0" y="0"/>
                  </a:lnTo>
                  <a:cubicBezTo>
                    <a:pt x="48" y="0"/>
                    <a:pt x="51" y="39"/>
                    <a:pt x="89" y="5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5" name="Freeform 123">
              <a:extLst>
                <a:ext uri="{FF2B5EF4-FFF2-40B4-BE49-F238E27FC236}">
                  <a16:creationId xmlns:a16="http://schemas.microsoft.com/office/drawing/2014/main" id="{13B1322B-EFE4-0A4E-9758-EA532A34B8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9508" y="3640703"/>
              <a:ext cx="43205" cy="34564"/>
            </a:xfrm>
            <a:custGeom>
              <a:avLst/>
              <a:gdLst>
                <a:gd name="T0" fmla="*/ 51 w 65"/>
                <a:gd name="T1" fmla="*/ 0 h 53"/>
                <a:gd name="T2" fmla="*/ 51 w 65"/>
                <a:gd name="T3" fmla="*/ 0 h 53"/>
                <a:gd name="T4" fmla="*/ 64 w 65"/>
                <a:gd name="T5" fmla="*/ 28 h 53"/>
                <a:gd name="T6" fmla="*/ 64 w 65"/>
                <a:gd name="T7" fmla="*/ 28 h 53"/>
                <a:gd name="T8" fmla="*/ 36 w 65"/>
                <a:gd name="T9" fmla="*/ 52 h 53"/>
                <a:gd name="T10" fmla="*/ 36 w 65"/>
                <a:gd name="T11" fmla="*/ 52 h 53"/>
                <a:gd name="T12" fmla="*/ 0 w 65"/>
                <a:gd name="T13" fmla="*/ 50 h 53"/>
                <a:gd name="T14" fmla="*/ 0 w 65"/>
                <a:gd name="T15" fmla="*/ 50 h 53"/>
                <a:gd name="T16" fmla="*/ 51 w 65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3">
                  <a:moveTo>
                    <a:pt x="51" y="0"/>
                  </a:moveTo>
                  <a:lnTo>
                    <a:pt x="51" y="0"/>
                  </a:lnTo>
                  <a:cubicBezTo>
                    <a:pt x="54" y="9"/>
                    <a:pt x="64" y="15"/>
                    <a:pt x="64" y="28"/>
                  </a:cubicBezTo>
                  <a:lnTo>
                    <a:pt x="64" y="28"/>
                  </a:lnTo>
                  <a:cubicBezTo>
                    <a:pt x="64" y="50"/>
                    <a:pt x="47" y="52"/>
                    <a:pt x="36" y="52"/>
                  </a:cubicBezTo>
                  <a:lnTo>
                    <a:pt x="36" y="52"/>
                  </a:lnTo>
                  <a:cubicBezTo>
                    <a:pt x="18" y="52"/>
                    <a:pt x="14" y="48"/>
                    <a:pt x="0" y="50"/>
                  </a:cubicBezTo>
                  <a:lnTo>
                    <a:pt x="0" y="50"/>
                  </a:lnTo>
                  <a:cubicBezTo>
                    <a:pt x="7" y="19"/>
                    <a:pt x="26" y="9"/>
                    <a:pt x="51" y="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6" name="Freeform 124">
              <a:extLst>
                <a:ext uri="{FF2B5EF4-FFF2-40B4-BE49-F238E27FC236}">
                  <a16:creationId xmlns:a16="http://schemas.microsoft.com/office/drawing/2014/main" id="{A349419B-3017-F648-AEBA-F4FFD3972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9347" y="3361316"/>
              <a:ext cx="221782" cy="118091"/>
            </a:xfrm>
            <a:custGeom>
              <a:avLst/>
              <a:gdLst>
                <a:gd name="T0" fmla="*/ 223 w 340"/>
                <a:gd name="T1" fmla="*/ 134 h 180"/>
                <a:gd name="T2" fmla="*/ 223 w 340"/>
                <a:gd name="T3" fmla="*/ 134 h 180"/>
                <a:gd name="T4" fmla="*/ 137 w 340"/>
                <a:gd name="T5" fmla="*/ 126 h 180"/>
                <a:gd name="T6" fmla="*/ 137 w 340"/>
                <a:gd name="T7" fmla="*/ 126 h 180"/>
                <a:gd name="T8" fmla="*/ 77 w 340"/>
                <a:gd name="T9" fmla="*/ 119 h 180"/>
                <a:gd name="T10" fmla="*/ 77 w 340"/>
                <a:gd name="T11" fmla="*/ 119 h 180"/>
                <a:gd name="T12" fmla="*/ 27 w 340"/>
                <a:gd name="T13" fmla="*/ 104 h 180"/>
                <a:gd name="T14" fmla="*/ 27 w 340"/>
                <a:gd name="T15" fmla="*/ 104 h 180"/>
                <a:gd name="T16" fmla="*/ 82 w 340"/>
                <a:gd name="T17" fmla="*/ 82 h 180"/>
                <a:gd name="T18" fmla="*/ 82 w 340"/>
                <a:gd name="T19" fmla="*/ 82 h 180"/>
                <a:gd name="T20" fmla="*/ 82 w 340"/>
                <a:gd name="T21" fmla="*/ 60 h 180"/>
                <a:gd name="T22" fmla="*/ 82 w 340"/>
                <a:gd name="T23" fmla="*/ 60 h 180"/>
                <a:gd name="T24" fmla="*/ 18 w 340"/>
                <a:gd name="T25" fmla="*/ 60 h 180"/>
                <a:gd name="T26" fmla="*/ 18 w 340"/>
                <a:gd name="T27" fmla="*/ 60 h 180"/>
                <a:gd name="T28" fmla="*/ 31 w 340"/>
                <a:gd name="T29" fmla="*/ 42 h 180"/>
                <a:gd name="T30" fmla="*/ 31 w 340"/>
                <a:gd name="T31" fmla="*/ 42 h 180"/>
                <a:gd name="T32" fmla="*/ 0 w 340"/>
                <a:gd name="T33" fmla="*/ 14 h 180"/>
                <a:gd name="T34" fmla="*/ 0 w 340"/>
                <a:gd name="T35" fmla="*/ 14 h 180"/>
                <a:gd name="T36" fmla="*/ 58 w 340"/>
                <a:gd name="T37" fmla="*/ 0 h 180"/>
                <a:gd name="T38" fmla="*/ 58 w 340"/>
                <a:gd name="T39" fmla="*/ 0 h 180"/>
                <a:gd name="T40" fmla="*/ 128 w 340"/>
                <a:gd name="T41" fmla="*/ 33 h 180"/>
                <a:gd name="T42" fmla="*/ 128 w 340"/>
                <a:gd name="T43" fmla="*/ 33 h 180"/>
                <a:gd name="T44" fmla="*/ 165 w 340"/>
                <a:gd name="T45" fmla="*/ 18 h 180"/>
                <a:gd name="T46" fmla="*/ 165 w 340"/>
                <a:gd name="T47" fmla="*/ 18 h 180"/>
                <a:gd name="T48" fmla="*/ 219 w 340"/>
                <a:gd name="T49" fmla="*/ 60 h 180"/>
                <a:gd name="T50" fmla="*/ 219 w 340"/>
                <a:gd name="T51" fmla="*/ 60 h 180"/>
                <a:gd name="T52" fmla="*/ 247 w 340"/>
                <a:gd name="T53" fmla="*/ 45 h 180"/>
                <a:gd name="T54" fmla="*/ 247 w 340"/>
                <a:gd name="T55" fmla="*/ 45 h 180"/>
                <a:gd name="T56" fmla="*/ 302 w 340"/>
                <a:gd name="T57" fmla="*/ 88 h 180"/>
                <a:gd name="T58" fmla="*/ 302 w 340"/>
                <a:gd name="T59" fmla="*/ 88 h 180"/>
                <a:gd name="T60" fmla="*/ 287 w 340"/>
                <a:gd name="T61" fmla="*/ 106 h 180"/>
                <a:gd name="T62" fmla="*/ 287 w 340"/>
                <a:gd name="T63" fmla="*/ 106 h 180"/>
                <a:gd name="T64" fmla="*/ 339 w 340"/>
                <a:gd name="T65" fmla="*/ 156 h 180"/>
                <a:gd name="T66" fmla="*/ 339 w 340"/>
                <a:gd name="T67" fmla="*/ 156 h 180"/>
                <a:gd name="T68" fmla="*/ 305 w 340"/>
                <a:gd name="T69" fmla="*/ 179 h 180"/>
                <a:gd name="T70" fmla="*/ 305 w 340"/>
                <a:gd name="T71" fmla="*/ 179 h 180"/>
                <a:gd name="T72" fmla="*/ 223 w 340"/>
                <a:gd name="T73" fmla="*/ 13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0" h="180">
                  <a:moveTo>
                    <a:pt x="223" y="134"/>
                  </a:moveTo>
                  <a:lnTo>
                    <a:pt x="223" y="134"/>
                  </a:lnTo>
                  <a:cubicBezTo>
                    <a:pt x="190" y="134"/>
                    <a:pt x="170" y="122"/>
                    <a:pt x="137" y="126"/>
                  </a:cubicBezTo>
                  <a:lnTo>
                    <a:pt x="137" y="126"/>
                  </a:lnTo>
                  <a:cubicBezTo>
                    <a:pt x="128" y="109"/>
                    <a:pt x="104" y="119"/>
                    <a:pt x="77" y="119"/>
                  </a:cubicBezTo>
                  <a:lnTo>
                    <a:pt x="77" y="119"/>
                  </a:lnTo>
                  <a:cubicBezTo>
                    <a:pt x="51" y="119"/>
                    <a:pt x="44" y="120"/>
                    <a:pt x="27" y="104"/>
                  </a:cubicBezTo>
                  <a:lnTo>
                    <a:pt x="27" y="104"/>
                  </a:lnTo>
                  <a:cubicBezTo>
                    <a:pt x="44" y="88"/>
                    <a:pt x="60" y="89"/>
                    <a:pt x="82" y="82"/>
                  </a:cubicBezTo>
                  <a:lnTo>
                    <a:pt x="82" y="82"/>
                  </a:lnTo>
                  <a:cubicBezTo>
                    <a:pt x="78" y="76"/>
                    <a:pt x="78" y="66"/>
                    <a:pt x="82" y="60"/>
                  </a:cubicBezTo>
                  <a:lnTo>
                    <a:pt x="82" y="60"/>
                  </a:lnTo>
                  <a:cubicBezTo>
                    <a:pt x="42" y="60"/>
                    <a:pt x="32" y="71"/>
                    <a:pt x="18" y="60"/>
                  </a:cubicBezTo>
                  <a:lnTo>
                    <a:pt x="18" y="60"/>
                  </a:lnTo>
                  <a:cubicBezTo>
                    <a:pt x="24" y="56"/>
                    <a:pt x="29" y="49"/>
                    <a:pt x="31" y="42"/>
                  </a:cubicBezTo>
                  <a:lnTo>
                    <a:pt x="31" y="42"/>
                  </a:lnTo>
                  <a:cubicBezTo>
                    <a:pt x="5" y="42"/>
                    <a:pt x="0" y="36"/>
                    <a:pt x="0" y="14"/>
                  </a:cubicBezTo>
                  <a:lnTo>
                    <a:pt x="0" y="14"/>
                  </a:lnTo>
                  <a:cubicBezTo>
                    <a:pt x="21" y="11"/>
                    <a:pt x="36" y="0"/>
                    <a:pt x="58" y="0"/>
                  </a:cubicBezTo>
                  <a:lnTo>
                    <a:pt x="58" y="0"/>
                  </a:lnTo>
                  <a:cubicBezTo>
                    <a:pt x="97" y="0"/>
                    <a:pt x="106" y="33"/>
                    <a:pt x="128" y="33"/>
                  </a:cubicBezTo>
                  <a:lnTo>
                    <a:pt x="128" y="33"/>
                  </a:lnTo>
                  <a:cubicBezTo>
                    <a:pt x="142" y="33"/>
                    <a:pt x="150" y="18"/>
                    <a:pt x="165" y="18"/>
                  </a:cubicBezTo>
                  <a:lnTo>
                    <a:pt x="165" y="18"/>
                  </a:lnTo>
                  <a:cubicBezTo>
                    <a:pt x="201" y="18"/>
                    <a:pt x="199" y="60"/>
                    <a:pt x="219" y="60"/>
                  </a:cubicBezTo>
                  <a:lnTo>
                    <a:pt x="219" y="60"/>
                  </a:lnTo>
                  <a:cubicBezTo>
                    <a:pt x="231" y="60"/>
                    <a:pt x="236" y="45"/>
                    <a:pt x="247" y="45"/>
                  </a:cubicBezTo>
                  <a:lnTo>
                    <a:pt x="247" y="45"/>
                  </a:lnTo>
                  <a:cubicBezTo>
                    <a:pt x="273" y="45"/>
                    <a:pt x="293" y="78"/>
                    <a:pt x="302" y="88"/>
                  </a:cubicBezTo>
                  <a:lnTo>
                    <a:pt x="302" y="88"/>
                  </a:lnTo>
                  <a:cubicBezTo>
                    <a:pt x="298" y="93"/>
                    <a:pt x="291" y="101"/>
                    <a:pt x="287" y="106"/>
                  </a:cubicBezTo>
                  <a:lnTo>
                    <a:pt x="287" y="106"/>
                  </a:lnTo>
                  <a:cubicBezTo>
                    <a:pt x="302" y="120"/>
                    <a:pt x="339" y="135"/>
                    <a:pt x="339" y="156"/>
                  </a:cubicBezTo>
                  <a:lnTo>
                    <a:pt x="339" y="156"/>
                  </a:lnTo>
                  <a:cubicBezTo>
                    <a:pt x="339" y="174"/>
                    <a:pt x="320" y="179"/>
                    <a:pt x="305" y="179"/>
                  </a:cubicBezTo>
                  <a:lnTo>
                    <a:pt x="305" y="179"/>
                  </a:lnTo>
                  <a:cubicBezTo>
                    <a:pt x="262" y="179"/>
                    <a:pt x="265" y="134"/>
                    <a:pt x="223" y="13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7" name="Freeform 125">
              <a:extLst>
                <a:ext uri="{FF2B5EF4-FFF2-40B4-BE49-F238E27FC236}">
                  <a16:creationId xmlns:a16="http://schemas.microsoft.com/office/drawing/2014/main" id="{60B03215-FFBC-2148-B1CA-3D55E2DF15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5756" y="3462125"/>
              <a:ext cx="60485" cy="17282"/>
            </a:xfrm>
            <a:custGeom>
              <a:avLst/>
              <a:gdLst>
                <a:gd name="T0" fmla="*/ 33 w 93"/>
                <a:gd name="T1" fmla="*/ 27 h 28"/>
                <a:gd name="T2" fmla="*/ 33 w 93"/>
                <a:gd name="T3" fmla="*/ 27 h 28"/>
                <a:gd name="T4" fmla="*/ 50 w 93"/>
                <a:gd name="T5" fmla="*/ 0 h 28"/>
                <a:gd name="T6" fmla="*/ 50 w 93"/>
                <a:gd name="T7" fmla="*/ 0 h 28"/>
                <a:gd name="T8" fmla="*/ 92 w 93"/>
                <a:gd name="T9" fmla="*/ 14 h 28"/>
                <a:gd name="T10" fmla="*/ 92 w 93"/>
                <a:gd name="T11" fmla="*/ 14 h 28"/>
                <a:gd name="T12" fmla="*/ 33 w 93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28">
                  <a:moveTo>
                    <a:pt x="33" y="27"/>
                  </a:moveTo>
                  <a:lnTo>
                    <a:pt x="33" y="27"/>
                  </a:lnTo>
                  <a:cubicBezTo>
                    <a:pt x="0" y="27"/>
                    <a:pt x="42" y="0"/>
                    <a:pt x="50" y="0"/>
                  </a:cubicBezTo>
                  <a:lnTo>
                    <a:pt x="50" y="0"/>
                  </a:lnTo>
                  <a:cubicBezTo>
                    <a:pt x="70" y="0"/>
                    <a:pt x="76" y="9"/>
                    <a:pt x="92" y="14"/>
                  </a:cubicBezTo>
                  <a:lnTo>
                    <a:pt x="92" y="14"/>
                  </a:lnTo>
                  <a:cubicBezTo>
                    <a:pt x="83" y="27"/>
                    <a:pt x="60" y="27"/>
                    <a:pt x="33" y="2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8" name="Freeform 126">
              <a:extLst>
                <a:ext uri="{FF2B5EF4-FFF2-40B4-BE49-F238E27FC236}">
                  <a16:creationId xmlns:a16="http://schemas.microsoft.com/office/drawing/2014/main" id="{3DA495D2-00CA-E64C-86A4-2FFAE574F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4658" y="3531251"/>
              <a:ext cx="587582" cy="187221"/>
            </a:xfrm>
            <a:custGeom>
              <a:avLst/>
              <a:gdLst>
                <a:gd name="T0" fmla="*/ 893 w 900"/>
                <a:gd name="T1" fmla="*/ 188 h 286"/>
                <a:gd name="T2" fmla="*/ 893 w 900"/>
                <a:gd name="T3" fmla="*/ 188 h 286"/>
                <a:gd name="T4" fmla="*/ 875 w 900"/>
                <a:gd name="T5" fmla="*/ 213 h 286"/>
                <a:gd name="T6" fmla="*/ 875 w 900"/>
                <a:gd name="T7" fmla="*/ 213 h 286"/>
                <a:gd name="T8" fmla="*/ 899 w 900"/>
                <a:gd name="T9" fmla="*/ 215 h 286"/>
                <a:gd name="T10" fmla="*/ 899 w 900"/>
                <a:gd name="T11" fmla="*/ 215 h 286"/>
                <a:gd name="T12" fmla="*/ 747 w 900"/>
                <a:gd name="T13" fmla="*/ 280 h 286"/>
                <a:gd name="T14" fmla="*/ 747 w 900"/>
                <a:gd name="T15" fmla="*/ 280 h 286"/>
                <a:gd name="T16" fmla="*/ 710 w 900"/>
                <a:gd name="T17" fmla="*/ 252 h 286"/>
                <a:gd name="T18" fmla="*/ 710 w 900"/>
                <a:gd name="T19" fmla="*/ 252 h 286"/>
                <a:gd name="T20" fmla="*/ 664 w 900"/>
                <a:gd name="T21" fmla="*/ 275 h 286"/>
                <a:gd name="T22" fmla="*/ 517 w 900"/>
                <a:gd name="T23" fmla="*/ 275 h 286"/>
                <a:gd name="T24" fmla="*/ 517 w 900"/>
                <a:gd name="T25" fmla="*/ 275 h 286"/>
                <a:gd name="T26" fmla="*/ 426 w 900"/>
                <a:gd name="T27" fmla="*/ 248 h 286"/>
                <a:gd name="T28" fmla="*/ 404 w 900"/>
                <a:gd name="T29" fmla="*/ 248 h 286"/>
                <a:gd name="T30" fmla="*/ 404 w 900"/>
                <a:gd name="T31" fmla="*/ 248 h 286"/>
                <a:gd name="T32" fmla="*/ 352 w 900"/>
                <a:gd name="T33" fmla="*/ 280 h 286"/>
                <a:gd name="T34" fmla="*/ 352 w 900"/>
                <a:gd name="T35" fmla="*/ 280 h 286"/>
                <a:gd name="T36" fmla="*/ 221 w 900"/>
                <a:gd name="T37" fmla="*/ 197 h 286"/>
                <a:gd name="T38" fmla="*/ 221 w 900"/>
                <a:gd name="T39" fmla="*/ 197 h 286"/>
                <a:gd name="T40" fmla="*/ 242 w 900"/>
                <a:gd name="T41" fmla="*/ 167 h 286"/>
                <a:gd name="T42" fmla="*/ 242 w 900"/>
                <a:gd name="T43" fmla="*/ 167 h 286"/>
                <a:gd name="T44" fmla="*/ 169 w 900"/>
                <a:gd name="T45" fmla="*/ 74 h 286"/>
                <a:gd name="T46" fmla="*/ 169 w 900"/>
                <a:gd name="T47" fmla="*/ 74 h 286"/>
                <a:gd name="T48" fmla="*/ 133 w 900"/>
                <a:gd name="T49" fmla="*/ 92 h 286"/>
                <a:gd name="T50" fmla="*/ 133 w 900"/>
                <a:gd name="T51" fmla="*/ 92 h 286"/>
                <a:gd name="T52" fmla="*/ 0 w 900"/>
                <a:gd name="T53" fmla="*/ 28 h 286"/>
                <a:gd name="T54" fmla="*/ 0 w 900"/>
                <a:gd name="T55" fmla="*/ 28 h 286"/>
                <a:gd name="T56" fmla="*/ 56 w 900"/>
                <a:gd name="T57" fmla="*/ 0 h 286"/>
                <a:gd name="T58" fmla="*/ 56 w 900"/>
                <a:gd name="T59" fmla="*/ 0 h 286"/>
                <a:gd name="T60" fmla="*/ 215 w 900"/>
                <a:gd name="T61" fmla="*/ 65 h 286"/>
                <a:gd name="T62" fmla="*/ 215 w 900"/>
                <a:gd name="T63" fmla="*/ 65 h 286"/>
                <a:gd name="T64" fmla="*/ 252 w 900"/>
                <a:gd name="T65" fmla="*/ 50 h 286"/>
                <a:gd name="T66" fmla="*/ 285 w 900"/>
                <a:gd name="T67" fmla="*/ 50 h 286"/>
                <a:gd name="T68" fmla="*/ 285 w 900"/>
                <a:gd name="T69" fmla="*/ 50 h 286"/>
                <a:gd name="T70" fmla="*/ 371 w 900"/>
                <a:gd name="T71" fmla="*/ 105 h 286"/>
                <a:gd name="T72" fmla="*/ 298 w 900"/>
                <a:gd name="T73" fmla="*/ 105 h 286"/>
                <a:gd name="T74" fmla="*/ 298 w 900"/>
                <a:gd name="T75" fmla="*/ 105 h 286"/>
                <a:gd name="T76" fmla="*/ 380 w 900"/>
                <a:gd name="T77" fmla="*/ 147 h 286"/>
                <a:gd name="T78" fmla="*/ 380 w 900"/>
                <a:gd name="T79" fmla="*/ 147 h 286"/>
                <a:gd name="T80" fmla="*/ 367 w 900"/>
                <a:gd name="T81" fmla="*/ 157 h 286"/>
                <a:gd name="T82" fmla="*/ 367 w 900"/>
                <a:gd name="T83" fmla="*/ 157 h 286"/>
                <a:gd name="T84" fmla="*/ 396 w 900"/>
                <a:gd name="T85" fmla="*/ 166 h 286"/>
                <a:gd name="T86" fmla="*/ 396 w 900"/>
                <a:gd name="T87" fmla="*/ 166 h 286"/>
                <a:gd name="T88" fmla="*/ 523 w 900"/>
                <a:gd name="T89" fmla="*/ 188 h 286"/>
                <a:gd name="T90" fmla="*/ 523 w 900"/>
                <a:gd name="T91" fmla="*/ 188 h 286"/>
                <a:gd name="T92" fmla="*/ 752 w 900"/>
                <a:gd name="T93" fmla="*/ 142 h 286"/>
                <a:gd name="T94" fmla="*/ 752 w 900"/>
                <a:gd name="T95" fmla="*/ 142 h 286"/>
                <a:gd name="T96" fmla="*/ 899 w 900"/>
                <a:gd name="T97" fmla="*/ 193 h 286"/>
                <a:gd name="T98" fmla="*/ 899 w 900"/>
                <a:gd name="T99" fmla="*/ 193 h 286"/>
                <a:gd name="T100" fmla="*/ 880 w 900"/>
                <a:gd name="T101" fmla="*/ 197 h 286"/>
                <a:gd name="T102" fmla="*/ 893 w 900"/>
                <a:gd name="T103" fmla="*/ 188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00" h="286">
                  <a:moveTo>
                    <a:pt x="893" y="188"/>
                  </a:moveTo>
                  <a:lnTo>
                    <a:pt x="893" y="188"/>
                  </a:lnTo>
                  <a:cubicBezTo>
                    <a:pt x="886" y="193"/>
                    <a:pt x="879" y="201"/>
                    <a:pt x="875" y="213"/>
                  </a:cubicBezTo>
                  <a:lnTo>
                    <a:pt x="875" y="213"/>
                  </a:lnTo>
                  <a:cubicBezTo>
                    <a:pt x="888" y="217"/>
                    <a:pt x="899" y="215"/>
                    <a:pt x="899" y="215"/>
                  </a:cubicBezTo>
                  <a:lnTo>
                    <a:pt x="899" y="215"/>
                  </a:lnTo>
                  <a:cubicBezTo>
                    <a:pt x="893" y="280"/>
                    <a:pt x="810" y="280"/>
                    <a:pt x="747" y="280"/>
                  </a:cubicBezTo>
                  <a:lnTo>
                    <a:pt x="747" y="280"/>
                  </a:lnTo>
                  <a:cubicBezTo>
                    <a:pt x="723" y="280"/>
                    <a:pt x="714" y="265"/>
                    <a:pt x="710" y="252"/>
                  </a:cubicBezTo>
                  <a:lnTo>
                    <a:pt x="710" y="252"/>
                  </a:lnTo>
                  <a:cubicBezTo>
                    <a:pt x="684" y="255"/>
                    <a:pt x="681" y="265"/>
                    <a:pt x="664" y="275"/>
                  </a:cubicBezTo>
                  <a:lnTo>
                    <a:pt x="517" y="275"/>
                  </a:lnTo>
                  <a:lnTo>
                    <a:pt x="517" y="275"/>
                  </a:lnTo>
                  <a:cubicBezTo>
                    <a:pt x="479" y="285"/>
                    <a:pt x="422" y="280"/>
                    <a:pt x="426" y="248"/>
                  </a:cubicBezTo>
                  <a:lnTo>
                    <a:pt x="404" y="248"/>
                  </a:lnTo>
                  <a:lnTo>
                    <a:pt x="404" y="248"/>
                  </a:lnTo>
                  <a:cubicBezTo>
                    <a:pt x="396" y="257"/>
                    <a:pt x="369" y="280"/>
                    <a:pt x="352" y="280"/>
                  </a:cubicBezTo>
                  <a:lnTo>
                    <a:pt x="352" y="280"/>
                  </a:lnTo>
                  <a:cubicBezTo>
                    <a:pt x="312" y="280"/>
                    <a:pt x="221" y="234"/>
                    <a:pt x="221" y="197"/>
                  </a:cubicBezTo>
                  <a:lnTo>
                    <a:pt x="221" y="197"/>
                  </a:lnTo>
                  <a:cubicBezTo>
                    <a:pt x="221" y="184"/>
                    <a:pt x="235" y="171"/>
                    <a:pt x="242" y="167"/>
                  </a:cubicBezTo>
                  <a:lnTo>
                    <a:pt x="242" y="167"/>
                  </a:lnTo>
                  <a:cubicBezTo>
                    <a:pt x="210" y="134"/>
                    <a:pt x="200" y="105"/>
                    <a:pt x="169" y="74"/>
                  </a:cubicBezTo>
                  <a:lnTo>
                    <a:pt x="169" y="74"/>
                  </a:lnTo>
                  <a:cubicBezTo>
                    <a:pt x="159" y="85"/>
                    <a:pt x="147" y="92"/>
                    <a:pt x="133" y="92"/>
                  </a:cubicBezTo>
                  <a:lnTo>
                    <a:pt x="133" y="92"/>
                  </a:lnTo>
                  <a:cubicBezTo>
                    <a:pt x="113" y="92"/>
                    <a:pt x="0" y="45"/>
                    <a:pt x="0" y="28"/>
                  </a:cubicBezTo>
                  <a:lnTo>
                    <a:pt x="0" y="28"/>
                  </a:lnTo>
                  <a:cubicBezTo>
                    <a:pt x="0" y="0"/>
                    <a:pt x="34" y="0"/>
                    <a:pt x="56" y="0"/>
                  </a:cubicBezTo>
                  <a:lnTo>
                    <a:pt x="56" y="0"/>
                  </a:lnTo>
                  <a:cubicBezTo>
                    <a:pt x="138" y="0"/>
                    <a:pt x="153" y="65"/>
                    <a:pt x="215" y="65"/>
                  </a:cubicBezTo>
                  <a:lnTo>
                    <a:pt x="215" y="65"/>
                  </a:lnTo>
                  <a:cubicBezTo>
                    <a:pt x="234" y="65"/>
                    <a:pt x="244" y="61"/>
                    <a:pt x="252" y="50"/>
                  </a:cubicBezTo>
                  <a:lnTo>
                    <a:pt x="285" y="50"/>
                  </a:lnTo>
                  <a:lnTo>
                    <a:pt x="285" y="50"/>
                  </a:lnTo>
                  <a:cubicBezTo>
                    <a:pt x="270" y="92"/>
                    <a:pt x="355" y="81"/>
                    <a:pt x="371" y="105"/>
                  </a:cubicBezTo>
                  <a:lnTo>
                    <a:pt x="298" y="105"/>
                  </a:lnTo>
                  <a:lnTo>
                    <a:pt x="298" y="105"/>
                  </a:lnTo>
                  <a:cubicBezTo>
                    <a:pt x="309" y="155"/>
                    <a:pt x="355" y="127"/>
                    <a:pt x="380" y="147"/>
                  </a:cubicBezTo>
                  <a:lnTo>
                    <a:pt x="380" y="147"/>
                  </a:lnTo>
                  <a:cubicBezTo>
                    <a:pt x="376" y="151"/>
                    <a:pt x="367" y="151"/>
                    <a:pt x="367" y="157"/>
                  </a:cubicBezTo>
                  <a:lnTo>
                    <a:pt x="367" y="157"/>
                  </a:lnTo>
                  <a:cubicBezTo>
                    <a:pt x="367" y="182"/>
                    <a:pt x="389" y="171"/>
                    <a:pt x="396" y="166"/>
                  </a:cubicBezTo>
                  <a:lnTo>
                    <a:pt x="396" y="166"/>
                  </a:lnTo>
                  <a:cubicBezTo>
                    <a:pt x="441" y="177"/>
                    <a:pt x="477" y="188"/>
                    <a:pt x="523" y="188"/>
                  </a:cubicBezTo>
                  <a:lnTo>
                    <a:pt x="523" y="188"/>
                  </a:lnTo>
                  <a:cubicBezTo>
                    <a:pt x="624" y="188"/>
                    <a:pt x="657" y="142"/>
                    <a:pt x="752" y="142"/>
                  </a:cubicBezTo>
                  <a:lnTo>
                    <a:pt x="752" y="142"/>
                  </a:lnTo>
                  <a:cubicBezTo>
                    <a:pt x="825" y="142"/>
                    <a:pt x="873" y="146"/>
                    <a:pt x="899" y="193"/>
                  </a:cubicBezTo>
                  <a:lnTo>
                    <a:pt x="899" y="193"/>
                  </a:lnTo>
                  <a:cubicBezTo>
                    <a:pt x="895" y="195"/>
                    <a:pt x="886" y="197"/>
                    <a:pt x="880" y="197"/>
                  </a:cubicBezTo>
                  <a:lnTo>
                    <a:pt x="893" y="188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199" name="Freeform 127">
              <a:extLst>
                <a:ext uri="{FF2B5EF4-FFF2-40B4-BE49-F238E27FC236}">
                  <a16:creationId xmlns:a16="http://schemas.microsoft.com/office/drawing/2014/main" id="{F5EBE67B-6931-3244-8152-7C4FEF3961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03298" y="3629183"/>
              <a:ext cx="103691" cy="77769"/>
            </a:xfrm>
            <a:custGeom>
              <a:avLst/>
              <a:gdLst>
                <a:gd name="T0" fmla="*/ 25 w 157"/>
                <a:gd name="T1" fmla="*/ 42 h 120"/>
                <a:gd name="T2" fmla="*/ 25 w 157"/>
                <a:gd name="T3" fmla="*/ 42 h 120"/>
                <a:gd name="T4" fmla="*/ 79 w 157"/>
                <a:gd name="T5" fmla="*/ 0 h 120"/>
                <a:gd name="T6" fmla="*/ 79 w 157"/>
                <a:gd name="T7" fmla="*/ 0 h 120"/>
                <a:gd name="T8" fmla="*/ 156 w 157"/>
                <a:gd name="T9" fmla="*/ 60 h 120"/>
                <a:gd name="T10" fmla="*/ 156 w 157"/>
                <a:gd name="T11" fmla="*/ 60 h 120"/>
                <a:gd name="T12" fmla="*/ 120 w 157"/>
                <a:gd name="T13" fmla="*/ 119 h 120"/>
                <a:gd name="T14" fmla="*/ 120 w 157"/>
                <a:gd name="T15" fmla="*/ 119 h 120"/>
                <a:gd name="T16" fmla="*/ 0 w 157"/>
                <a:gd name="T17" fmla="*/ 70 h 120"/>
                <a:gd name="T18" fmla="*/ 0 w 157"/>
                <a:gd name="T19" fmla="*/ 70 h 120"/>
                <a:gd name="T20" fmla="*/ 25 w 157"/>
                <a:gd name="T21" fmla="*/ 4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7" h="120">
                  <a:moveTo>
                    <a:pt x="25" y="42"/>
                  </a:moveTo>
                  <a:lnTo>
                    <a:pt x="25" y="42"/>
                  </a:lnTo>
                  <a:cubicBezTo>
                    <a:pt x="45" y="42"/>
                    <a:pt x="37" y="0"/>
                    <a:pt x="79" y="0"/>
                  </a:cubicBezTo>
                  <a:lnTo>
                    <a:pt x="79" y="0"/>
                  </a:lnTo>
                  <a:cubicBezTo>
                    <a:pt x="112" y="0"/>
                    <a:pt x="156" y="37"/>
                    <a:pt x="156" y="60"/>
                  </a:cubicBezTo>
                  <a:lnTo>
                    <a:pt x="156" y="60"/>
                  </a:lnTo>
                  <a:cubicBezTo>
                    <a:pt x="156" y="91"/>
                    <a:pt x="146" y="119"/>
                    <a:pt x="120" y="119"/>
                  </a:cubicBezTo>
                  <a:lnTo>
                    <a:pt x="120" y="119"/>
                  </a:lnTo>
                  <a:cubicBezTo>
                    <a:pt x="107" y="119"/>
                    <a:pt x="0" y="70"/>
                    <a:pt x="0" y="70"/>
                  </a:cubicBezTo>
                  <a:lnTo>
                    <a:pt x="0" y="70"/>
                  </a:lnTo>
                  <a:cubicBezTo>
                    <a:pt x="0" y="51"/>
                    <a:pt x="21" y="42"/>
                    <a:pt x="25" y="4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0" name="Freeform 128">
              <a:extLst>
                <a:ext uri="{FF2B5EF4-FFF2-40B4-BE49-F238E27FC236}">
                  <a16:creationId xmlns:a16="http://schemas.microsoft.com/office/drawing/2014/main" id="{FD1025F6-3D33-FC4A-89DF-6A83F1CE5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4819" y="3479407"/>
              <a:ext cx="95051" cy="28803"/>
            </a:xfrm>
            <a:custGeom>
              <a:avLst/>
              <a:gdLst>
                <a:gd name="T0" fmla="*/ 119 w 144"/>
                <a:gd name="T1" fmla="*/ 0 h 43"/>
                <a:gd name="T2" fmla="*/ 119 w 144"/>
                <a:gd name="T3" fmla="*/ 0 h 43"/>
                <a:gd name="T4" fmla="*/ 143 w 144"/>
                <a:gd name="T5" fmla="*/ 0 h 43"/>
                <a:gd name="T6" fmla="*/ 143 w 144"/>
                <a:gd name="T7" fmla="*/ 24 h 43"/>
                <a:gd name="T8" fmla="*/ 143 w 144"/>
                <a:gd name="T9" fmla="*/ 24 h 43"/>
                <a:gd name="T10" fmla="*/ 115 w 144"/>
                <a:gd name="T11" fmla="*/ 42 h 43"/>
                <a:gd name="T12" fmla="*/ 115 w 144"/>
                <a:gd name="T13" fmla="*/ 42 h 43"/>
                <a:gd name="T14" fmla="*/ 0 w 144"/>
                <a:gd name="T15" fmla="*/ 22 h 43"/>
                <a:gd name="T16" fmla="*/ 0 w 144"/>
                <a:gd name="T17" fmla="*/ 22 h 43"/>
                <a:gd name="T18" fmla="*/ 119 w 144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3">
                  <a:moveTo>
                    <a:pt x="119" y="0"/>
                  </a:moveTo>
                  <a:lnTo>
                    <a:pt x="119" y="0"/>
                  </a:lnTo>
                  <a:cubicBezTo>
                    <a:pt x="139" y="0"/>
                    <a:pt x="125" y="3"/>
                    <a:pt x="143" y="0"/>
                  </a:cubicBezTo>
                  <a:lnTo>
                    <a:pt x="143" y="24"/>
                  </a:lnTo>
                  <a:lnTo>
                    <a:pt x="143" y="24"/>
                  </a:lnTo>
                  <a:cubicBezTo>
                    <a:pt x="143" y="33"/>
                    <a:pt x="132" y="42"/>
                    <a:pt x="115" y="42"/>
                  </a:cubicBezTo>
                  <a:lnTo>
                    <a:pt x="115" y="42"/>
                  </a:lnTo>
                  <a:cubicBezTo>
                    <a:pt x="106" y="42"/>
                    <a:pt x="0" y="22"/>
                    <a:pt x="0" y="22"/>
                  </a:cubicBezTo>
                  <a:lnTo>
                    <a:pt x="0" y="22"/>
                  </a:lnTo>
                  <a:cubicBezTo>
                    <a:pt x="18" y="3"/>
                    <a:pt x="84" y="0"/>
                    <a:pt x="119" y="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1" name="Freeform 129">
              <a:extLst>
                <a:ext uri="{FF2B5EF4-FFF2-40B4-BE49-F238E27FC236}">
                  <a16:creationId xmlns:a16="http://schemas.microsoft.com/office/drawing/2014/main" id="{FE24A76A-4400-434F-B31A-17ABA4483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2812" y="3390118"/>
              <a:ext cx="112331" cy="92170"/>
            </a:xfrm>
            <a:custGeom>
              <a:avLst/>
              <a:gdLst>
                <a:gd name="T0" fmla="*/ 42 w 171"/>
                <a:gd name="T1" fmla="*/ 116 h 139"/>
                <a:gd name="T2" fmla="*/ 42 w 171"/>
                <a:gd name="T3" fmla="*/ 116 h 139"/>
                <a:gd name="T4" fmla="*/ 60 w 171"/>
                <a:gd name="T5" fmla="*/ 98 h 139"/>
                <a:gd name="T6" fmla="*/ 60 w 171"/>
                <a:gd name="T7" fmla="*/ 98 h 139"/>
                <a:gd name="T8" fmla="*/ 0 w 171"/>
                <a:gd name="T9" fmla="*/ 28 h 139"/>
                <a:gd name="T10" fmla="*/ 0 w 171"/>
                <a:gd name="T11" fmla="*/ 28 h 139"/>
                <a:gd name="T12" fmla="*/ 42 w 171"/>
                <a:gd name="T13" fmla="*/ 0 h 139"/>
                <a:gd name="T14" fmla="*/ 42 w 171"/>
                <a:gd name="T15" fmla="*/ 0 h 139"/>
                <a:gd name="T16" fmla="*/ 106 w 171"/>
                <a:gd name="T17" fmla="*/ 28 h 139"/>
                <a:gd name="T18" fmla="*/ 106 w 171"/>
                <a:gd name="T19" fmla="*/ 28 h 139"/>
                <a:gd name="T20" fmla="*/ 170 w 171"/>
                <a:gd name="T21" fmla="*/ 70 h 139"/>
                <a:gd name="T22" fmla="*/ 170 w 171"/>
                <a:gd name="T23" fmla="*/ 70 h 139"/>
                <a:gd name="T24" fmla="*/ 170 w 171"/>
                <a:gd name="T25" fmla="*/ 116 h 139"/>
                <a:gd name="T26" fmla="*/ 170 w 171"/>
                <a:gd name="T27" fmla="*/ 116 h 139"/>
                <a:gd name="T28" fmla="*/ 42 w 171"/>
                <a:gd name="T29" fmla="*/ 11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39">
                  <a:moveTo>
                    <a:pt x="42" y="116"/>
                  </a:moveTo>
                  <a:lnTo>
                    <a:pt x="42" y="116"/>
                  </a:lnTo>
                  <a:cubicBezTo>
                    <a:pt x="42" y="107"/>
                    <a:pt x="55" y="100"/>
                    <a:pt x="60" y="98"/>
                  </a:cubicBezTo>
                  <a:lnTo>
                    <a:pt x="60" y="98"/>
                  </a:lnTo>
                  <a:cubicBezTo>
                    <a:pt x="38" y="75"/>
                    <a:pt x="0" y="64"/>
                    <a:pt x="0" y="28"/>
                  </a:cubicBezTo>
                  <a:lnTo>
                    <a:pt x="0" y="28"/>
                  </a:lnTo>
                  <a:cubicBezTo>
                    <a:pt x="0" y="10"/>
                    <a:pt x="24" y="2"/>
                    <a:pt x="42" y="0"/>
                  </a:cubicBezTo>
                  <a:lnTo>
                    <a:pt x="42" y="0"/>
                  </a:lnTo>
                  <a:cubicBezTo>
                    <a:pt x="47" y="15"/>
                    <a:pt x="86" y="28"/>
                    <a:pt x="106" y="28"/>
                  </a:cubicBezTo>
                  <a:lnTo>
                    <a:pt x="106" y="28"/>
                  </a:lnTo>
                  <a:cubicBezTo>
                    <a:pt x="106" y="72"/>
                    <a:pt x="170" y="31"/>
                    <a:pt x="170" y="70"/>
                  </a:cubicBezTo>
                  <a:lnTo>
                    <a:pt x="170" y="70"/>
                  </a:lnTo>
                  <a:cubicBezTo>
                    <a:pt x="170" y="83"/>
                    <a:pt x="165" y="96"/>
                    <a:pt x="170" y="116"/>
                  </a:cubicBezTo>
                  <a:lnTo>
                    <a:pt x="170" y="116"/>
                  </a:lnTo>
                  <a:cubicBezTo>
                    <a:pt x="106" y="131"/>
                    <a:pt x="42" y="138"/>
                    <a:pt x="42" y="116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2" name="Freeform 130">
              <a:extLst>
                <a:ext uri="{FF2B5EF4-FFF2-40B4-BE49-F238E27FC236}">
                  <a16:creationId xmlns:a16="http://schemas.microsoft.com/office/drawing/2014/main" id="{CA113C23-2DE6-E143-A4F3-4CB9246323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2488" y="3309470"/>
              <a:ext cx="43204" cy="25922"/>
            </a:xfrm>
            <a:custGeom>
              <a:avLst/>
              <a:gdLst>
                <a:gd name="T0" fmla="*/ 64 w 65"/>
                <a:gd name="T1" fmla="*/ 2 h 40"/>
                <a:gd name="T2" fmla="*/ 64 w 65"/>
                <a:gd name="T3" fmla="*/ 39 h 40"/>
                <a:gd name="T4" fmla="*/ 33 w 65"/>
                <a:gd name="T5" fmla="*/ 39 h 40"/>
                <a:gd name="T6" fmla="*/ 33 w 65"/>
                <a:gd name="T7" fmla="*/ 39 h 40"/>
                <a:gd name="T8" fmla="*/ 0 w 65"/>
                <a:gd name="T9" fmla="*/ 2 h 40"/>
                <a:gd name="T10" fmla="*/ 0 w 65"/>
                <a:gd name="T11" fmla="*/ 2 h 40"/>
                <a:gd name="T12" fmla="*/ 64 w 65"/>
                <a:gd name="T13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40">
                  <a:moveTo>
                    <a:pt x="64" y="2"/>
                  </a:moveTo>
                  <a:lnTo>
                    <a:pt x="64" y="39"/>
                  </a:lnTo>
                  <a:lnTo>
                    <a:pt x="33" y="39"/>
                  </a:lnTo>
                  <a:lnTo>
                    <a:pt x="33" y="39"/>
                  </a:lnTo>
                  <a:cubicBezTo>
                    <a:pt x="22" y="27"/>
                    <a:pt x="0" y="24"/>
                    <a:pt x="0" y="2"/>
                  </a:cubicBezTo>
                  <a:lnTo>
                    <a:pt x="0" y="2"/>
                  </a:lnTo>
                  <a:cubicBezTo>
                    <a:pt x="24" y="0"/>
                    <a:pt x="51" y="2"/>
                    <a:pt x="64" y="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3" name="Freeform 131">
              <a:extLst>
                <a:ext uri="{FF2B5EF4-FFF2-40B4-BE49-F238E27FC236}">
                  <a16:creationId xmlns:a16="http://schemas.microsoft.com/office/drawing/2014/main" id="{96D40B74-5C4C-744C-A447-64803D232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0580" y="3202898"/>
              <a:ext cx="371560" cy="250587"/>
            </a:xfrm>
            <a:custGeom>
              <a:avLst/>
              <a:gdLst>
                <a:gd name="T0" fmla="*/ 403 w 571"/>
                <a:gd name="T1" fmla="*/ 154 h 384"/>
                <a:gd name="T2" fmla="*/ 394 w 571"/>
                <a:gd name="T3" fmla="*/ 117 h 384"/>
                <a:gd name="T4" fmla="*/ 412 w 571"/>
                <a:gd name="T5" fmla="*/ 117 h 384"/>
                <a:gd name="T6" fmla="*/ 436 w 571"/>
                <a:gd name="T7" fmla="*/ 148 h 384"/>
                <a:gd name="T8" fmla="*/ 458 w 571"/>
                <a:gd name="T9" fmla="*/ 175 h 384"/>
                <a:gd name="T10" fmla="*/ 445 w 571"/>
                <a:gd name="T11" fmla="*/ 203 h 384"/>
                <a:gd name="T12" fmla="*/ 476 w 571"/>
                <a:gd name="T13" fmla="*/ 203 h 384"/>
                <a:gd name="T14" fmla="*/ 566 w 571"/>
                <a:gd name="T15" fmla="*/ 227 h 384"/>
                <a:gd name="T16" fmla="*/ 565 w 571"/>
                <a:gd name="T17" fmla="*/ 254 h 384"/>
                <a:gd name="T18" fmla="*/ 522 w 571"/>
                <a:gd name="T19" fmla="*/ 264 h 384"/>
                <a:gd name="T20" fmla="*/ 436 w 571"/>
                <a:gd name="T21" fmla="*/ 322 h 384"/>
                <a:gd name="T22" fmla="*/ 407 w 571"/>
                <a:gd name="T23" fmla="*/ 285 h 384"/>
                <a:gd name="T24" fmla="*/ 385 w 571"/>
                <a:gd name="T25" fmla="*/ 313 h 384"/>
                <a:gd name="T26" fmla="*/ 376 w 571"/>
                <a:gd name="T27" fmla="*/ 349 h 384"/>
                <a:gd name="T28" fmla="*/ 376 w 571"/>
                <a:gd name="T29" fmla="*/ 374 h 384"/>
                <a:gd name="T30" fmla="*/ 310 w 571"/>
                <a:gd name="T31" fmla="*/ 341 h 384"/>
                <a:gd name="T32" fmla="*/ 265 w 571"/>
                <a:gd name="T33" fmla="*/ 383 h 384"/>
                <a:gd name="T34" fmla="*/ 193 w 571"/>
                <a:gd name="T35" fmla="*/ 349 h 384"/>
                <a:gd name="T36" fmla="*/ 216 w 571"/>
                <a:gd name="T37" fmla="*/ 337 h 384"/>
                <a:gd name="T38" fmla="*/ 134 w 571"/>
                <a:gd name="T39" fmla="*/ 291 h 384"/>
                <a:gd name="T40" fmla="*/ 273 w 571"/>
                <a:gd name="T41" fmla="*/ 254 h 384"/>
                <a:gd name="T42" fmla="*/ 198 w 571"/>
                <a:gd name="T43" fmla="*/ 240 h 384"/>
                <a:gd name="T44" fmla="*/ 143 w 571"/>
                <a:gd name="T45" fmla="*/ 254 h 384"/>
                <a:gd name="T46" fmla="*/ 118 w 571"/>
                <a:gd name="T47" fmla="*/ 231 h 384"/>
                <a:gd name="T48" fmla="*/ 79 w 571"/>
                <a:gd name="T49" fmla="*/ 245 h 384"/>
                <a:gd name="T50" fmla="*/ 64 w 571"/>
                <a:gd name="T51" fmla="*/ 227 h 384"/>
                <a:gd name="T52" fmla="*/ 106 w 571"/>
                <a:gd name="T53" fmla="*/ 203 h 384"/>
                <a:gd name="T54" fmla="*/ 28 w 571"/>
                <a:gd name="T55" fmla="*/ 144 h 384"/>
                <a:gd name="T56" fmla="*/ 82 w 571"/>
                <a:gd name="T57" fmla="*/ 163 h 384"/>
                <a:gd name="T58" fmla="*/ 99 w 571"/>
                <a:gd name="T59" fmla="*/ 148 h 384"/>
                <a:gd name="T60" fmla="*/ 18 w 571"/>
                <a:gd name="T61" fmla="*/ 108 h 384"/>
                <a:gd name="T62" fmla="*/ 60 w 571"/>
                <a:gd name="T63" fmla="*/ 90 h 384"/>
                <a:gd name="T64" fmla="*/ 110 w 571"/>
                <a:gd name="T65" fmla="*/ 102 h 384"/>
                <a:gd name="T66" fmla="*/ 130 w 571"/>
                <a:gd name="T67" fmla="*/ 84 h 384"/>
                <a:gd name="T68" fmla="*/ 79 w 571"/>
                <a:gd name="T69" fmla="*/ 84 h 384"/>
                <a:gd name="T70" fmla="*/ 55 w 571"/>
                <a:gd name="T71" fmla="*/ 54 h 384"/>
                <a:gd name="T72" fmla="*/ 125 w 571"/>
                <a:gd name="T73" fmla="*/ 38 h 384"/>
                <a:gd name="T74" fmla="*/ 156 w 571"/>
                <a:gd name="T75" fmla="*/ 38 h 384"/>
                <a:gd name="T76" fmla="*/ 101 w 571"/>
                <a:gd name="T77" fmla="*/ 0 h 384"/>
                <a:gd name="T78" fmla="*/ 216 w 571"/>
                <a:gd name="T79" fmla="*/ 20 h 384"/>
                <a:gd name="T80" fmla="*/ 275 w 571"/>
                <a:gd name="T81" fmla="*/ 99 h 384"/>
                <a:gd name="T82" fmla="*/ 348 w 571"/>
                <a:gd name="T83" fmla="*/ 10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384">
                  <a:moveTo>
                    <a:pt x="381" y="154"/>
                  </a:moveTo>
                  <a:lnTo>
                    <a:pt x="403" y="154"/>
                  </a:lnTo>
                  <a:lnTo>
                    <a:pt x="403" y="130"/>
                  </a:lnTo>
                  <a:lnTo>
                    <a:pt x="394" y="117"/>
                  </a:lnTo>
                  <a:lnTo>
                    <a:pt x="412" y="117"/>
                  </a:lnTo>
                  <a:lnTo>
                    <a:pt x="412" y="117"/>
                  </a:lnTo>
                  <a:cubicBezTo>
                    <a:pt x="438" y="117"/>
                    <a:pt x="436" y="126"/>
                    <a:pt x="436" y="148"/>
                  </a:cubicBezTo>
                  <a:lnTo>
                    <a:pt x="436" y="148"/>
                  </a:lnTo>
                  <a:cubicBezTo>
                    <a:pt x="436" y="161"/>
                    <a:pt x="458" y="163"/>
                    <a:pt x="458" y="175"/>
                  </a:cubicBezTo>
                  <a:lnTo>
                    <a:pt x="458" y="175"/>
                  </a:lnTo>
                  <a:cubicBezTo>
                    <a:pt x="458" y="188"/>
                    <a:pt x="445" y="192"/>
                    <a:pt x="445" y="203"/>
                  </a:cubicBezTo>
                  <a:lnTo>
                    <a:pt x="445" y="203"/>
                  </a:lnTo>
                  <a:cubicBezTo>
                    <a:pt x="445" y="220"/>
                    <a:pt x="473" y="203"/>
                    <a:pt x="476" y="203"/>
                  </a:cubicBezTo>
                  <a:lnTo>
                    <a:pt x="476" y="203"/>
                  </a:lnTo>
                  <a:cubicBezTo>
                    <a:pt x="495" y="203"/>
                    <a:pt x="542" y="225"/>
                    <a:pt x="566" y="227"/>
                  </a:cubicBezTo>
                  <a:lnTo>
                    <a:pt x="566" y="227"/>
                  </a:lnTo>
                  <a:cubicBezTo>
                    <a:pt x="566" y="240"/>
                    <a:pt x="570" y="247"/>
                    <a:pt x="565" y="254"/>
                  </a:cubicBezTo>
                  <a:lnTo>
                    <a:pt x="565" y="254"/>
                  </a:lnTo>
                  <a:cubicBezTo>
                    <a:pt x="557" y="265"/>
                    <a:pt x="537" y="262"/>
                    <a:pt x="522" y="264"/>
                  </a:cubicBezTo>
                  <a:lnTo>
                    <a:pt x="522" y="264"/>
                  </a:lnTo>
                  <a:cubicBezTo>
                    <a:pt x="486" y="267"/>
                    <a:pt x="460" y="322"/>
                    <a:pt x="436" y="322"/>
                  </a:cubicBezTo>
                  <a:lnTo>
                    <a:pt x="436" y="322"/>
                  </a:lnTo>
                  <a:cubicBezTo>
                    <a:pt x="412" y="322"/>
                    <a:pt x="412" y="306"/>
                    <a:pt x="407" y="285"/>
                  </a:cubicBezTo>
                  <a:lnTo>
                    <a:pt x="407" y="285"/>
                  </a:lnTo>
                  <a:cubicBezTo>
                    <a:pt x="398" y="295"/>
                    <a:pt x="394" y="304"/>
                    <a:pt x="385" y="313"/>
                  </a:cubicBezTo>
                  <a:lnTo>
                    <a:pt x="385" y="313"/>
                  </a:lnTo>
                  <a:cubicBezTo>
                    <a:pt x="396" y="331"/>
                    <a:pt x="403" y="335"/>
                    <a:pt x="409" y="349"/>
                  </a:cubicBezTo>
                  <a:lnTo>
                    <a:pt x="376" y="349"/>
                  </a:lnTo>
                  <a:lnTo>
                    <a:pt x="376" y="374"/>
                  </a:lnTo>
                  <a:lnTo>
                    <a:pt x="376" y="374"/>
                  </a:lnTo>
                  <a:cubicBezTo>
                    <a:pt x="359" y="375"/>
                    <a:pt x="326" y="352"/>
                    <a:pt x="310" y="341"/>
                  </a:cubicBezTo>
                  <a:lnTo>
                    <a:pt x="310" y="341"/>
                  </a:lnTo>
                  <a:cubicBezTo>
                    <a:pt x="310" y="374"/>
                    <a:pt x="293" y="383"/>
                    <a:pt x="265" y="383"/>
                  </a:cubicBezTo>
                  <a:lnTo>
                    <a:pt x="265" y="383"/>
                  </a:lnTo>
                  <a:cubicBezTo>
                    <a:pt x="237" y="383"/>
                    <a:pt x="196" y="375"/>
                    <a:pt x="193" y="349"/>
                  </a:cubicBezTo>
                  <a:lnTo>
                    <a:pt x="193" y="349"/>
                  </a:lnTo>
                  <a:cubicBezTo>
                    <a:pt x="205" y="348"/>
                    <a:pt x="211" y="342"/>
                    <a:pt x="216" y="337"/>
                  </a:cubicBezTo>
                  <a:lnTo>
                    <a:pt x="216" y="337"/>
                  </a:lnTo>
                  <a:cubicBezTo>
                    <a:pt x="185" y="337"/>
                    <a:pt x="134" y="318"/>
                    <a:pt x="134" y="291"/>
                  </a:cubicBezTo>
                  <a:lnTo>
                    <a:pt x="134" y="291"/>
                  </a:lnTo>
                  <a:cubicBezTo>
                    <a:pt x="134" y="256"/>
                    <a:pt x="247" y="260"/>
                    <a:pt x="273" y="254"/>
                  </a:cubicBezTo>
                  <a:lnTo>
                    <a:pt x="273" y="254"/>
                  </a:lnTo>
                  <a:cubicBezTo>
                    <a:pt x="246" y="247"/>
                    <a:pt x="226" y="240"/>
                    <a:pt x="198" y="240"/>
                  </a:cubicBezTo>
                  <a:lnTo>
                    <a:pt x="198" y="240"/>
                  </a:lnTo>
                  <a:cubicBezTo>
                    <a:pt x="170" y="240"/>
                    <a:pt x="165" y="254"/>
                    <a:pt x="143" y="254"/>
                  </a:cubicBezTo>
                  <a:lnTo>
                    <a:pt x="143" y="254"/>
                  </a:lnTo>
                  <a:cubicBezTo>
                    <a:pt x="125" y="254"/>
                    <a:pt x="123" y="241"/>
                    <a:pt x="118" y="231"/>
                  </a:cubicBezTo>
                  <a:lnTo>
                    <a:pt x="118" y="231"/>
                  </a:lnTo>
                  <a:cubicBezTo>
                    <a:pt x="99" y="238"/>
                    <a:pt x="93" y="245"/>
                    <a:pt x="79" y="245"/>
                  </a:cubicBezTo>
                  <a:lnTo>
                    <a:pt x="79" y="245"/>
                  </a:lnTo>
                  <a:cubicBezTo>
                    <a:pt x="66" y="245"/>
                    <a:pt x="64" y="238"/>
                    <a:pt x="64" y="227"/>
                  </a:cubicBezTo>
                  <a:lnTo>
                    <a:pt x="64" y="227"/>
                  </a:lnTo>
                  <a:cubicBezTo>
                    <a:pt x="82" y="220"/>
                    <a:pt x="95" y="218"/>
                    <a:pt x="106" y="203"/>
                  </a:cubicBezTo>
                  <a:lnTo>
                    <a:pt x="106" y="203"/>
                  </a:lnTo>
                  <a:cubicBezTo>
                    <a:pt x="44" y="203"/>
                    <a:pt x="5" y="198"/>
                    <a:pt x="0" y="144"/>
                  </a:cubicBezTo>
                  <a:lnTo>
                    <a:pt x="28" y="144"/>
                  </a:lnTo>
                  <a:lnTo>
                    <a:pt x="28" y="144"/>
                  </a:lnTo>
                  <a:cubicBezTo>
                    <a:pt x="37" y="152"/>
                    <a:pt x="66" y="163"/>
                    <a:pt x="82" y="163"/>
                  </a:cubicBezTo>
                  <a:lnTo>
                    <a:pt x="82" y="163"/>
                  </a:lnTo>
                  <a:cubicBezTo>
                    <a:pt x="90" y="163"/>
                    <a:pt x="99" y="148"/>
                    <a:pt x="99" y="148"/>
                  </a:cubicBezTo>
                  <a:lnTo>
                    <a:pt x="99" y="148"/>
                  </a:lnTo>
                  <a:cubicBezTo>
                    <a:pt x="75" y="141"/>
                    <a:pt x="18" y="128"/>
                    <a:pt x="18" y="108"/>
                  </a:cubicBezTo>
                  <a:lnTo>
                    <a:pt x="18" y="108"/>
                  </a:lnTo>
                  <a:cubicBezTo>
                    <a:pt x="18" y="87"/>
                    <a:pt x="44" y="90"/>
                    <a:pt x="60" y="90"/>
                  </a:cubicBezTo>
                  <a:lnTo>
                    <a:pt x="60" y="90"/>
                  </a:lnTo>
                  <a:cubicBezTo>
                    <a:pt x="87" y="90"/>
                    <a:pt x="95" y="102"/>
                    <a:pt x="110" y="102"/>
                  </a:cubicBezTo>
                  <a:lnTo>
                    <a:pt x="110" y="102"/>
                  </a:lnTo>
                  <a:cubicBezTo>
                    <a:pt x="121" y="102"/>
                    <a:pt x="125" y="90"/>
                    <a:pt x="130" y="84"/>
                  </a:cubicBezTo>
                  <a:lnTo>
                    <a:pt x="130" y="84"/>
                  </a:lnTo>
                  <a:cubicBezTo>
                    <a:pt x="112" y="73"/>
                    <a:pt x="90" y="84"/>
                    <a:pt x="79" y="84"/>
                  </a:cubicBezTo>
                  <a:lnTo>
                    <a:pt x="79" y="84"/>
                  </a:lnTo>
                  <a:cubicBezTo>
                    <a:pt x="72" y="84"/>
                    <a:pt x="55" y="56"/>
                    <a:pt x="55" y="54"/>
                  </a:cubicBezTo>
                  <a:lnTo>
                    <a:pt x="55" y="54"/>
                  </a:lnTo>
                  <a:cubicBezTo>
                    <a:pt x="77" y="42"/>
                    <a:pt x="92" y="31"/>
                    <a:pt x="125" y="38"/>
                  </a:cubicBezTo>
                  <a:lnTo>
                    <a:pt x="156" y="38"/>
                  </a:lnTo>
                  <a:lnTo>
                    <a:pt x="156" y="38"/>
                  </a:lnTo>
                  <a:cubicBezTo>
                    <a:pt x="134" y="27"/>
                    <a:pt x="103" y="25"/>
                    <a:pt x="101" y="0"/>
                  </a:cubicBezTo>
                  <a:lnTo>
                    <a:pt x="101" y="0"/>
                  </a:lnTo>
                  <a:cubicBezTo>
                    <a:pt x="147" y="3"/>
                    <a:pt x="183" y="7"/>
                    <a:pt x="216" y="20"/>
                  </a:cubicBezTo>
                  <a:lnTo>
                    <a:pt x="216" y="20"/>
                  </a:lnTo>
                  <a:cubicBezTo>
                    <a:pt x="253" y="34"/>
                    <a:pt x="246" y="87"/>
                    <a:pt x="275" y="99"/>
                  </a:cubicBezTo>
                  <a:lnTo>
                    <a:pt x="275" y="99"/>
                  </a:lnTo>
                  <a:cubicBezTo>
                    <a:pt x="303" y="110"/>
                    <a:pt x="321" y="92"/>
                    <a:pt x="348" y="102"/>
                  </a:cubicBezTo>
                  <a:lnTo>
                    <a:pt x="348" y="102"/>
                  </a:lnTo>
                  <a:cubicBezTo>
                    <a:pt x="376" y="113"/>
                    <a:pt x="365" y="137"/>
                    <a:pt x="381" y="15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4" name="Freeform 132">
              <a:extLst>
                <a:ext uri="{FF2B5EF4-FFF2-40B4-BE49-F238E27FC236}">
                  <a16:creationId xmlns:a16="http://schemas.microsoft.com/office/drawing/2014/main" id="{F5DE0D68-B89C-4746-960F-940D8623F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0131" y="4245567"/>
              <a:ext cx="244827" cy="152657"/>
            </a:xfrm>
            <a:custGeom>
              <a:avLst/>
              <a:gdLst>
                <a:gd name="T0" fmla="*/ 28 w 373"/>
                <a:gd name="T1" fmla="*/ 161 h 235"/>
                <a:gd name="T2" fmla="*/ 28 w 373"/>
                <a:gd name="T3" fmla="*/ 161 h 235"/>
                <a:gd name="T4" fmla="*/ 46 w 373"/>
                <a:gd name="T5" fmla="*/ 137 h 235"/>
                <a:gd name="T6" fmla="*/ 46 w 373"/>
                <a:gd name="T7" fmla="*/ 109 h 235"/>
                <a:gd name="T8" fmla="*/ 46 w 373"/>
                <a:gd name="T9" fmla="*/ 109 h 235"/>
                <a:gd name="T10" fmla="*/ 107 w 373"/>
                <a:gd name="T11" fmla="*/ 0 h 235"/>
                <a:gd name="T12" fmla="*/ 107 w 373"/>
                <a:gd name="T13" fmla="*/ 0 h 235"/>
                <a:gd name="T14" fmla="*/ 134 w 373"/>
                <a:gd name="T15" fmla="*/ 51 h 235"/>
                <a:gd name="T16" fmla="*/ 134 w 373"/>
                <a:gd name="T17" fmla="*/ 51 h 235"/>
                <a:gd name="T18" fmla="*/ 150 w 373"/>
                <a:gd name="T19" fmla="*/ 36 h 235"/>
                <a:gd name="T20" fmla="*/ 150 w 373"/>
                <a:gd name="T21" fmla="*/ 36 h 235"/>
                <a:gd name="T22" fmla="*/ 280 w 373"/>
                <a:gd name="T23" fmla="*/ 109 h 235"/>
                <a:gd name="T24" fmla="*/ 280 w 373"/>
                <a:gd name="T25" fmla="*/ 109 h 235"/>
                <a:gd name="T26" fmla="*/ 293 w 373"/>
                <a:gd name="T27" fmla="*/ 142 h 235"/>
                <a:gd name="T28" fmla="*/ 293 w 373"/>
                <a:gd name="T29" fmla="*/ 142 h 235"/>
                <a:gd name="T30" fmla="*/ 372 w 373"/>
                <a:gd name="T31" fmla="*/ 178 h 235"/>
                <a:gd name="T32" fmla="*/ 372 w 373"/>
                <a:gd name="T33" fmla="*/ 178 h 235"/>
                <a:gd name="T34" fmla="*/ 311 w 373"/>
                <a:gd name="T35" fmla="*/ 198 h 235"/>
                <a:gd name="T36" fmla="*/ 262 w 373"/>
                <a:gd name="T37" fmla="*/ 198 h 235"/>
                <a:gd name="T38" fmla="*/ 262 w 373"/>
                <a:gd name="T39" fmla="*/ 198 h 235"/>
                <a:gd name="T40" fmla="*/ 193 w 373"/>
                <a:gd name="T41" fmla="*/ 152 h 235"/>
                <a:gd name="T42" fmla="*/ 193 w 373"/>
                <a:gd name="T43" fmla="*/ 152 h 235"/>
                <a:gd name="T44" fmla="*/ 107 w 373"/>
                <a:gd name="T45" fmla="*/ 219 h 235"/>
                <a:gd name="T46" fmla="*/ 107 w 373"/>
                <a:gd name="T47" fmla="*/ 219 h 235"/>
                <a:gd name="T48" fmla="*/ 92 w 373"/>
                <a:gd name="T49" fmla="*/ 234 h 235"/>
                <a:gd name="T50" fmla="*/ 92 w 373"/>
                <a:gd name="T51" fmla="*/ 234 h 235"/>
                <a:gd name="T52" fmla="*/ 79 w 373"/>
                <a:gd name="T53" fmla="*/ 198 h 235"/>
                <a:gd name="T54" fmla="*/ 79 w 373"/>
                <a:gd name="T55" fmla="*/ 198 h 235"/>
                <a:gd name="T56" fmla="*/ 0 w 373"/>
                <a:gd name="T57" fmla="*/ 198 h 235"/>
                <a:gd name="T58" fmla="*/ 0 w 373"/>
                <a:gd name="T59" fmla="*/ 198 h 235"/>
                <a:gd name="T60" fmla="*/ 28 w 373"/>
                <a:gd name="T61" fmla="*/ 16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3" h="235">
                  <a:moveTo>
                    <a:pt x="28" y="161"/>
                  </a:moveTo>
                  <a:lnTo>
                    <a:pt x="28" y="161"/>
                  </a:lnTo>
                  <a:cubicBezTo>
                    <a:pt x="37" y="154"/>
                    <a:pt x="46" y="148"/>
                    <a:pt x="46" y="137"/>
                  </a:cubicBezTo>
                  <a:lnTo>
                    <a:pt x="46" y="109"/>
                  </a:lnTo>
                  <a:lnTo>
                    <a:pt x="46" y="109"/>
                  </a:lnTo>
                  <a:cubicBezTo>
                    <a:pt x="46" y="78"/>
                    <a:pt x="55" y="5"/>
                    <a:pt x="107" y="0"/>
                  </a:cubicBezTo>
                  <a:lnTo>
                    <a:pt x="107" y="0"/>
                  </a:lnTo>
                  <a:cubicBezTo>
                    <a:pt x="116" y="27"/>
                    <a:pt x="125" y="33"/>
                    <a:pt x="134" y="51"/>
                  </a:cubicBezTo>
                  <a:lnTo>
                    <a:pt x="134" y="51"/>
                  </a:lnTo>
                  <a:cubicBezTo>
                    <a:pt x="139" y="44"/>
                    <a:pt x="145" y="40"/>
                    <a:pt x="150" y="36"/>
                  </a:cubicBezTo>
                  <a:lnTo>
                    <a:pt x="150" y="36"/>
                  </a:lnTo>
                  <a:cubicBezTo>
                    <a:pt x="189" y="84"/>
                    <a:pt x="248" y="66"/>
                    <a:pt x="280" y="109"/>
                  </a:cubicBezTo>
                  <a:lnTo>
                    <a:pt x="280" y="109"/>
                  </a:lnTo>
                  <a:cubicBezTo>
                    <a:pt x="290" y="122"/>
                    <a:pt x="284" y="135"/>
                    <a:pt x="293" y="142"/>
                  </a:cubicBezTo>
                  <a:lnTo>
                    <a:pt x="293" y="142"/>
                  </a:lnTo>
                  <a:cubicBezTo>
                    <a:pt x="322" y="165"/>
                    <a:pt x="356" y="155"/>
                    <a:pt x="372" y="178"/>
                  </a:cubicBezTo>
                  <a:lnTo>
                    <a:pt x="372" y="178"/>
                  </a:lnTo>
                  <a:cubicBezTo>
                    <a:pt x="352" y="190"/>
                    <a:pt x="336" y="198"/>
                    <a:pt x="311" y="198"/>
                  </a:cubicBezTo>
                  <a:lnTo>
                    <a:pt x="262" y="198"/>
                  </a:lnTo>
                  <a:lnTo>
                    <a:pt x="262" y="198"/>
                  </a:lnTo>
                  <a:cubicBezTo>
                    <a:pt x="262" y="198"/>
                    <a:pt x="203" y="155"/>
                    <a:pt x="193" y="152"/>
                  </a:cubicBezTo>
                  <a:lnTo>
                    <a:pt x="193" y="152"/>
                  </a:lnTo>
                  <a:cubicBezTo>
                    <a:pt x="193" y="192"/>
                    <a:pt x="132" y="230"/>
                    <a:pt x="107" y="219"/>
                  </a:cubicBezTo>
                  <a:lnTo>
                    <a:pt x="107" y="219"/>
                  </a:lnTo>
                  <a:cubicBezTo>
                    <a:pt x="101" y="229"/>
                    <a:pt x="101" y="234"/>
                    <a:pt x="92" y="234"/>
                  </a:cubicBezTo>
                  <a:lnTo>
                    <a:pt x="92" y="234"/>
                  </a:lnTo>
                  <a:cubicBezTo>
                    <a:pt x="70" y="234"/>
                    <a:pt x="75" y="216"/>
                    <a:pt x="79" y="198"/>
                  </a:cubicBezTo>
                  <a:lnTo>
                    <a:pt x="79" y="198"/>
                  </a:lnTo>
                  <a:cubicBezTo>
                    <a:pt x="49" y="190"/>
                    <a:pt x="15" y="196"/>
                    <a:pt x="0" y="198"/>
                  </a:cubicBezTo>
                  <a:lnTo>
                    <a:pt x="0" y="198"/>
                  </a:lnTo>
                  <a:cubicBezTo>
                    <a:pt x="2" y="167"/>
                    <a:pt x="24" y="170"/>
                    <a:pt x="28" y="161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5" name="Freeform 133">
              <a:extLst>
                <a:ext uri="{FF2B5EF4-FFF2-40B4-BE49-F238E27FC236}">
                  <a16:creationId xmlns:a16="http://schemas.microsoft.com/office/drawing/2014/main" id="{5742CCEC-D533-444E-BF11-27269150E9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5768" y="4092912"/>
              <a:ext cx="74888" cy="74888"/>
            </a:xfrm>
            <a:custGeom>
              <a:avLst/>
              <a:gdLst>
                <a:gd name="T0" fmla="*/ 114 w 115"/>
                <a:gd name="T1" fmla="*/ 74 h 115"/>
                <a:gd name="T2" fmla="*/ 114 w 115"/>
                <a:gd name="T3" fmla="*/ 74 h 115"/>
                <a:gd name="T4" fmla="*/ 45 w 115"/>
                <a:gd name="T5" fmla="*/ 114 h 115"/>
                <a:gd name="T6" fmla="*/ 45 w 115"/>
                <a:gd name="T7" fmla="*/ 114 h 115"/>
                <a:gd name="T8" fmla="*/ 0 w 115"/>
                <a:gd name="T9" fmla="*/ 74 h 115"/>
                <a:gd name="T10" fmla="*/ 0 w 115"/>
                <a:gd name="T11" fmla="*/ 74 h 115"/>
                <a:gd name="T12" fmla="*/ 114 w 115"/>
                <a:gd name="T13" fmla="*/ 7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15">
                  <a:moveTo>
                    <a:pt x="114" y="74"/>
                  </a:moveTo>
                  <a:lnTo>
                    <a:pt x="114" y="74"/>
                  </a:lnTo>
                  <a:cubicBezTo>
                    <a:pt x="114" y="97"/>
                    <a:pt x="68" y="114"/>
                    <a:pt x="45" y="114"/>
                  </a:cubicBezTo>
                  <a:lnTo>
                    <a:pt x="45" y="114"/>
                  </a:lnTo>
                  <a:cubicBezTo>
                    <a:pt x="18" y="114"/>
                    <a:pt x="0" y="95"/>
                    <a:pt x="0" y="74"/>
                  </a:cubicBezTo>
                  <a:lnTo>
                    <a:pt x="0" y="74"/>
                  </a:lnTo>
                  <a:cubicBezTo>
                    <a:pt x="0" y="0"/>
                    <a:pt x="114" y="13"/>
                    <a:pt x="114" y="7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6" name="Freeform 134">
              <a:extLst>
                <a:ext uri="{FF2B5EF4-FFF2-40B4-BE49-F238E27FC236}">
                  <a16:creationId xmlns:a16="http://schemas.microsoft.com/office/drawing/2014/main" id="{E7FFEF36-D344-0A49-A33F-D1181073DE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3986" y="4406863"/>
              <a:ext cx="60485" cy="46085"/>
            </a:xfrm>
            <a:custGeom>
              <a:avLst/>
              <a:gdLst>
                <a:gd name="T0" fmla="*/ 40 w 92"/>
                <a:gd name="T1" fmla="*/ 2 h 72"/>
                <a:gd name="T2" fmla="*/ 40 w 92"/>
                <a:gd name="T3" fmla="*/ 2 h 72"/>
                <a:gd name="T4" fmla="*/ 91 w 92"/>
                <a:gd name="T5" fmla="*/ 10 h 72"/>
                <a:gd name="T6" fmla="*/ 91 w 92"/>
                <a:gd name="T7" fmla="*/ 10 h 72"/>
                <a:gd name="T8" fmla="*/ 0 w 92"/>
                <a:gd name="T9" fmla="*/ 71 h 72"/>
                <a:gd name="T10" fmla="*/ 0 w 92"/>
                <a:gd name="T11" fmla="*/ 48 h 72"/>
                <a:gd name="T12" fmla="*/ 0 w 92"/>
                <a:gd name="T13" fmla="*/ 48 h 72"/>
                <a:gd name="T14" fmla="*/ 40 w 92"/>
                <a:gd name="T15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72">
                  <a:moveTo>
                    <a:pt x="40" y="2"/>
                  </a:moveTo>
                  <a:lnTo>
                    <a:pt x="40" y="2"/>
                  </a:lnTo>
                  <a:cubicBezTo>
                    <a:pt x="77" y="0"/>
                    <a:pt x="70" y="0"/>
                    <a:pt x="91" y="10"/>
                  </a:cubicBezTo>
                  <a:lnTo>
                    <a:pt x="91" y="10"/>
                  </a:lnTo>
                  <a:cubicBezTo>
                    <a:pt x="75" y="31"/>
                    <a:pt x="29" y="68"/>
                    <a:pt x="0" y="71"/>
                  </a:cubicBezTo>
                  <a:lnTo>
                    <a:pt x="0" y="48"/>
                  </a:lnTo>
                  <a:lnTo>
                    <a:pt x="0" y="48"/>
                  </a:lnTo>
                  <a:cubicBezTo>
                    <a:pt x="14" y="30"/>
                    <a:pt x="39" y="13"/>
                    <a:pt x="40" y="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7" name="Freeform 135">
              <a:extLst>
                <a:ext uri="{FF2B5EF4-FFF2-40B4-BE49-F238E27FC236}">
                  <a16:creationId xmlns:a16="http://schemas.microsoft.com/office/drawing/2014/main" id="{43D10E5C-5362-D34B-9232-F5FCD2C1EF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9034" y="3761676"/>
              <a:ext cx="161297" cy="69127"/>
            </a:xfrm>
            <a:custGeom>
              <a:avLst/>
              <a:gdLst>
                <a:gd name="T0" fmla="*/ 91 w 248"/>
                <a:gd name="T1" fmla="*/ 107 h 108"/>
                <a:gd name="T2" fmla="*/ 91 w 248"/>
                <a:gd name="T3" fmla="*/ 107 h 108"/>
                <a:gd name="T4" fmla="*/ 36 w 248"/>
                <a:gd name="T5" fmla="*/ 67 h 108"/>
                <a:gd name="T6" fmla="*/ 36 w 248"/>
                <a:gd name="T7" fmla="*/ 67 h 108"/>
                <a:gd name="T8" fmla="*/ 0 w 248"/>
                <a:gd name="T9" fmla="*/ 28 h 108"/>
                <a:gd name="T10" fmla="*/ 0 w 248"/>
                <a:gd name="T11" fmla="*/ 28 h 108"/>
                <a:gd name="T12" fmla="*/ 31 w 248"/>
                <a:gd name="T13" fmla="*/ 0 h 108"/>
                <a:gd name="T14" fmla="*/ 31 w 248"/>
                <a:gd name="T15" fmla="*/ 0 h 108"/>
                <a:gd name="T16" fmla="*/ 122 w 248"/>
                <a:gd name="T17" fmla="*/ 15 h 108"/>
                <a:gd name="T18" fmla="*/ 122 w 248"/>
                <a:gd name="T19" fmla="*/ 15 h 108"/>
                <a:gd name="T20" fmla="*/ 247 w 248"/>
                <a:gd name="T21" fmla="*/ 72 h 108"/>
                <a:gd name="T22" fmla="*/ 247 w 248"/>
                <a:gd name="T23" fmla="*/ 72 h 108"/>
                <a:gd name="T24" fmla="*/ 214 w 248"/>
                <a:gd name="T25" fmla="*/ 101 h 108"/>
                <a:gd name="T26" fmla="*/ 214 w 248"/>
                <a:gd name="T27" fmla="*/ 101 h 108"/>
                <a:gd name="T28" fmla="*/ 159 w 248"/>
                <a:gd name="T29" fmla="*/ 88 h 108"/>
                <a:gd name="T30" fmla="*/ 159 w 248"/>
                <a:gd name="T31" fmla="*/ 88 h 108"/>
                <a:gd name="T32" fmla="*/ 91 w 248"/>
                <a:gd name="T33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8" h="108">
                  <a:moveTo>
                    <a:pt x="91" y="107"/>
                  </a:moveTo>
                  <a:lnTo>
                    <a:pt x="91" y="107"/>
                  </a:lnTo>
                  <a:cubicBezTo>
                    <a:pt x="55" y="107"/>
                    <a:pt x="23" y="98"/>
                    <a:pt x="36" y="67"/>
                  </a:cubicBezTo>
                  <a:lnTo>
                    <a:pt x="36" y="67"/>
                  </a:lnTo>
                  <a:cubicBezTo>
                    <a:pt x="20" y="57"/>
                    <a:pt x="0" y="49"/>
                    <a:pt x="0" y="28"/>
                  </a:cubicBezTo>
                  <a:lnTo>
                    <a:pt x="0" y="28"/>
                  </a:lnTo>
                  <a:cubicBezTo>
                    <a:pt x="0" y="10"/>
                    <a:pt x="16" y="0"/>
                    <a:pt x="31" y="0"/>
                  </a:cubicBezTo>
                  <a:lnTo>
                    <a:pt x="31" y="0"/>
                  </a:lnTo>
                  <a:cubicBezTo>
                    <a:pt x="71" y="0"/>
                    <a:pt x="84" y="15"/>
                    <a:pt x="122" y="15"/>
                  </a:cubicBezTo>
                  <a:lnTo>
                    <a:pt x="122" y="15"/>
                  </a:lnTo>
                  <a:cubicBezTo>
                    <a:pt x="172" y="15"/>
                    <a:pt x="214" y="56"/>
                    <a:pt x="247" y="72"/>
                  </a:cubicBezTo>
                  <a:lnTo>
                    <a:pt x="247" y="72"/>
                  </a:lnTo>
                  <a:cubicBezTo>
                    <a:pt x="241" y="88"/>
                    <a:pt x="230" y="101"/>
                    <a:pt x="214" y="101"/>
                  </a:cubicBezTo>
                  <a:lnTo>
                    <a:pt x="214" y="101"/>
                  </a:lnTo>
                  <a:cubicBezTo>
                    <a:pt x="190" y="101"/>
                    <a:pt x="179" y="88"/>
                    <a:pt x="159" y="88"/>
                  </a:cubicBezTo>
                  <a:lnTo>
                    <a:pt x="159" y="88"/>
                  </a:lnTo>
                  <a:cubicBezTo>
                    <a:pt x="139" y="88"/>
                    <a:pt x="122" y="107"/>
                    <a:pt x="91" y="10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8" name="Freeform 136">
              <a:extLst>
                <a:ext uri="{FF2B5EF4-FFF2-40B4-BE49-F238E27FC236}">
                  <a16:creationId xmlns:a16="http://schemas.microsoft.com/office/drawing/2014/main" id="{E0AFD460-92EB-6742-8FC8-3637B58A6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3438" y="4435668"/>
              <a:ext cx="40324" cy="40324"/>
            </a:xfrm>
            <a:custGeom>
              <a:avLst/>
              <a:gdLst>
                <a:gd name="T0" fmla="*/ 61 w 62"/>
                <a:gd name="T1" fmla="*/ 22 h 63"/>
                <a:gd name="T2" fmla="*/ 61 w 62"/>
                <a:gd name="T3" fmla="*/ 22 h 63"/>
                <a:gd name="T4" fmla="*/ 28 w 62"/>
                <a:gd name="T5" fmla="*/ 62 h 63"/>
                <a:gd name="T6" fmla="*/ 28 w 62"/>
                <a:gd name="T7" fmla="*/ 62 h 63"/>
                <a:gd name="T8" fmla="*/ 0 w 62"/>
                <a:gd name="T9" fmla="*/ 35 h 63"/>
                <a:gd name="T10" fmla="*/ 0 w 62"/>
                <a:gd name="T11" fmla="*/ 35 h 63"/>
                <a:gd name="T12" fmla="*/ 61 w 62"/>
                <a:gd name="T13" fmla="*/ 2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3">
                  <a:moveTo>
                    <a:pt x="61" y="22"/>
                  </a:moveTo>
                  <a:lnTo>
                    <a:pt x="61" y="22"/>
                  </a:lnTo>
                  <a:cubicBezTo>
                    <a:pt x="50" y="37"/>
                    <a:pt x="46" y="62"/>
                    <a:pt x="28" y="62"/>
                  </a:cubicBezTo>
                  <a:lnTo>
                    <a:pt x="28" y="62"/>
                  </a:lnTo>
                  <a:cubicBezTo>
                    <a:pt x="24" y="62"/>
                    <a:pt x="0" y="35"/>
                    <a:pt x="0" y="35"/>
                  </a:cubicBezTo>
                  <a:lnTo>
                    <a:pt x="0" y="35"/>
                  </a:lnTo>
                  <a:cubicBezTo>
                    <a:pt x="0" y="2"/>
                    <a:pt x="43" y="0"/>
                    <a:pt x="61" y="2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09" name="Freeform 137">
              <a:extLst>
                <a:ext uri="{FF2B5EF4-FFF2-40B4-BE49-F238E27FC236}">
                  <a16:creationId xmlns:a16="http://schemas.microsoft.com/office/drawing/2014/main" id="{121ACEEB-F4AD-DA49-AD6C-FAAFE4ABB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2178" y="4113073"/>
              <a:ext cx="40324" cy="23042"/>
            </a:xfrm>
            <a:custGeom>
              <a:avLst/>
              <a:gdLst>
                <a:gd name="T0" fmla="*/ 24 w 61"/>
                <a:gd name="T1" fmla="*/ 33 h 36"/>
                <a:gd name="T2" fmla="*/ 24 w 61"/>
                <a:gd name="T3" fmla="*/ 33 h 36"/>
                <a:gd name="T4" fmla="*/ 0 w 61"/>
                <a:gd name="T5" fmla="*/ 18 h 36"/>
                <a:gd name="T6" fmla="*/ 0 w 61"/>
                <a:gd name="T7" fmla="*/ 18 h 36"/>
                <a:gd name="T8" fmla="*/ 24 w 61"/>
                <a:gd name="T9" fmla="*/ 0 h 36"/>
                <a:gd name="T10" fmla="*/ 24 w 61"/>
                <a:gd name="T11" fmla="*/ 0 h 36"/>
                <a:gd name="T12" fmla="*/ 60 w 61"/>
                <a:gd name="T13" fmla="*/ 30 h 36"/>
                <a:gd name="T14" fmla="*/ 60 w 61"/>
                <a:gd name="T15" fmla="*/ 30 h 36"/>
                <a:gd name="T16" fmla="*/ 24 w 61"/>
                <a:gd name="T17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6">
                  <a:moveTo>
                    <a:pt x="24" y="33"/>
                  </a:moveTo>
                  <a:lnTo>
                    <a:pt x="24" y="33"/>
                  </a:lnTo>
                  <a:cubicBezTo>
                    <a:pt x="11" y="33"/>
                    <a:pt x="0" y="30"/>
                    <a:pt x="0" y="18"/>
                  </a:cubicBezTo>
                  <a:lnTo>
                    <a:pt x="0" y="18"/>
                  </a:lnTo>
                  <a:cubicBezTo>
                    <a:pt x="0" y="13"/>
                    <a:pt x="20" y="0"/>
                    <a:pt x="24" y="0"/>
                  </a:cubicBezTo>
                  <a:lnTo>
                    <a:pt x="24" y="0"/>
                  </a:lnTo>
                  <a:cubicBezTo>
                    <a:pt x="40" y="0"/>
                    <a:pt x="55" y="22"/>
                    <a:pt x="60" y="30"/>
                  </a:cubicBezTo>
                  <a:lnTo>
                    <a:pt x="60" y="30"/>
                  </a:lnTo>
                  <a:cubicBezTo>
                    <a:pt x="37" y="35"/>
                    <a:pt x="42" y="33"/>
                    <a:pt x="24" y="33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0" name="Freeform 138">
              <a:extLst>
                <a:ext uri="{FF2B5EF4-FFF2-40B4-BE49-F238E27FC236}">
                  <a16:creationId xmlns:a16="http://schemas.microsoft.com/office/drawing/2014/main" id="{52D459AB-1BE5-7543-BF5E-0F6489CA6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2239" y="4043946"/>
              <a:ext cx="43204" cy="28803"/>
            </a:xfrm>
            <a:custGeom>
              <a:avLst/>
              <a:gdLst>
                <a:gd name="T0" fmla="*/ 21 w 64"/>
                <a:gd name="T1" fmla="*/ 42 h 43"/>
                <a:gd name="T2" fmla="*/ 21 w 64"/>
                <a:gd name="T3" fmla="*/ 42 h 43"/>
                <a:gd name="T4" fmla="*/ 63 w 64"/>
                <a:gd name="T5" fmla="*/ 0 h 43"/>
                <a:gd name="T6" fmla="*/ 63 w 64"/>
                <a:gd name="T7" fmla="*/ 0 h 43"/>
                <a:gd name="T8" fmla="*/ 21 w 64"/>
                <a:gd name="T9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3">
                  <a:moveTo>
                    <a:pt x="21" y="42"/>
                  </a:moveTo>
                  <a:lnTo>
                    <a:pt x="21" y="42"/>
                  </a:lnTo>
                  <a:cubicBezTo>
                    <a:pt x="0" y="42"/>
                    <a:pt x="42" y="0"/>
                    <a:pt x="63" y="0"/>
                  </a:cubicBezTo>
                  <a:lnTo>
                    <a:pt x="63" y="0"/>
                  </a:lnTo>
                  <a:cubicBezTo>
                    <a:pt x="58" y="22"/>
                    <a:pt x="43" y="42"/>
                    <a:pt x="21" y="4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1" name="Freeform 139">
              <a:extLst>
                <a:ext uri="{FF2B5EF4-FFF2-40B4-BE49-F238E27FC236}">
                  <a16:creationId xmlns:a16="http://schemas.microsoft.com/office/drawing/2014/main" id="{434BA60F-3702-4642-A225-79E592872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2202" y="3758798"/>
              <a:ext cx="985063" cy="708554"/>
            </a:xfrm>
            <a:custGeom>
              <a:avLst/>
              <a:gdLst>
                <a:gd name="T0" fmla="*/ 1387 w 1507"/>
                <a:gd name="T1" fmla="*/ 815 h 1086"/>
                <a:gd name="T2" fmla="*/ 1204 w 1507"/>
                <a:gd name="T3" fmla="*/ 691 h 1086"/>
                <a:gd name="T4" fmla="*/ 1204 w 1507"/>
                <a:gd name="T5" fmla="*/ 714 h 1086"/>
                <a:gd name="T6" fmla="*/ 1176 w 1507"/>
                <a:gd name="T7" fmla="*/ 736 h 1086"/>
                <a:gd name="T8" fmla="*/ 1200 w 1507"/>
                <a:gd name="T9" fmla="*/ 764 h 1086"/>
                <a:gd name="T10" fmla="*/ 1292 w 1507"/>
                <a:gd name="T11" fmla="*/ 855 h 1086"/>
                <a:gd name="T12" fmla="*/ 1323 w 1507"/>
                <a:gd name="T13" fmla="*/ 893 h 1086"/>
                <a:gd name="T14" fmla="*/ 1356 w 1507"/>
                <a:gd name="T15" fmla="*/ 934 h 1086"/>
                <a:gd name="T16" fmla="*/ 1158 w 1507"/>
                <a:gd name="T17" fmla="*/ 934 h 1086"/>
                <a:gd name="T18" fmla="*/ 1264 w 1507"/>
                <a:gd name="T19" fmla="*/ 1063 h 1086"/>
                <a:gd name="T20" fmla="*/ 1246 w 1507"/>
                <a:gd name="T21" fmla="*/ 1085 h 1086"/>
                <a:gd name="T22" fmla="*/ 1094 w 1507"/>
                <a:gd name="T23" fmla="*/ 1021 h 1086"/>
                <a:gd name="T24" fmla="*/ 971 w 1507"/>
                <a:gd name="T25" fmla="*/ 938 h 1086"/>
                <a:gd name="T26" fmla="*/ 792 w 1507"/>
                <a:gd name="T27" fmla="*/ 874 h 1086"/>
                <a:gd name="T28" fmla="*/ 761 w 1507"/>
                <a:gd name="T29" fmla="*/ 861 h 1086"/>
                <a:gd name="T30" fmla="*/ 626 w 1507"/>
                <a:gd name="T31" fmla="*/ 837 h 1086"/>
                <a:gd name="T32" fmla="*/ 779 w 1507"/>
                <a:gd name="T33" fmla="*/ 788 h 1086"/>
                <a:gd name="T34" fmla="*/ 861 w 1507"/>
                <a:gd name="T35" fmla="*/ 762 h 1086"/>
                <a:gd name="T36" fmla="*/ 874 w 1507"/>
                <a:gd name="T37" fmla="*/ 696 h 1086"/>
                <a:gd name="T38" fmla="*/ 929 w 1507"/>
                <a:gd name="T39" fmla="*/ 613 h 1086"/>
                <a:gd name="T40" fmla="*/ 714 w 1507"/>
                <a:gd name="T41" fmla="*/ 498 h 1086"/>
                <a:gd name="T42" fmla="*/ 700 w 1507"/>
                <a:gd name="T43" fmla="*/ 476 h 1086"/>
                <a:gd name="T44" fmla="*/ 608 w 1507"/>
                <a:gd name="T45" fmla="*/ 352 h 1086"/>
                <a:gd name="T46" fmla="*/ 522 w 1507"/>
                <a:gd name="T47" fmla="*/ 421 h 1086"/>
                <a:gd name="T48" fmla="*/ 229 w 1507"/>
                <a:gd name="T49" fmla="*/ 379 h 1086"/>
                <a:gd name="T50" fmla="*/ 86 w 1507"/>
                <a:gd name="T51" fmla="*/ 343 h 1086"/>
                <a:gd name="T52" fmla="*/ 46 w 1507"/>
                <a:gd name="T53" fmla="*/ 287 h 1086"/>
                <a:gd name="T54" fmla="*/ 128 w 1507"/>
                <a:gd name="T55" fmla="*/ 269 h 1086"/>
                <a:gd name="T56" fmla="*/ 0 w 1507"/>
                <a:gd name="T57" fmla="*/ 201 h 1086"/>
                <a:gd name="T58" fmla="*/ 37 w 1507"/>
                <a:gd name="T59" fmla="*/ 119 h 1086"/>
                <a:gd name="T60" fmla="*/ 196 w 1507"/>
                <a:gd name="T61" fmla="*/ 0 h 1086"/>
                <a:gd name="T62" fmla="*/ 257 w 1507"/>
                <a:gd name="T63" fmla="*/ 18 h 1086"/>
                <a:gd name="T64" fmla="*/ 193 w 1507"/>
                <a:gd name="T65" fmla="*/ 132 h 1086"/>
                <a:gd name="T66" fmla="*/ 193 w 1507"/>
                <a:gd name="T67" fmla="*/ 165 h 1086"/>
                <a:gd name="T68" fmla="*/ 247 w 1507"/>
                <a:gd name="T69" fmla="*/ 160 h 1086"/>
                <a:gd name="T70" fmla="*/ 229 w 1507"/>
                <a:gd name="T71" fmla="*/ 110 h 1086"/>
                <a:gd name="T72" fmla="*/ 499 w 1507"/>
                <a:gd name="T73" fmla="*/ 123 h 1086"/>
                <a:gd name="T74" fmla="*/ 499 w 1507"/>
                <a:gd name="T75" fmla="*/ 160 h 1086"/>
                <a:gd name="T76" fmla="*/ 577 w 1507"/>
                <a:gd name="T77" fmla="*/ 160 h 1086"/>
                <a:gd name="T78" fmla="*/ 651 w 1507"/>
                <a:gd name="T79" fmla="*/ 114 h 1086"/>
                <a:gd name="T80" fmla="*/ 901 w 1507"/>
                <a:gd name="T81" fmla="*/ 232 h 1086"/>
                <a:gd name="T82" fmla="*/ 1008 w 1507"/>
                <a:gd name="T83" fmla="*/ 269 h 1086"/>
                <a:gd name="T84" fmla="*/ 1136 w 1507"/>
                <a:gd name="T85" fmla="*/ 352 h 1086"/>
                <a:gd name="T86" fmla="*/ 1219 w 1507"/>
                <a:gd name="T87" fmla="*/ 396 h 1086"/>
                <a:gd name="T88" fmla="*/ 1154 w 1507"/>
                <a:gd name="T89" fmla="*/ 421 h 1086"/>
                <a:gd name="T90" fmla="*/ 1237 w 1507"/>
                <a:gd name="T91" fmla="*/ 441 h 1086"/>
                <a:gd name="T92" fmla="*/ 1176 w 1507"/>
                <a:gd name="T93" fmla="*/ 484 h 1086"/>
                <a:gd name="T94" fmla="*/ 1319 w 1507"/>
                <a:gd name="T95" fmla="*/ 562 h 1086"/>
                <a:gd name="T96" fmla="*/ 1360 w 1507"/>
                <a:gd name="T97" fmla="*/ 627 h 1086"/>
                <a:gd name="T98" fmla="*/ 1456 w 1507"/>
                <a:gd name="T99" fmla="*/ 645 h 1086"/>
                <a:gd name="T100" fmla="*/ 1506 w 1507"/>
                <a:gd name="T101" fmla="*/ 687 h 1086"/>
                <a:gd name="T102" fmla="*/ 1451 w 1507"/>
                <a:gd name="T103" fmla="*/ 742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7" h="1086">
                  <a:moveTo>
                    <a:pt x="1411" y="764"/>
                  </a:moveTo>
                  <a:lnTo>
                    <a:pt x="1411" y="764"/>
                  </a:lnTo>
                  <a:cubicBezTo>
                    <a:pt x="1411" y="784"/>
                    <a:pt x="1407" y="815"/>
                    <a:pt x="1387" y="815"/>
                  </a:cubicBezTo>
                  <a:lnTo>
                    <a:pt x="1387" y="815"/>
                  </a:lnTo>
                  <a:cubicBezTo>
                    <a:pt x="1295" y="815"/>
                    <a:pt x="1292" y="691"/>
                    <a:pt x="1204" y="691"/>
                  </a:cubicBezTo>
                  <a:lnTo>
                    <a:pt x="1204" y="691"/>
                  </a:lnTo>
                  <a:cubicBezTo>
                    <a:pt x="1193" y="691"/>
                    <a:pt x="1169" y="711"/>
                    <a:pt x="1167" y="711"/>
                  </a:cubicBezTo>
                  <a:lnTo>
                    <a:pt x="1167" y="711"/>
                  </a:lnTo>
                  <a:cubicBezTo>
                    <a:pt x="1184" y="720"/>
                    <a:pt x="1187" y="718"/>
                    <a:pt x="1204" y="714"/>
                  </a:cubicBezTo>
                  <a:lnTo>
                    <a:pt x="1204" y="736"/>
                  </a:lnTo>
                  <a:lnTo>
                    <a:pt x="1204" y="736"/>
                  </a:lnTo>
                  <a:cubicBezTo>
                    <a:pt x="1193" y="740"/>
                    <a:pt x="1184" y="742"/>
                    <a:pt x="1176" y="736"/>
                  </a:cubicBezTo>
                  <a:lnTo>
                    <a:pt x="1176" y="764"/>
                  </a:lnTo>
                  <a:lnTo>
                    <a:pt x="1200" y="764"/>
                  </a:lnTo>
                  <a:lnTo>
                    <a:pt x="1200" y="764"/>
                  </a:lnTo>
                  <a:cubicBezTo>
                    <a:pt x="1204" y="788"/>
                    <a:pt x="1226" y="828"/>
                    <a:pt x="1240" y="834"/>
                  </a:cubicBezTo>
                  <a:lnTo>
                    <a:pt x="1240" y="834"/>
                  </a:lnTo>
                  <a:cubicBezTo>
                    <a:pt x="1276" y="847"/>
                    <a:pt x="1288" y="824"/>
                    <a:pt x="1292" y="855"/>
                  </a:cubicBezTo>
                  <a:lnTo>
                    <a:pt x="1323" y="855"/>
                  </a:lnTo>
                  <a:lnTo>
                    <a:pt x="1323" y="855"/>
                  </a:lnTo>
                  <a:cubicBezTo>
                    <a:pt x="1321" y="885"/>
                    <a:pt x="1321" y="885"/>
                    <a:pt x="1323" y="893"/>
                  </a:cubicBezTo>
                  <a:lnTo>
                    <a:pt x="1323" y="893"/>
                  </a:lnTo>
                  <a:cubicBezTo>
                    <a:pt x="1323" y="905"/>
                    <a:pt x="1356" y="914"/>
                    <a:pt x="1356" y="934"/>
                  </a:cubicBezTo>
                  <a:lnTo>
                    <a:pt x="1356" y="934"/>
                  </a:lnTo>
                  <a:cubicBezTo>
                    <a:pt x="1356" y="953"/>
                    <a:pt x="1335" y="988"/>
                    <a:pt x="1328" y="1008"/>
                  </a:cubicBezTo>
                  <a:lnTo>
                    <a:pt x="1328" y="1008"/>
                  </a:lnTo>
                  <a:cubicBezTo>
                    <a:pt x="1295" y="1004"/>
                    <a:pt x="1178" y="960"/>
                    <a:pt x="1158" y="934"/>
                  </a:cubicBezTo>
                  <a:lnTo>
                    <a:pt x="1130" y="934"/>
                  </a:lnTo>
                  <a:lnTo>
                    <a:pt x="1130" y="934"/>
                  </a:lnTo>
                  <a:cubicBezTo>
                    <a:pt x="1161" y="973"/>
                    <a:pt x="1264" y="1011"/>
                    <a:pt x="1264" y="1063"/>
                  </a:cubicBezTo>
                  <a:lnTo>
                    <a:pt x="1264" y="1063"/>
                  </a:lnTo>
                  <a:cubicBezTo>
                    <a:pt x="1264" y="1076"/>
                    <a:pt x="1253" y="1085"/>
                    <a:pt x="1246" y="1085"/>
                  </a:cubicBezTo>
                  <a:lnTo>
                    <a:pt x="1246" y="1085"/>
                  </a:lnTo>
                  <a:cubicBezTo>
                    <a:pt x="1237" y="1085"/>
                    <a:pt x="1233" y="1065"/>
                    <a:pt x="1227" y="1063"/>
                  </a:cubicBezTo>
                  <a:lnTo>
                    <a:pt x="1227" y="1063"/>
                  </a:lnTo>
                  <a:cubicBezTo>
                    <a:pt x="1175" y="1037"/>
                    <a:pt x="1140" y="1048"/>
                    <a:pt x="1094" y="1021"/>
                  </a:cubicBezTo>
                  <a:lnTo>
                    <a:pt x="1094" y="1021"/>
                  </a:lnTo>
                  <a:cubicBezTo>
                    <a:pt x="1050" y="995"/>
                    <a:pt x="940" y="996"/>
                    <a:pt x="971" y="938"/>
                  </a:cubicBezTo>
                  <a:lnTo>
                    <a:pt x="971" y="938"/>
                  </a:lnTo>
                  <a:cubicBezTo>
                    <a:pt x="911" y="913"/>
                    <a:pt x="881" y="878"/>
                    <a:pt x="828" y="847"/>
                  </a:cubicBezTo>
                  <a:lnTo>
                    <a:pt x="828" y="847"/>
                  </a:lnTo>
                  <a:cubicBezTo>
                    <a:pt x="819" y="859"/>
                    <a:pt x="808" y="874"/>
                    <a:pt x="792" y="874"/>
                  </a:cubicBezTo>
                  <a:lnTo>
                    <a:pt x="792" y="874"/>
                  </a:lnTo>
                  <a:cubicBezTo>
                    <a:pt x="773" y="874"/>
                    <a:pt x="777" y="861"/>
                    <a:pt x="761" y="861"/>
                  </a:cubicBezTo>
                  <a:lnTo>
                    <a:pt x="761" y="861"/>
                  </a:lnTo>
                  <a:cubicBezTo>
                    <a:pt x="739" y="861"/>
                    <a:pt x="727" y="888"/>
                    <a:pt x="705" y="888"/>
                  </a:cubicBezTo>
                  <a:lnTo>
                    <a:pt x="705" y="888"/>
                  </a:lnTo>
                  <a:cubicBezTo>
                    <a:pt x="685" y="888"/>
                    <a:pt x="626" y="863"/>
                    <a:pt x="626" y="837"/>
                  </a:cubicBezTo>
                  <a:lnTo>
                    <a:pt x="626" y="837"/>
                  </a:lnTo>
                  <a:cubicBezTo>
                    <a:pt x="626" y="819"/>
                    <a:pt x="674" y="788"/>
                    <a:pt x="700" y="788"/>
                  </a:cubicBezTo>
                  <a:lnTo>
                    <a:pt x="779" y="788"/>
                  </a:lnTo>
                  <a:lnTo>
                    <a:pt x="779" y="788"/>
                  </a:lnTo>
                  <a:cubicBezTo>
                    <a:pt x="795" y="788"/>
                    <a:pt x="839" y="777"/>
                    <a:pt x="861" y="762"/>
                  </a:cubicBezTo>
                  <a:lnTo>
                    <a:pt x="861" y="762"/>
                  </a:lnTo>
                  <a:cubicBezTo>
                    <a:pt x="852" y="757"/>
                    <a:pt x="828" y="738"/>
                    <a:pt x="828" y="724"/>
                  </a:cubicBezTo>
                  <a:lnTo>
                    <a:pt x="828" y="724"/>
                  </a:lnTo>
                  <a:cubicBezTo>
                    <a:pt x="828" y="692"/>
                    <a:pt x="861" y="709"/>
                    <a:pt x="874" y="696"/>
                  </a:cubicBezTo>
                  <a:lnTo>
                    <a:pt x="874" y="696"/>
                  </a:lnTo>
                  <a:cubicBezTo>
                    <a:pt x="890" y="679"/>
                    <a:pt x="929" y="639"/>
                    <a:pt x="929" y="613"/>
                  </a:cubicBezTo>
                  <a:lnTo>
                    <a:pt x="929" y="613"/>
                  </a:lnTo>
                  <a:cubicBezTo>
                    <a:pt x="929" y="566"/>
                    <a:pt x="812" y="476"/>
                    <a:pt x="773" y="476"/>
                  </a:cubicBezTo>
                  <a:lnTo>
                    <a:pt x="773" y="476"/>
                  </a:lnTo>
                  <a:cubicBezTo>
                    <a:pt x="749" y="476"/>
                    <a:pt x="739" y="498"/>
                    <a:pt x="714" y="498"/>
                  </a:cubicBezTo>
                  <a:lnTo>
                    <a:pt x="714" y="498"/>
                  </a:lnTo>
                  <a:cubicBezTo>
                    <a:pt x="707" y="498"/>
                    <a:pt x="700" y="480"/>
                    <a:pt x="700" y="476"/>
                  </a:cubicBezTo>
                  <a:lnTo>
                    <a:pt x="700" y="476"/>
                  </a:lnTo>
                  <a:cubicBezTo>
                    <a:pt x="700" y="458"/>
                    <a:pt x="733" y="454"/>
                    <a:pt x="744" y="453"/>
                  </a:cubicBezTo>
                  <a:lnTo>
                    <a:pt x="744" y="453"/>
                  </a:lnTo>
                  <a:cubicBezTo>
                    <a:pt x="727" y="436"/>
                    <a:pt x="628" y="352"/>
                    <a:pt x="608" y="352"/>
                  </a:cubicBezTo>
                  <a:lnTo>
                    <a:pt x="608" y="352"/>
                  </a:lnTo>
                  <a:cubicBezTo>
                    <a:pt x="584" y="352"/>
                    <a:pt x="555" y="421"/>
                    <a:pt x="522" y="421"/>
                  </a:cubicBezTo>
                  <a:lnTo>
                    <a:pt x="522" y="421"/>
                  </a:lnTo>
                  <a:cubicBezTo>
                    <a:pt x="499" y="421"/>
                    <a:pt x="506" y="392"/>
                    <a:pt x="507" y="379"/>
                  </a:cubicBezTo>
                  <a:lnTo>
                    <a:pt x="507" y="379"/>
                  </a:lnTo>
                  <a:cubicBezTo>
                    <a:pt x="451" y="374"/>
                    <a:pt x="312" y="379"/>
                    <a:pt x="229" y="379"/>
                  </a:cubicBezTo>
                  <a:lnTo>
                    <a:pt x="229" y="379"/>
                  </a:lnTo>
                  <a:cubicBezTo>
                    <a:pt x="214" y="379"/>
                    <a:pt x="185" y="357"/>
                    <a:pt x="174" y="343"/>
                  </a:cubicBezTo>
                  <a:lnTo>
                    <a:pt x="86" y="343"/>
                  </a:lnTo>
                  <a:lnTo>
                    <a:pt x="86" y="343"/>
                  </a:lnTo>
                  <a:cubicBezTo>
                    <a:pt x="77" y="317"/>
                    <a:pt x="49" y="314"/>
                    <a:pt x="46" y="287"/>
                  </a:cubicBezTo>
                  <a:lnTo>
                    <a:pt x="46" y="287"/>
                  </a:lnTo>
                  <a:cubicBezTo>
                    <a:pt x="70" y="278"/>
                    <a:pt x="97" y="289"/>
                    <a:pt x="128" y="293"/>
                  </a:cubicBezTo>
                  <a:lnTo>
                    <a:pt x="128" y="269"/>
                  </a:lnTo>
                  <a:lnTo>
                    <a:pt x="128" y="269"/>
                  </a:lnTo>
                  <a:cubicBezTo>
                    <a:pt x="112" y="258"/>
                    <a:pt x="27" y="251"/>
                    <a:pt x="27" y="251"/>
                  </a:cubicBezTo>
                  <a:lnTo>
                    <a:pt x="27" y="251"/>
                  </a:lnTo>
                  <a:cubicBezTo>
                    <a:pt x="27" y="251"/>
                    <a:pt x="0" y="218"/>
                    <a:pt x="0" y="201"/>
                  </a:cubicBezTo>
                  <a:lnTo>
                    <a:pt x="0" y="201"/>
                  </a:lnTo>
                  <a:cubicBezTo>
                    <a:pt x="0" y="150"/>
                    <a:pt x="9" y="139"/>
                    <a:pt x="37" y="119"/>
                  </a:cubicBezTo>
                  <a:lnTo>
                    <a:pt x="37" y="119"/>
                  </a:lnTo>
                  <a:cubicBezTo>
                    <a:pt x="51" y="108"/>
                    <a:pt x="42" y="75"/>
                    <a:pt x="49" y="68"/>
                  </a:cubicBezTo>
                  <a:lnTo>
                    <a:pt x="49" y="68"/>
                  </a:lnTo>
                  <a:cubicBezTo>
                    <a:pt x="86" y="31"/>
                    <a:pt x="134" y="0"/>
                    <a:pt x="196" y="0"/>
                  </a:cubicBezTo>
                  <a:lnTo>
                    <a:pt x="196" y="0"/>
                  </a:lnTo>
                  <a:cubicBezTo>
                    <a:pt x="196" y="0"/>
                    <a:pt x="255" y="18"/>
                    <a:pt x="257" y="18"/>
                  </a:cubicBezTo>
                  <a:lnTo>
                    <a:pt x="257" y="18"/>
                  </a:lnTo>
                  <a:cubicBezTo>
                    <a:pt x="238" y="57"/>
                    <a:pt x="178" y="60"/>
                    <a:pt x="178" y="114"/>
                  </a:cubicBezTo>
                  <a:lnTo>
                    <a:pt x="178" y="114"/>
                  </a:lnTo>
                  <a:cubicBezTo>
                    <a:pt x="178" y="124"/>
                    <a:pt x="183" y="132"/>
                    <a:pt x="193" y="132"/>
                  </a:cubicBezTo>
                  <a:lnTo>
                    <a:pt x="193" y="132"/>
                  </a:lnTo>
                  <a:cubicBezTo>
                    <a:pt x="189" y="145"/>
                    <a:pt x="193" y="165"/>
                    <a:pt x="193" y="165"/>
                  </a:cubicBezTo>
                  <a:lnTo>
                    <a:pt x="193" y="165"/>
                  </a:lnTo>
                  <a:cubicBezTo>
                    <a:pt x="193" y="180"/>
                    <a:pt x="189" y="196"/>
                    <a:pt x="211" y="196"/>
                  </a:cubicBezTo>
                  <a:lnTo>
                    <a:pt x="211" y="196"/>
                  </a:lnTo>
                  <a:cubicBezTo>
                    <a:pt x="222" y="196"/>
                    <a:pt x="247" y="174"/>
                    <a:pt x="247" y="160"/>
                  </a:cubicBezTo>
                  <a:lnTo>
                    <a:pt x="247" y="160"/>
                  </a:lnTo>
                  <a:cubicBezTo>
                    <a:pt x="247" y="141"/>
                    <a:pt x="229" y="128"/>
                    <a:pt x="229" y="110"/>
                  </a:cubicBezTo>
                  <a:lnTo>
                    <a:pt x="229" y="110"/>
                  </a:lnTo>
                  <a:cubicBezTo>
                    <a:pt x="229" y="40"/>
                    <a:pt x="352" y="18"/>
                    <a:pt x="425" y="18"/>
                  </a:cubicBezTo>
                  <a:lnTo>
                    <a:pt x="425" y="18"/>
                  </a:lnTo>
                  <a:cubicBezTo>
                    <a:pt x="472" y="18"/>
                    <a:pt x="499" y="83"/>
                    <a:pt x="499" y="123"/>
                  </a:cubicBezTo>
                  <a:lnTo>
                    <a:pt x="499" y="123"/>
                  </a:lnTo>
                  <a:cubicBezTo>
                    <a:pt x="499" y="130"/>
                    <a:pt x="489" y="160"/>
                    <a:pt x="499" y="160"/>
                  </a:cubicBezTo>
                  <a:lnTo>
                    <a:pt x="499" y="160"/>
                  </a:lnTo>
                  <a:cubicBezTo>
                    <a:pt x="509" y="160"/>
                    <a:pt x="517" y="141"/>
                    <a:pt x="535" y="141"/>
                  </a:cubicBezTo>
                  <a:lnTo>
                    <a:pt x="535" y="141"/>
                  </a:lnTo>
                  <a:cubicBezTo>
                    <a:pt x="555" y="141"/>
                    <a:pt x="561" y="160"/>
                    <a:pt x="577" y="160"/>
                  </a:cubicBezTo>
                  <a:lnTo>
                    <a:pt x="577" y="160"/>
                  </a:lnTo>
                  <a:cubicBezTo>
                    <a:pt x="608" y="160"/>
                    <a:pt x="617" y="114"/>
                    <a:pt x="651" y="114"/>
                  </a:cubicBezTo>
                  <a:lnTo>
                    <a:pt x="651" y="114"/>
                  </a:lnTo>
                  <a:cubicBezTo>
                    <a:pt x="685" y="114"/>
                    <a:pt x="764" y="124"/>
                    <a:pt x="788" y="141"/>
                  </a:cubicBezTo>
                  <a:lnTo>
                    <a:pt x="788" y="141"/>
                  </a:lnTo>
                  <a:cubicBezTo>
                    <a:pt x="828" y="170"/>
                    <a:pt x="841" y="232"/>
                    <a:pt x="901" y="232"/>
                  </a:cubicBezTo>
                  <a:lnTo>
                    <a:pt x="947" y="232"/>
                  </a:lnTo>
                  <a:lnTo>
                    <a:pt x="947" y="232"/>
                  </a:lnTo>
                  <a:cubicBezTo>
                    <a:pt x="967" y="232"/>
                    <a:pt x="1013" y="238"/>
                    <a:pt x="1008" y="269"/>
                  </a:cubicBezTo>
                  <a:lnTo>
                    <a:pt x="1008" y="269"/>
                  </a:lnTo>
                  <a:cubicBezTo>
                    <a:pt x="1057" y="286"/>
                    <a:pt x="1085" y="315"/>
                    <a:pt x="1136" y="320"/>
                  </a:cubicBezTo>
                  <a:lnTo>
                    <a:pt x="1136" y="352"/>
                  </a:lnTo>
                  <a:lnTo>
                    <a:pt x="1167" y="352"/>
                  </a:lnTo>
                  <a:lnTo>
                    <a:pt x="1167" y="352"/>
                  </a:lnTo>
                  <a:cubicBezTo>
                    <a:pt x="1193" y="352"/>
                    <a:pt x="1207" y="370"/>
                    <a:pt x="1219" y="396"/>
                  </a:cubicBezTo>
                  <a:lnTo>
                    <a:pt x="1219" y="396"/>
                  </a:lnTo>
                  <a:cubicBezTo>
                    <a:pt x="1193" y="401"/>
                    <a:pt x="1169" y="399"/>
                    <a:pt x="1154" y="421"/>
                  </a:cubicBezTo>
                  <a:lnTo>
                    <a:pt x="1154" y="421"/>
                  </a:lnTo>
                  <a:cubicBezTo>
                    <a:pt x="1186" y="425"/>
                    <a:pt x="1193" y="425"/>
                    <a:pt x="1209" y="425"/>
                  </a:cubicBezTo>
                  <a:lnTo>
                    <a:pt x="1209" y="425"/>
                  </a:lnTo>
                  <a:cubicBezTo>
                    <a:pt x="1219" y="425"/>
                    <a:pt x="1231" y="430"/>
                    <a:pt x="1237" y="441"/>
                  </a:cubicBezTo>
                  <a:lnTo>
                    <a:pt x="1237" y="441"/>
                  </a:lnTo>
                  <a:cubicBezTo>
                    <a:pt x="1207" y="456"/>
                    <a:pt x="1193" y="456"/>
                    <a:pt x="1176" y="484"/>
                  </a:cubicBezTo>
                  <a:lnTo>
                    <a:pt x="1176" y="484"/>
                  </a:lnTo>
                  <a:cubicBezTo>
                    <a:pt x="1193" y="492"/>
                    <a:pt x="1204" y="498"/>
                    <a:pt x="1227" y="498"/>
                  </a:cubicBezTo>
                  <a:lnTo>
                    <a:pt x="1227" y="498"/>
                  </a:lnTo>
                  <a:cubicBezTo>
                    <a:pt x="1231" y="541"/>
                    <a:pt x="1281" y="559"/>
                    <a:pt x="1319" y="562"/>
                  </a:cubicBezTo>
                  <a:lnTo>
                    <a:pt x="1319" y="562"/>
                  </a:lnTo>
                  <a:cubicBezTo>
                    <a:pt x="1323" y="595"/>
                    <a:pt x="1332" y="627"/>
                    <a:pt x="1360" y="627"/>
                  </a:cubicBezTo>
                  <a:lnTo>
                    <a:pt x="1360" y="627"/>
                  </a:lnTo>
                  <a:cubicBezTo>
                    <a:pt x="1400" y="627"/>
                    <a:pt x="1409" y="601"/>
                    <a:pt x="1423" y="636"/>
                  </a:cubicBezTo>
                  <a:lnTo>
                    <a:pt x="1423" y="636"/>
                  </a:lnTo>
                  <a:cubicBezTo>
                    <a:pt x="1433" y="645"/>
                    <a:pt x="1448" y="645"/>
                    <a:pt x="1456" y="645"/>
                  </a:cubicBezTo>
                  <a:lnTo>
                    <a:pt x="1456" y="645"/>
                  </a:lnTo>
                  <a:cubicBezTo>
                    <a:pt x="1492" y="645"/>
                    <a:pt x="1506" y="658"/>
                    <a:pt x="1506" y="687"/>
                  </a:cubicBezTo>
                  <a:lnTo>
                    <a:pt x="1506" y="687"/>
                  </a:lnTo>
                  <a:cubicBezTo>
                    <a:pt x="1506" y="711"/>
                    <a:pt x="1474" y="718"/>
                    <a:pt x="1451" y="718"/>
                  </a:cubicBezTo>
                  <a:lnTo>
                    <a:pt x="1451" y="718"/>
                  </a:lnTo>
                  <a:cubicBezTo>
                    <a:pt x="1453" y="738"/>
                    <a:pt x="1451" y="733"/>
                    <a:pt x="1451" y="742"/>
                  </a:cubicBezTo>
                  <a:lnTo>
                    <a:pt x="1451" y="742"/>
                  </a:lnTo>
                  <a:cubicBezTo>
                    <a:pt x="1451" y="747"/>
                    <a:pt x="1446" y="764"/>
                    <a:pt x="1411" y="76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2" name="Freeform 140">
              <a:extLst>
                <a:ext uri="{FF2B5EF4-FFF2-40B4-BE49-F238E27FC236}">
                  <a16:creationId xmlns:a16="http://schemas.microsoft.com/office/drawing/2014/main" id="{545D6044-8D93-844C-B79A-4A4AC3B37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5444" y="4369421"/>
              <a:ext cx="28803" cy="25922"/>
            </a:xfrm>
            <a:custGeom>
              <a:avLst/>
              <a:gdLst>
                <a:gd name="T0" fmla="*/ 43 w 44"/>
                <a:gd name="T1" fmla="*/ 24 h 40"/>
                <a:gd name="T2" fmla="*/ 43 w 44"/>
                <a:gd name="T3" fmla="*/ 24 h 40"/>
                <a:gd name="T4" fmla="*/ 0 w 44"/>
                <a:gd name="T5" fmla="*/ 24 h 40"/>
                <a:gd name="T6" fmla="*/ 0 w 44"/>
                <a:gd name="T7" fmla="*/ 24 h 40"/>
                <a:gd name="T8" fmla="*/ 43 w 44"/>
                <a:gd name="T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0">
                  <a:moveTo>
                    <a:pt x="43" y="24"/>
                  </a:moveTo>
                  <a:lnTo>
                    <a:pt x="43" y="24"/>
                  </a:lnTo>
                  <a:cubicBezTo>
                    <a:pt x="24" y="39"/>
                    <a:pt x="19" y="39"/>
                    <a:pt x="0" y="24"/>
                  </a:cubicBezTo>
                  <a:lnTo>
                    <a:pt x="0" y="24"/>
                  </a:lnTo>
                  <a:cubicBezTo>
                    <a:pt x="19" y="0"/>
                    <a:pt x="21" y="13"/>
                    <a:pt x="43" y="2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3" name="Freeform 141">
              <a:extLst>
                <a:ext uri="{FF2B5EF4-FFF2-40B4-BE49-F238E27FC236}">
                  <a16:creationId xmlns:a16="http://schemas.microsoft.com/office/drawing/2014/main" id="{653B0C97-7B5C-2B46-9339-5740B9B86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3822" y="4234045"/>
              <a:ext cx="25924" cy="25924"/>
            </a:xfrm>
            <a:custGeom>
              <a:avLst/>
              <a:gdLst>
                <a:gd name="T0" fmla="*/ 3 w 40"/>
                <a:gd name="T1" fmla="*/ 10 h 41"/>
                <a:gd name="T2" fmla="*/ 3 w 40"/>
                <a:gd name="T3" fmla="*/ 10 h 41"/>
                <a:gd name="T4" fmla="*/ 39 w 40"/>
                <a:gd name="T5" fmla="*/ 40 h 41"/>
                <a:gd name="T6" fmla="*/ 39 w 40"/>
                <a:gd name="T7" fmla="*/ 40 h 41"/>
                <a:gd name="T8" fmla="*/ 3 w 40"/>
                <a:gd name="T9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3" y="10"/>
                  </a:moveTo>
                  <a:lnTo>
                    <a:pt x="3" y="10"/>
                  </a:lnTo>
                  <a:cubicBezTo>
                    <a:pt x="26" y="0"/>
                    <a:pt x="26" y="23"/>
                    <a:pt x="39" y="40"/>
                  </a:cubicBezTo>
                  <a:lnTo>
                    <a:pt x="39" y="40"/>
                  </a:lnTo>
                  <a:cubicBezTo>
                    <a:pt x="15" y="38"/>
                    <a:pt x="0" y="23"/>
                    <a:pt x="3" y="1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4" name="Freeform 142">
              <a:extLst>
                <a:ext uri="{FF2B5EF4-FFF2-40B4-BE49-F238E27FC236}">
                  <a16:creationId xmlns:a16="http://schemas.microsoft.com/office/drawing/2014/main" id="{A0CFC903-2470-7D44-8E81-E68E6414C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61717" y="3047362"/>
              <a:ext cx="1051309" cy="550139"/>
            </a:xfrm>
            <a:custGeom>
              <a:avLst/>
              <a:gdLst>
                <a:gd name="T0" fmla="*/ 1278 w 1608"/>
                <a:gd name="T1" fmla="*/ 64 h 843"/>
                <a:gd name="T2" fmla="*/ 1457 w 1608"/>
                <a:gd name="T3" fmla="*/ 36 h 843"/>
                <a:gd name="T4" fmla="*/ 1488 w 1608"/>
                <a:gd name="T5" fmla="*/ 67 h 843"/>
                <a:gd name="T6" fmla="*/ 1561 w 1608"/>
                <a:gd name="T7" fmla="*/ 141 h 843"/>
                <a:gd name="T8" fmla="*/ 1301 w 1608"/>
                <a:gd name="T9" fmla="*/ 211 h 843"/>
                <a:gd name="T10" fmla="*/ 1228 w 1608"/>
                <a:gd name="T11" fmla="*/ 306 h 843"/>
                <a:gd name="T12" fmla="*/ 1057 w 1608"/>
                <a:gd name="T13" fmla="*/ 443 h 843"/>
                <a:gd name="T14" fmla="*/ 847 w 1608"/>
                <a:gd name="T15" fmla="*/ 489 h 843"/>
                <a:gd name="T16" fmla="*/ 845 w 1608"/>
                <a:gd name="T17" fmla="*/ 522 h 843"/>
                <a:gd name="T18" fmla="*/ 898 w 1608"/>
                <a:gd name="T19" fmla="*/ 566 h 843"/>
                <a:gd name="T20" fmla="*/ 724 w 1608"/>
                <a:gd name="T21" fmla="*/ 650 h 843"/>
                <a:gd name="T22" fmla="*/ 660 w 1608"/>
                <a:gd name="T23" fmla="*/ 764 h 843"/>
                <a:gd name="T24" fmla="*/ 733 w 1608"/>
                <a:gd name="T25" fmla="*/ 778 h 843"/>
                <a:gd name="T26" fmla="*/ 587 w 1608"/>
                <a:gd name="T27" fmla="*/ 842 h 843"/>
                <a:gd name="T28" fmla="*/ 389 w 1608"/>
                <a:gd name="T29" fmla="*/ 815 h 843"/>
                <a:gd name="T30" fmla="*/ 160 w 1608"/>
                <a:gd name="T31" fmla="*/ 797 h 843"/>
                <a:gd name="T32" fmla="*/ 138 w 1608"/>
                <a:gd name="T33" fmla="*/ 815 h 843"/>
                <a:gd name="T34" fmla="*/ 253 w 1608"/>
                <a:gd name="T35" fmla="*/ 727 h 843"/>
                <a:gd name="T36" fmla="*/ 193 w 1608"/>
                <a:gd name="T37" fmla="*/ 672 h 843"/>
                <a:gd name="T38" fmla="*/ 352 w 1608"/>
                <a:gd name="T39" fmla="*/ 705 h 843"/>
                <a:gd name="T40" fmla="*/ 303 w 1608"/>
                <a:gd name="T41" fmla="*/ 614 h 843"/>
                <a:gd name="T42" fmla="*/ 257 w 1608"/>
                <a:gd name="T43" fmla="*/ 626 h 843"/>
                <a:gd name="T44" fmla="*/ 229 w 1608"/>
                <a:gd name="T45" fmla="*/ 604 h 843"/>
                <a:gd name="T46" fmla="*/ 385 w 1608"/>
                <a:gd name="T47" fmla="*/ 494 h 843"/>
                <a:gd name="T48" fmla="*/ 260 w 1608"/>
                <a:gd name="T49" fmla="*/ 403 h 843"/>
                <a:gd name="T50" fmla="*/ 279 w 1608"/>
                <a:gd name="T51" fmla="*/ 366 h 843"/>
                <a:gd name="T52" fmla="*/ 306 w 1608"/>
                <a:gd name="T53" fmla="*/ 366 h 843"/>
                <a:gd name="T54" fmla="*/ 517 w 1608"/>
                <a:gd name="T55" fmla="*/ 432 h 843"/>
                <a:gd name="T56" fmla="*/ 449 w 1608"/>
                <a:gd name="T57" fmla="*/ 375 h 843"/>
                <a:gd name="T58" fmla="*/ 553 w 1608"/>
                <a:gd name="T59" fmla="*/ 357 h 843"/>
                <a:gd name="T60" fmla="*/ 614 w 1608"/>
                <a:gd name="T61" fmla="*/ 306 h 843"/>
                <a:gd name="T62" fmla="*/ 412 w 1608"/>
                <a:gd name="T63" fmla="*/ 333 h 843"/>
                <a:gd name="T64" fmla="*/ 376 w 1608"/>
                <a:gd name="T65" fmla="*/ 352 h 843"/>
                <a:gd name="T66" fmla="*/ 279 w 1608"/>
                <a:gd name="T67" fmla="*/ 315 h 843"/>
                <a:gd name="T68" fmla="*/ 138 w 1608"/>
                <a:gd name="T69" fmla="*/ 294 h 843"/>
                <a:gd name="T70" fmla="*/ 187 w 1608"/>
                <a:gd name="T71" fmla="*/ 274 h 843"/>
                <a:gd name="T72" fmla="*/ 215 w 1608"/>
                <a:gd name="T73" fmla="*/ 218 h 843"/>
                <a:gd name="T74" fmla="*/ 178 w 1608"/>
                <a:gd name="T75" fmla="*/ 214 h 843"/>
                <a:gd name="T76" fmla="*/ 72 w 1608"/>
                <a:gd name="T77" fmla="*/ 232 h 843"/>
                <a:gd name="T78" fmla="*/ 68 w 1608"/>
                <a:gd name="T79" fmla="*/ 201 h 843"/>
                <a:gd name="T80" fmla="*/ 0 w 1608"/>
                <a:gd name="T81" fmla="*/ 214 h 843"/>
                <a:gd name="T82" fmla="*/ 224 w 1608"/>
                <a:gd name="T83" fmla="*/ 147 h 843"/>
                <a:gd name="T84" fmla="*/ 239 w 1608"/>
                <a:gd name="T85" fmla="*/ 132 h 843"/>
                <a:gd name="T86" fmla="*/ 435 w 1608"/>
                <a:gd name="T87" fmla="*/ 132 h 843"/>
                <a:gd name="T88" fmla="*/ 526 w 1608"/>
                <a:gd name="T89" fmla="*/ 49 h 843"/>
                <a:gd name="T90" fmla="*/ 605 w 1608"/>
                <a:gd name="T91" fmla="*/ 22 h 843"/>
                <a:gd name="T92" fmla="*/ 838 w 1608"/>
                <a:gd name="T93" fmla="*/ 9 h 843"/>
                <a:gd name="T94" fmla="*/ 907 w 1608"/>
                <a:gd name="T95" fmla="*/ 31 h 843"/>
                <a:gd name="T96" fmla="*/ 1021 w 1608"/>
                <a:gd name="T97" fmla="*/ 13 h 843"/>
                <a:gd name="T98" fmla="*/ 1311 w 1608"/>
                <a:gd name="T99" fmla="*/ 44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08" h="843">
                  <a:moveTo>
                    <a:pt x="1311" y="44"/>
                  </a:moveTo>
                  <a:lnTo>
                    <a:pt x="1311" y="44"/>
                  </a:lnTo>
                  <a:cubicBezTo>
                    <a:pt x="1298" y="57"/>
                    <a:pt x="1292" y="60"/>
                    <a:pt x="1278" y="64"/>
                  </a:cubicBezTo>
                  <a:lnTo>
                    <a:pt x="1424" y="22"/>
                  </a:lnTo>
                  <a:lnTo>
                    <a:pt x="1424" y="22"/>
                  </a:lnTo>
                  <a:cubicBezTo>
                    <a:pt x="1437" y="29"/>
                    <a:pt x="1444" y="33"/>
                    <a:pt x="1457" y="36"/>
                  </a:cubicBezTo>
                  <a:lnTo>
                    <a:pt x="1457" y="36"/>
                  </a:lnTo>
                  <a:cubicBezTo>
                    <a:pt x="1477" y="42"/>
                    <a:pt x="1477" y="57"/>
                    <a:pt x="1488" y="67"/>
                  </a:cubicBezTo>
                  <a:lnTo>
                    <a:pt x="1488" y="67"/>
                  </a:lnTo>
                  <a:cubicBezTo>
                    <a:pt x="1510" y="90"/>
                    <a:pt x="1607" y="80"/>
                    <a:pt x="1607" y="113"/>
                  </a:cubicBezTo>
                  <a:lnTo>
                    <a:pt x="1607" y="113"/>
                  </a:lnTo>
                  <a:cubicBezTo>
                    <a:pt x="1607" y="137"/>
                    <a:pt x="1574" y="132"/>
                    <a:pt x="1561" y="141"/>
                  </a:cubicBezTo>
                  <a:lnTo>
                    <a:pt x="1561" y="141"/>
                  </a:lnTo>
                  <a:cubicBezTo>
                    <a:pt x="1488" y="196"/>
                    <a:pt x="1398" y="163"/>
                    <a:pt x="1301" y="211"/>
                  </a:cubicBezTo>
                  <a:lnTo>
                    <a:pt x="1301" y="211"/>
                  </a:lnTo>
                  <a:cubicBezTo>
                    <a:pt x="1319" y="229"/>
                    <a:pt x="1393" y="214"/>
                    <a:pt x="1439" y="216"/>
                  </a:cubicBezTo>
                  <a:lnTo>
                    <a:pt x="1439" y="216"/>
                  </a:lnTo>
                  <a:cubicBezTo>
                    <a:pt x="1396" y="258"/>
                    <a:pt x="1294" y="284"/>
                    <a:pt x="1228" y="306"/>
                  </a:cubicBezTo>
                  <a:lnTo>
                    <a:pt x="1228" y="306"/>
                  </a:lnTo>
                  <a:cubicBezTo>
                    <a:pt x="1155" y="330"/>
                    <a:pt x="1113" y="403"/>
                    <a:pt x="1057" y="443"/>
                  </a:cubicBezTo>
                  <a:lnTo>
                    <a:pt x="1057" y="443"/>
                  </a:lnTo>
                  <a:cubicBezTo>
                    <a:pt x="1032" y="461"/>
                    <a:pt x="992" y="440"/>
                    <a:pt x="962" y="448"/>
                  </a:cubicBezTo>
                  <a:lnTo>
                    <a:pt x="962" y="448"/>
                  </a:lnTo>
                  <a:cubicBezTo>
                    <a:pt x="922" y="461"/>
                    <a:pt x="876" y="465"/>
                    <a:pt x="847" y="489"/>
                  </a:cubicBezTo>
                  <a:lnTo>
                    <a:pt x="898" y="489"/>
                  </a:lnTo>
                  <a:lnTo>
                    <a:pt x="898" y="489"/>
                  </a:lnTo>
                  <a:cubicBezTo>
                    <a:pt x="902" y="529"/>
                    <a:pt x="880" y="525"/>
                    <a:pt x="845" y="522"/>
                  </a:cubicBezTo>
                  <a:lnTo>
                    <a:pt x="845" y="522"/>
                  </a:lnTo>
                  <a:cubicBezTo>
                    <a:pt x="867" y="533"/>
                    <a:pt x="887" y="540"/>
                    <a:pt x="898" y="566"/>
                  </a:cubicBezTo>
                  <a:lnTo>
                    <a:pt x="898" y="566"/>
                  </a:lnTo>
                  <a:cubicBezTo>
                    <a:pt x="859" y="584"/>
                    <a:pt x="847" y="628"/>
                    <a:pt x="815" y="650"/>
                  </a:cubicBezTo>
                  <a:lnTo>
                    <a:pt x="724" y="650"/>
                  </a:lnTo>
                  <a:lnTo>
                    <a:pt x="724" y="650"/>
                  </a:lnTo>
                  <a:cubicBezTo>
                    <a:pt x="728" y="663"/>
                    <a:pt x="737" y="666"/>
                    <a:pt x="737" y="677"/>
                  </a:cubicBezTo>
                  <a:lnTo>
                    <a:pt x="737" y="677"/>
                  </a:lnTo>
                  <a:cubicBezTo>
                    <a:pt x="737" y="736"/>
                    <a:pt x="660" y="702"/>
                    <a:pt x="660" y="764"/>
                  </a:cubicBezTo>
                  <a:lnTo>
                    <a:pt x="705" y="764"/>
                  </a:lnTo>
                  <a:lnTo>
                    <a:pt x="705" y="764"/>
                  </a:lnTo>
                  <a:cubicBezTo>
                    <a:pt x="712" y="764"/>
                    <a:pt x="733" y="762"/>
                    <a:pt x="733" y="778"/>
                  </a:cubicBezTo>
                  <a:lnTo>
                    <a:pt x="733" y="778"/>
                  </a:lnTo>
                  <a:cubicBezTo>
                    <a:pt x="733" y="810"/>
                    <a:pt x="629" y="842"/>
                    <a:pt x="587" y="842"/>
                  </a:cubicBezTo>
                  <a:lnTo>
                    <a:pt x="587" y="842"/>
                  </a:lnTo>
                  <a:cubicBezTo>
                    <a:pt x="545" y="842"/>
                    <a:pt x="563" y="815"/>
                    <a:pt x="526" y="815"/>
                  </a:cubicBezTo>
                  <a:lnTo>
                    <a:pt x="389" y="815"/>
                  </a:lnTo>
                  <a:lnTo>
                    <a:pt x="389" y="815"/>
                  </a:lnTo>
                  <a:cubicBezTo>
                    <a:pt x="372" y="815"/>
                    <a:pt x="361" y="833"/>
                    <a:pt x="334" y="833"/>
                  </a:cubicBezTo>
                  <a:lnTo>
                    <a:pt x="334" y="833"/>
                  </a:lnTo>
                  <a:cubicBezTo>
                    <a:pt x="273" y="833"/>
                    <a:pt x="224" y="817"/>
                    <a:pt x="160" y="797"/>
                  </a:cubicBezTo>
                  <a:lnTo>
                    <a:pt x="160" y="797"/>
                  </a:lnTo>
                  <a:cubicBezTo>
                    <a:pt x="154" y="806"/>
                    <a:pt x="147" y="815"/>
                    <a:pt x="138" y="815"/>
                  </a:cubicBezTo>
                  <a:lnTo>
                    <a:pt x="138" y="815"/>
                  </a:lnTo>
                  <a:cubicBezTo>
                    <a:pt x="125" y="815"/>
                    <a:pt x="119" y="806"/>
                    <a:pt x="119" y="800"/>
                  </a:cubicBezTo>
                  <a:lnTo>
                    <a:pt x="119" y="800"/>
                  </a:lnTo>
                  <a:cubicBezTo>
                    <a:pt x="119" y="727"/>
                    <a:pt x="215" y="754"/>
                    <a:pt x="253" y="727"/>
                  </a:cubicBezTo>
                  <a:lnTo>
                    <a:pt x="253" y="727"/>
                  </a:lnTo>
                  <a:cubicBezTo>
                    <a:pt x="231" y="710"/>
                    <a:pt x="193" y="705"/>
                    <a:pt x="193" y="672"/>
                  </a:cubicBezTo>
                  <a:lnTo>
                    <a:pt x="193" y="672"/>
                  </a:lnTo>
                  <a:cubicBezTo>
                    <a:pt x="193" y="646"/>
                    <a:pt x="220" y="654"/>
                    <a:pt x="239" y="654"/>
                  </a:cubicBezTo>
                  <a:lnTo>
                    <a:pt x="239" y="654"/>
                  </a:lnTo>
                  <a:cubicBezTo>
                    <a:pt x="297" y="654"/>
                    <a:pt x="317" y="685"/>
                    <a:pt x="352" y="705"/>
                  </a:cubicBezTo>
                  <a:lnTo>
                    <a:pt x="385" y="705"/>
                  </a:lnTo>
                  <a:lnTo>
                    <a:pt x="385" y="705"/>
                  </a:lnTo>
                  <a:cubicBezTo>
                    <a:pt x="360" y="679"/>
                    <a:pt x="303" y="657"/>
                    <a:pt x="303" y="614"/>
                  </a:cubicBezTo>
                  <a:lnTo>
                    <a:pt x="275" y="614"/>
                  </a:lnTo>
                  <a:lnTo>
                    <a:pt x="275" y="614"/>
                  </a:lnTo>
                  <a:cubicBezTo>
                    <a:pt x="265" y="619"/>
                    <a:pt x="265" y="619"/>
                    <a:pt x="257" y="626"/>
                  </a:cubicBezTo>
                  <a:lnTo>
                    <a:pt x="229" y="626"/>
                  </a:lnTo>
                  <a:lnTo>
                    <a:pt x="229" y="604"/>
                  </a:lnTo>
                  <a:lnTo>
                    <a:pt x="229" y="604"/>
                  </a:lnTo>
                  <a:cubicBezTo>
                    <a:pt x="244" y="573"/>
                    <a:pt x="257" y="553"/>
                    <a:pt x="285" y="544"/>
                  </a:cubicBezTo>
                  <a:lnTo>
                    <a:pt x="285" y="544"/>
                  </a:lnTo>
                  <a:cubicBezTo>
                    <a:pt x="330" y="529"/>
                    <a:pt x="385" y="546"/>
                    <a:pt x="385" y="494"/>
                  </a:cubicBezTo>
                  <a:lnTo>
                    <a:pt x="385" y="494"/>
                  </a:lnTo>
                  <a:cubicBezTo>
                    <a:pt x="385" y="435"/>
                    <a:pt x="260" y="435"/>
                    <a:pt x="260" y="403"/>
                  </a:cubicBezTo>
                  <a:lnTo>
                    <a:pt x="260" y="403"/>
                  </a:lnTo>
                  <a:cubicBezTo>
                    <a:pt x="260" y="384"/>
                    <a:pt x="288" y="388"/>
                    <a:pt x="306" y="388"/>
                  </a:cubicBezTo>
                  <a:lnTo>
                    <a:pt x="306" y="388"/>
                  </a:lnTo>
                  <a:cubicBezTo>
                    <a:pt x="286" y="388"/>
                    <a:pt x="283" y="381"/>
                    <a:pt x="279" y="366"/>
                  </a:cubicBezTo>
                  <a:lnTo>
                    <a:pt x="279" y="366"/>
                  </a:lnTo>
                  <a:cubicBezTo>
                    <a:pt x="288" y="363"/>
                    <a:pt x="297" y="366"/>
                    <a:pt x="306" y="366"/>
                  </a:cubicBezTo>
                  <a:lnTo>
                    <a:pt x="306" y="366"/>
                  </a:lnTo>
                  <a:cubicBezTo>
                    <a:pt x="326" y="366"/>
                    <a:pt x="367" y="359"/>
                    <a:pt x="404" y="370"/>
                  </a:cubicBezTo>
                  <a:lnTo>
                    <a:pt x="404" y="370"/>
                  </a:lnTo>
                  <a:cubicBezTo>
                    <a:pt x="449" y="384"/>
                    <a:pt x="466" y="438"/>
                    <a:pt x="517" y="432"/>
                  </a:cubicBezTo>
                  <a:lnTo>
                    <a:pt x="517" y="432"/>
                  </a:lnTo>
                  <a:cubicBezTo>
                    <a:pt x="508" y="423"/>
                    <a:pt x="449" y="386"/>
                    <a:pt x="449" y="375"/>
                  </a:cubicBezTo>
                  <a:lnTo>
                    <a:pt x="449" y="375"/>
                  </a:lnTo>
                  <a:cubicBezTo>
                    <a:pt x="449" y="368"/>
                    <a:pt x="458" y="363"/>
                    <a:pt x="462" y="357"/>
                  </a:cubicBezTo>
                  <a:lnTo>
                    <a:pt x="553" y="357"/>
                  </a:lnTo>
                  <a:lnTo>
                    <a:pt x="553" y="357"/>
                  </a:lnTo>
                  <a:cubicBezTo>
                    <a:pt x="589" y="342"/>
                    <a:pt x="620" y="333"/>
                    <a:pt x="642" y="306"/>
                  </a:cubicBezTo>
                  <a:lnTo>
                    <a:pt x="614" y="306"/>
                  </a:lnTo>
                  <a:lnTo>
                    <a:pt x="614" y="306"/>
                  </a:lnTo>
                  <a:cubicBezTo>
                    <a:pt x="578" y="335"/>
                    <a:pt x="535" y="348"/>
                    <a:pt x="477" y="348"/>
                  </a:cubicBezTo>
                  <a:lnTo>
                    <a:pt x="477" y="348"/>
                  </a:lnTo>
                  <a:cubicBezTo>
                    <a:pt x="442" y="348"/>
                    <a:pt x="431" y="333"/>
                    <a:pt x="412" y="333"/>
                  </a:cubicBezTo>
                  <a:lnTo>
                    <a:pt x="412" y="333"/>
                  </a:lnTo>
                  <a:cubicBezTo>
                    <a:pt x="398" y="333"/>
                    <a:pt x="391" y="352"/>
                    <a:pt x="376" y="352"/>
                  </a:cubicBezTo>
                  <a:lnTo>
                    <a:pt x="376" y="352"/>
                  </a:lnTo>
                  <a:cubicBezTo>
                    <a:pt x="339" y="352"/>
                    <a:pt x="291" y="339"/>
                    <a:pt x="303" y="315"/>
                  </a:cubicBezTo>
                  <a:lnTo>
                    <a:pt x="279" y="315"/>
                  </a:lnTo>
                  <a:lnTo>
                    <a:pt x="279" y="315"/>
                  </a:lnTo>
                  <a:cubicBezTo>
                    <a:pt x="266" y="324"/>
                    <a:pt x="255" y="333"/>
                    <a:pt x="239" y="333"/>
                  </a:cubicBezTo>
                  <a:lnTo>
                    <a:pt x="239" y="333"/>
                  </a:lnTo>
                  <a:cubicBezTo>
                    <a:pt x="202" y="333"/>
                    <a:pt x="150" y="311"/>
                    <a:pt x="138" y="294"/>
                  </a:cubicBezTo>
                  <a:lnTo>
                    <a:pt x="138" y="294"/>
                  </a:lnTo>
                  <a:cubicBezTo>
                    <a:pt x="150" y="286"/>
                    <a:pt x="164" y="276"/>
                    <a:pt x="187" y="274"/>
                  </a:cubicBezTo>
                  <a:lnTo>
                    <a:pt x="187" y="274"/>
                  </a:lnTo>
                  <a:cubicBezTo>
                    <a:pt x="152" y="274"/>
                    <a:pt x="116" y="273"/>
                    <a:pt x="101" y="274"/>
                  </a:cubicBezTo>
                  <a:lnTo>
                    <a:pt x="101" y="274"/>
                  </a:lnTo>
                  <a:cubicBezTo>
                    <a:pt x="121" y="227"/>
                    <a:pt x="167" y="232"/>
                    <a:pt x="215" y="218"/>
                  </a:cubicBezTo>
                  <a:lnTo>
                    <a:pt x="215" y="218"/>
                  </a:lnTo>
                  <a:cubicBezTo>
                    <a:pt x="198" y="214"/>
                    <a:pt x="193" y="214"/>
                    <a:pt x="178" y="214"/>
                  </a:cubicBezTo>
                  <a:lnTo>
                    <a:pt x="178" y="214"/>
                  </a:lnTo>
                  <a:cubicBezTo>
                    <a:pt x="141" y="214"/>
                    <a:pt x="139" y="247"/>
                    <a:pt x="105" y="247"/>
                  </a:cubicBezTo>
                  <a:lnTo>
                    <a:pt x="105" y="247"/>
                  </a:lnTo>
                  <a:cubicBezTo>
                    <a:pt x="95" y="247"/>
                    <a:pt x="75" y="234"/>
                    <a:pt x="72" y="232"/>
                  </a:cubicBezTo>
                  <a:lnTo>
                    <a:pt x="72" y="232"/>
                  </a:lnTo>
                  <a:cubicBezTo>
                    <a:pt x="90" y="214"/>
                    <a:pt x="101" y="209"/>
                    <a:pt x="123" y="201"/>
                  </a:cubicBezTo>
                  <a:lnTo>
                    <a:pt x="68" y="201"/>
                  </a:lnTo>
                  <a:lnTo>
                    <a:pt x="68" y="201"/>
                  </a:lnTo>
                  <a:cubicBezTo>
                    <a:pt x="57" y="205"/>
                    <a:pt x="46" y="211"/>
                    <a:pt x="41" y="214"/>
                  </a:cubicBezTo>
                  <a:lnTo>
                    <a:pt x="0" y="214"/>
                  </a:lnTo>
                  <a:lnTo>
                    <a:pt x="0" y="214"/>
                  </a:lnTo>
                  <a:cubicBezTo>
                    <a:pt x="11" y="168"/>
                    <a:pt x="131" y="147"/>
                    <a:pt x="184" y="147"/>
                  </a:cubicBezTo>
                  <a:lnTo>
                    <a:pt x="224" y="147"/>
                  </a:lnTo>
                  <a:lnTo>
                    <a:pt x="224" y="147"/>
                  </a:lnTo>
                  <a:cubicBezTo>
                    <a:pt x="231" y="147"/>
                    <a:pt x="239" y="139"/>
                    <a:pt x="239" y="132"/>
                  </a:cubicBezTo>
                  <a:lnTo>
                    <a:pt x="239" y="132"/>
                  </a:lnTo>
                  <a:cubicBezTo>
                    <a:pt x="297" y="132"/>
                    <a:pt x="273" y="91"/>
                    <a:pt x="312" y="91"/>
                  </a:cubicBezTo>
                  <a:lnTo>
                    <a:pt x="312" y="91"/>
                  </a:lnTo>
                  <a:cubicBezTo>
                    <a:pt x="347" y="91"/>
                    <a:pt x="418" y="126"/>
                    <a:pt x="435" y="132"/>
                  </a:cubicBezTo>
                  <a:lnTo>
                    <a:pt x="435" y="132"/>
                  </a:lnTo>
                  <a:cubicBezTo>
                    <a:pt x="451" y="88"/>
                    <a:pt x="473" y="49"/>
                    <a:pt x="526" y="49"/>
                  </a:cubicBezTo>
                  <a:lnTo>
                    <a:pt x="526" y="49"/>
                  </a:lnTo>
                  <a:cubicBezTo>
                    <a:pt x="558" y="49"/>
                    <a:pt x="539" y="66"/>
                    <a:pt x="563" y="46"/>
                  </a:cubicBezTo>
                  <a:lnTo>
                    <a:pt x="563" y="46"/>
                  </a:lnTo>
                  <a:cubicBezTo>
                    <a:pt x="572" y="27"/>
                    <a:pt x="587" y="22"/>
                    <a:pt x="605" y="22"/>
                  </a:cubicBezTo>
                  <a:lnTo>
                    <a:pt x="815" y="22"/>
                  </a:lnTo>
                  <a:lnTo>
                    <a:pt x="815" y="22"/>
                  </a:lnTo>
                  <a:cubicBezTo>
                    <a:pt x="819" y="14"/>
                    <a:pt x="828" y="9"/>
                    <a:pt x="838" y="9"/>
                  </a:cubicBezTo>
                  <a:lnTo>
                    <a:pt x="838" y="9"/>
                  </a:lnTo>
                  <a:cubicBezTo>
                    <a:pt x="871" y="9"/>
                    <a:pt x="880" y="31"/>
                    <a:pt x="907" y="31"/>
                  </a:cubicBezTo>
                  <a:lnTo>
                    <a:pt x="907" y="31"/>
                  </a:lnTo>
                  <a:cubicBezTo>
                    <a:pt x="933" y="31"/>
                    <a:pt x="940" y="0"/>
                    <a:pt x="966" y="0"/>
                  </a:cubicBezTo>
                  <a:lnTo>
                    <a:pt x="966" y="0"/>
                  </a:lnTo>
                  <a:cubicBezTo>
                    <a:pt x="993" y="0"/>
                    <a:pt x="1005" y="13"/>
                    <a:pt x="1021" y="13"/>
                  </a:cubicBezTo>
                  <a:lnTo>
                    <a:pt x="1072" y="13"/>
                  </a:lnTo>
                  <a:lnTo>
                    <a:pt x="1072" y="13"/>
                  </a:lnTo>
                  <a:cubicBezTo>
                    <a:pt x="1116" y="13"/>
                    <a:pt x="1273" y="7"/>
                    <a:pt x="1311" y="4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5" name="Freeform 143">
              <a:extLst>
                <a:ext uri="{FF2B5EF4-FFF2-40B4-BE49-F238E27FC236}">
                  <a16:creationId xmlns:a16="http://schemas.microsoft.com/office/drawing/2014/main" id="{B6B701CB-3079-2447-929A-41675DAA8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21304" y="2995516"/>
              <a:ext cx="2053657" cy="1561124"/>
            </a:xfrm>
            <a:custGeom>
              <a:avLst/>
              <a:gdLst>
                <a:gd name="T0" fmla="*/ 1163 w 3143"/>
                <a:gd name="T1" fmla="*/ 1545 h 2388"/>
                <a:gd name="T2" fmla="*/ 999 w 3143"/>
                <a:gd name="T3" fmla="*/ 1465 h 2388"/>
                <a:gd name="T4" fmla="*/ 993 w 3143"/>
                <a:gd name="T5" fmla="*/ 1362 h 2388"/>
                <a:gd name="T6" fmla="*/ 898 w 3143"/>
                <a:gd name="T7" fmla="*/ 1362 h 2388"/>
                <a:gd name="T8" fmla="*/ 892 w 3143"/>
                <a:gd name="T9" fmla="*/ 1224 h 2388"/>
                <a:gd name="T10" fmla="*/ 394 w 3143"/>
                <a:gd name="T11" fmla="*/ 931 h 2388"/>
                <a:gd name="T12" fmla="*/ 321 w 3143"/>
                <a:gd name="T13" fmla="*/ 938 h 2388"/>
                <a:gd name="T14" fmla="*/ 178 w 3143"/>
                <a:gd name="T15" fmla="*/ 900 h 2388"/>
                <a:gd name="T16" fmla="*/ 77 w 3143"/>
                <a:gd name="T17" fmla="*/ 839 h 2388"/>
                <a:gd name="T18" fmla="*/ 211 w 3143"/>
                <a:gd name="T19" fmla="*/ 788 h 2388"/>
                <a:gd name="T20" fmla="*/ 265 w 3143"/>
                <a:gd name="T21" fmla="*/ 748 h 2388"/>
                <a:gd name="T22" fmla="*/ 0 w 3143"/>
                <a:gd name="T23" fmla="*/ 687 h 2388"/>
                <a:gd name="T24" fmla="*/ 348 w 3143"/>
                <a:gd name="T25" fmla="*/ 583 h 2388"/>
                <a:gd name="T26" fmla="*/ 260 w 3143"/>
                <a:gd name="T27" fmla="*/ 449 h 2388"/>
                <a:gd name="T28" fmla="*/ 526 w 3143"/>
                <a:gd name="T29" fmla="*/ 335 h 2388"/>
                <a:gd name="T30" fmla="*/ 769 w 3143"/>
                <a:gd name="T31" fmla="*/ 216 h 2388"/>
                <a:gd name="T32" fmla="*/ 975 w 3143"/>
                <a:gd name="T33" fmla="*/ 192 h 2388"/>
                <a:gd name="T34" fmla="*/ 1109 w 3143"/>
                <a:gd name="T35" fmla="*/ 220 h 2388"/>
                <a:gd name="T36" fmla="*/ 1304 w 3143"/>
                <a:gd name="T37" fmla="*/ 220 h 2388"/>
                <a:gd name="T38" fmla="*/ 1356 w 3143"/>
                <a:gd name="T39" fmla="*/ 125 h 2388"/>
                <a:gd name="T40" fmla="*/ 1475 w 3143"/>
                <a:gd name="T41" fmla="*/ 60 h 2388"/>
                <a:gd name="T42" fmla="*/ 1699 w 3143"/>
                <a:gd name="T43" fmla="*/ 51 h 2388"/>
                <a:gd name="T44" fmla="*/ 2492 w 3143"/>
                <a:gd name="T45" fmla="*/ 106 h 2388"/>
                <a:gd name="T46" fmla="*/ 2066 w 3143"/>
                <a:gd name="T47" fmla="*/ 220 h 2388"/>
                <a:gd name="T48" fmla="*/ 2368 w 3143"/>
                <a:gd name="T49" fmla="*/ 311 h 2388"/>
                <a:gd name="T50" fmla="*/ 2506 w 3143"/>
                <a:gd name="T51" fmla="*/ 421 h 2388"/>
                <a:gd name="T52" fmla="*/ 2840 w 3143"/>
                <a:gd name="T53" fmla="*/ 271 h 2388"/>
                <a:gd name="T54" fmla="*/ 3032 w 3143"/>
                <a:gd name="T55" fmla="*/ 211 h 2388"/>
                <a:gd name="T56" fmla="*/ 3096 w 3143"/>
                <a:gd name="T57" fmla="*/ 317 h 2388"/>
                <a:gd name="T58" fmla="*/ 2872 w 3143"/>
                <a:gd name="T59" fmla="*/ 449 h 2388"/>
                <a:gd name="T60" fmla="*/ 2789 w 3143"/>
                <a:gd name="T61" fmla="*/ 519 h 2388"/>
                <a:gd name="T62" fmla="*/ 2684 w 3143"/>
                <a:gd name="T63" fmla="*/ 702 h 2388"/>
                <a:gd name="T64" fmla="*/ 2813 w 3143"/>
                <a:gd name="T65" fmla="*/ 736 h 2388"/>
                <a:gd name="T66" fmla="*/ 2730 w 3143"/>
                <a:gd name="T67" fmla="*/ 839 h 2388"/>
                <a:gd name="T68" fmla="*/ 2752 w 3143"/>
                <a:gd name="T69" fmla="*/ 898 h 2388"/>
                <a:gd name="T70" fmla="*/ 2721 w 3143"/>
                <a:gd name="T71" fmla="*/ 1041 h 2388"/>
                <a:gd name="T72" fmla="*/ 2712 w 3143"/>
                <a:gd name="T73" fmla="*/ 1127 h 2388"/>
                <a:gd name="T74" fmla="*/ 2574 w 3143"/>
                <a:gd name="T75" fmla="*/ 1182 h 2388"/>
                <a:gd name="T76" fmla="*/ 2620 w 3143"/>
                <a:gd name="T77" fmla="*/ 1315 h 2388"/>
                <a:gd name="T78" fmla="*/ 2496 w 3143"/>
                <a:gd name="T79" fmla="*/ 1260 h 2388"/>
                <a:gd name="T80" fmla="*/ 2630 w 3143"/>
                <a:gd name="T81" fmla="*/ 1484 h 2388"/>
                <a:gd name="T82" fmla="*/ 2477 w 3143"/>
                <a:gd name="T83" fmla="*/ 1438 h 2388"/>
                <a:gd name="T84" fmla="*/ 2638 w 3143"/>
                <a:gd name="T85" fmla="*/ 1522 h 2388"/>
                <a:gd name="T86" fmla="*/ 2239 w 3143"/>
                <a:gd name="T87" fmla="*/ 1691 h 2388"/>
                <a:gd name="T88" fmla="*/ 2070 w 3143"/>
                <a:gd name="T89" fmla="*/ 1756 h 2388"/>
                <a:gd name="T90" fmla="*/ 1841 w 3143"/>
                <a:gd name="T91" fmla="*/ 1865 h 2388"/>
                <a:gd name="T92" fmla="*/ 1668 w 3143"/>
                <a:gd name="T93" fmla="*/ 1993 h 2388"/>
                <a:gd name="T94" fmla="*/ 1680 w 3143"/>
                <a:gd name="T95" fmla="*/ 2076 h 2388"/>
                <a:gd name="T96" fmla="*/ 1594 w 3143"/>
                <a:gd name="T97" fmla="*/ 2272 h 2388"/>
                <a:gd name="T98" fmla="*/ 1466 w 3143"/>
                <a:gd name="T99" fmla="*/ 2382 h 2388"/>
                <a:gd name="T100" fmla="*/ 1301 w 3143"/>
                <a:gd name="T101" fmla="*/ 2324 h 2388"/>
                <a:gd name="T102" fmla="*/ 1121 w 3143"/>
                <a:gd name="T103" fmla="*/ 2070 h 2388"/>
                <a:gd name="T104" fmla="*/ 1081 w 3143"/>
                <a:gd name="T105" fmla="*/ 2030 h 2388"/>
                <a:gd name="T106" fmla="*/ 1021 w 3143"/>
                <a:gd name="T107" fmla="*/ 1820 h 2388"/>
                <a:gd name="T108" fmla="*/ 1057 w 3143"/>
                <a:gd name="T109" fmla="*/ 1676 h 2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43" h="2388">
                  <a:moveTo>
                    <a:pt x="1057" y="1673"/>
                  </a:moveTo>
                  <a:lnTo>
                    <a:pt x="1057" y="1673"/>
                  </a:lnTo>
                  <a:cubicBezTo>
                    <a:pt x="1083" y="1660"/>
                    <a:pt x="1083" y="1658"/>
                    <a:pt x="1109" y="1669"/>
                  </a:cubicBezTo>
                  <a:lnTo>
                    <a:pt x="1109" y="1669"/>
                  </a:lnTo>
                  <a:cubicBezTo>
                    <a:pt x="1120" y="1614"/>
                    <a:pt x="1147" y="1596"/>
                    <a:pt x="1163" y="1545"/>
                  </a:cubicBezTo>
                  <a:lnTo>
                    <a:pt x="1163" y="1545"/>
                  </a:lnTo>
                  <a:cubicBezTo>
                    <a:pt x="1106" y="1526"/>
                    <a:pt x="973" y="1517"/>
                    <a:pt x="966" y="1465"/>
                  </a:cubicBezTo>
                  <a:lnTo>
                    <a:pt x="966" y="1465"/>
                  </a:lnTo>
                  <a:cubicBezTo>
                    <a:pt x="984" y="1458"/>
                    <a:pt x="982" y="1465"/>
                    <a:pt x="999" y="1465"/>
                  </a:cubicBezTo>
                  <a:lnTo>
                    <a:pt x="999" y="1465"/>
                  </a:lnTo>
                  <a:cubicBezTo>
                    <a:pt x="1037" y="1465"/>
                    <a:pt x="1065" y="1493"/>
                    <a:pt x="1109" y="1493"/>
                  </a:cubicBezTo>
                  <a:lnTo>
                    <a:pt x="1109" y="1493"/>
                  </a:lnTo>
                  <a:cubicBezTo>
                    <a:pt x="1127" y="1493"/>
                    <a:pt x="1125" y="1476"/>
                    <a:pt x="1127" y="1465"/>
                  </a:cubicBezTo>
                  <a:lnTo>
                    <a:pt x="1127" y="1465"/>
                  </a:lnTo>
                  <a:cubicBezTo>
                    <a:pt x="1070" y="1447"/>
                    <a:pt x="1054" y="1362"/>
                    <a:pt x="993" y="1362"/>
                  </a:cubicBezTo>
                  <a:lnTo>
                    <a:pt x="993" y="1362"/>
                  </a:lnTo>
                  <a:cubicBezTo>
                    <a:pt x="977" y="1362"/>
                    <a:pt x="971" y="1393"/>
                    <a:pt x="947" y="1393"/>
                  </a:cubicBezTo>
                  <a:lnTo>
                    <a:pt x="947" y="1393"/>
                  </a:lnTo>
                  <a:cubicBezTo>
                    <a:pt x="914" y="1393"/>
                    <a:pt x="898" y="1389"/>
                    <a:pt x="898" y="1362"/>
                  </a:cubicBezTo>
                  <a:lnTo>
                    <a:pt x="898" y="1362"/>
                  </a:lnTo>
                  <a:cubicBezTo>
                    <a:pt x="898" y="1321"/>
                    <a:pt x="938" y="1324"/>
                    <a:pt x="938" y="1283"/>
                  </a:cubicBezTo>
                  <a:lnTo>
                    <a:pt x="938" y="1283"/>
                  </a:lnTo>
                  <a:cubicBezTo>
                    <a:pt x="938" y="1255"/>
                    <a:pt x="909" y="1253"/>
                    <a:pt x="892" y="1252"/>
                  </a:cubicBezTo>
                  <a:lnTo>
                    <a:pt x="892" y="1224"/>
                  </a:lnTo>
                  <a:lnTo>
                    <a:pt x="892" y="1224"/>
                  </a:lnTo>
                  <a:cubicBezTo>
                    <a:pt x="841" y="1066"/>
                    <a:pt x="713" y="907"/>
                    <a:pt x="507" y="907"/>
                  </a:cubicBezTo>
                  <a:lnTo>
                    <a:pt x="453" y="907"/>
                  </a:lnTo>
                  <a:lnTo>
                    <a:pt x="453" y="907"/>
                  </a:lnTo>
                  <a:cubicBezTo>
                    <a:pt x="429" y="907"/>
                    <a:pt x="418" y="931"/>
                    <a:pt x="394" y="931"/>
                  </a:cubicBezTo>
                  <a:lnTo>
                    <a:pt x="394" y="931"/>
                  </a:lnTo>
                  <a:cubicBezTo>
                    <a:pt x="378" y="931"/>
                    <a:pt x="361" y="916"/>
                    <a:pt x="339" y="916"/>
                  </a:cubicBezTo>
                  <a:lnTo>
                    <a:pt x="339" y="916"/>
                  </a:lnTo>
                  <a:cubicBezTo>
                    <a:pt x="319" y="916"/>
                    <a:pt x="311" y="920"/>
                    <a:pt x="303" y="923"/>
                  </a:cubicBezTo>
                  <a:lnTo>
                    <a:pt x="303" y="923"/>
                  </a:lnTo>
                  <a:cubicBezTo>
                    <a:pt x="308" y="929"/>
                    <a:pt x="315" y="936"/>
                    <a:pt x="321" y="938"/>
                  </a:cubicBezTo>
                  <a:lnTo>
                    <a:pt x="321" y="938"/>
                  </a:lnTo>
                  <a:cubicBezTo>
                    <a:pt x="310" y="949"/>
                    <a:pt x="311" y="943"/>
                    <a:pt x="297" y="943"/>
                  </a:cubicBezTo>
                  <a:lnTo>
                    <a:pt x="297" y="943"/>
                  </a:lnTo>
                  <a:cubicBezTo>
                    <a:pt x="259" y="943"/>
                    <a:pt x="200" y="927"/>
                    <a:pt x="178" y="900"/>
                  </a:cubicBezTo>
                  <a:lnTo>
                    <a:pt x="178" y="900"/>
                  </a:lnTo>
                  <a:cubicBezTo>
                    <a:pt x="194" y="889"/>
                    <a:pt x="207" y="887"/>
                    <a:pt x="214" y="870"/>
                  </a:cubicBezTo>
                  <a:lnTo>
                    <a:pt x="214" y="870"/>
                  </a:lnTo>
                  <a:cubicBezTo>
                    <a:pt x="185" y="859"/>
                    <a:pt x="163" y="839"/>
                    <a:pt x="141" y="839"/>
                  </a:cubicBezTo>
                  <a:lnTo>
                    <a:pt x="141" y="839"/>
                  </a:lnTo>
                  <a:cubicBezTo>
                    <a:pt x="101" y="839"/>
                    <a:pt x="112" y="852"/>
                    <a:pt x="77" y="839"/>
                  </a:cubicBezTo>
                  <a:lnTo>
                    <a:pt x="77" y="839"/>
                  </a:lnTo>
                  <a:cubicBezTo>
                    <a:pt x="80" y="814"/>
                    <a:pt x="118" y="802"/>
                    <a:pt x="132" y="802"/>
                  </a:cubicBezTo>
                  <a:lnTo>
                    <a:pt x="178" y="802"/>
                  </a:lnTo>
                  <a:lnTo>
                    <a:pt x="178" y="802"/>
                  </a:lnTo>
                  <a:cubicBezTo>
                    <a:pt x="196" y="802"/>
                    <a:pt x="201" y="800"/>
                    <a:pt x="211" y="788"/>
                  </a:cubicBezTo>
                  <a:lnTo>
                    <a:pt x="315" y="788"/>
                  </a:lnTo>
                  <a:lnTo>
                    <a:pt x="315" y="788"/>
                  </a:lnTo>
                  <a:cubicBezTo>
                    <a:pt x="334" y="775"/>
                    <a:pt x="334" y="768"/>
                    <a:pt x="339" y="748"/>
                  </a:cubicBezTo>
                  <a:lnTo>
                    <a:pt x="265" y="748"/>
                  </a:lnTo>
                  <a:lnTo>
                    <a:pt x="265" y="748"/>
                  </a:lnTo>
                  <a:cubicBezTo>
                    <a:pt x="262" y="756"/>
                    <a:pt x="257" y="766"/>
                    <a:pt x="247" y="766"/>
                  </a:cubicBezTo>
                  <a:lnTo>
                    <a:pt x="183" y="766"/>
                  </a:lnTo>
                  <a:lnTo>
                    <a:pt x="183" y="766"/>
                  </a:lnTo>
                  <a:cubicBezTo>
                    <a:pt x="176" y="766"/>
                    <a:pt x="0" y="716"/>
                    <a:pt x="0" y="687"/>
                  </a:cubicBezTo>
                  <a:lnTo>
                    <a:pt x="0" y="687"/>
                  </a:lnTo>
                  <a:cubicBezTo>
                    <a:pt x="0" y="630"/>
                    <a:pt x="64" y="650"/>
                    <a:pt x="105" y="637"/>
                  </a:cubicBezTo>
                  <a:lnTo>
                    <a:pt x="105" y="637"/>
                  </a:lnTo>
                  <a:cubicBezTo>
                    <a:pt x="138" y="627"/>
                    <a:pt x="158" y="606"/>
                    <a:pt x="193" y="595"/>
                  </a:cubicBezTo>
                  <a:lnTo>
                    <a:pt x="193" y="595"/>
                  </a:lnTo>
                  <a:cubicBezTo>
                    <a:pt x="242" y="579"/>
                    <a:pt x="308" y="606"/>
                    <a:pt x="348" y="583"/>
                  </a:cubicBezTo>
                  <a:lnTo>
                    <a:pt x="348" y="583"/>
                  </a:lnTo>
                  <a:cubicBezTo>
                    <a:pt x="378" y="564"/>
                    <a:pt x="398" y="532"/>
                    <a:pt x="398" y="486"/>
                  </a:cubicBezTo>
                  <a:lnTo>
                    <a:pt x="398" y="486"/>
                  </a:lnTo>
                  <a:cubicBezTo>
                    <a:pt x="365" y="482"/>
                    <a:pt x="260" y="483"/>
                    <a:pt x="260" y="449"/>
                  </a:cubicBezTo>
                  <a:lnTo>
                    <a:pt x="260" y="449"/>
                  </a:lnTo>
                  <a:cubicBezTo>
                    <a:pt x="260" y="432"/>
                    <a:pt x="288" y="423"/>
                    <a:pt x="297" y="421"/>
                  </a:cubicBezTo>
                  <a:lnTo>
                    <a:pt x="297" y="421"/>
                  </a:lnTo>
                  <a:cubicBezTo>
                    <a:pt x="360" y="401"/>
                    <a:pt x="442" y="357"/>
                    <a:pt x="478" y="321"/>
                  </a:cubicBezTo>
                  <a:lnTo>
                    <a:pt x="478" y="321"/>
                  </a:lnTo>
                  <a:cubicBezTo>
                    <a:pt x="493" y="331"/>
                    <a:pt x="507" y="335"/>
                    <a:pt x="526" y="335"/>
                  </a:cubicBezTo>
                  <a:lnTo>
                    <a:pt x="526" y="335"/>
                  </a:lnTo>
                  <a:cubicBezTo>
                    <a:pt x="590" y="335"/>
                    <a:pt x="540" y="251"/>
                    <a:pt x="599" y="244"/>
                  </a:cubicBezTo>
                  <a:lnTo>
                    <a:pt x="599" y="244"/>
                  </a:lnTo>
                  <a:cubicBezTo>
                    <a:pt x="673" y="234"/>
                    <a:pt x="700" y="216"/>
                    <a:pt x="769" y="216"/>
                  </a:cubicBezTo>
                  <a:lnTo>
                    <a:pt x="769" y="216"/>
                  </a:lnTo>
                  <a:cubicBezTo>
                    <a:pt x="821" y="203"/>
                    <a:pt x="858" y="174"/>
                    <a:pt x="907" y="174"/>
                  </a:cubicBezTo>
                  <a:lnTo>
                    <a:pt x="907" y="174"/>
                  </a:lnTo>
                  <a:cubicBezTo>
                    <a:pt x="940" y="174"/>
                    <a:pt x="949" y="229"/>
                    <a:pt x="984" y="229"/>
                  </a:cubicBezTo>
                  <a:lnTo>
                    <a:pt x="984" y="229"/>
                  </a:lnTo>
                  <a:cubicBezTo>
                    <a:pt x="984" y="216"/>
                    <a:pt x="975" y="205"/>
                    <a:pt x="975" y="192"/>
                  </a:cubicBezTo>
                  <a:lnTo>
                    <a:pt x="993" y="174"/>
                  </a:lnTo>
                  <a:lnTo>
                    <a:pt x="993" y="174"/>
                  </a:lnTo>
                  <a:cubicBezTo>
                    <a:pt x="1013" y="209"/>
                    <a:pt x="1044" y="205"/>
                    <a:pt x="1081" y="220"/>
                  </a:cubicBezTo>
                  <a:lnTo>
                    <a:pt x="1109" y="220"/>
                  </a:lnTo>
                  <a:lnTo>
                    <a:pt x="1109" y="220"/>
                  </a:lnTo>
                  <a:cubicBezTo>
                    <a:pt x="1103" y="205"/>
                    <a:pt x="1094" y="194"/>
                    <a:pt x="1094" y="179"/>
                  </a:cubicBezTo>
                  <a:lnTo>
                    <a:pt x="1094" y="179"/>
                  </a:lnTo>
                  <a:cubicBezTo>
                    <a:pt x="1094" y="157"/>
                    <a:pt x="1121" y="156"/>
                    <a:pt x="1140" y="156"/>
                  </a:cubicBezTo>
                  <a:lnTo>
                    <a:pt x="1140" y="156"/>
                  </a:lnTo>
                  <a:cubicBezTo>
                    <a:pt x="1215" y="156"/>
                    <a:pt x="1259" y="198"/>
                    <a:pt x="1304" y="220"/>
                  </a:cubicBezTo>
                  <a:lnTo>
                    <a:pt x="1387" y="220"/>
                  </a:lnTo>
                  <a:lnTo>
                    <a:pt x="1387" y="220"/>
                  </a:lnTo>
                  <a:cubicBezTo>
                    <a:pt x="1358" y="205"/>
                    <a:pt x="1283" y="181"/>
                    <a:pt x="1283" y="146"/>
                  </a:cubicBezTo>
                  <a:lnTo>
                    <a:pt x="1283" y="146"/>
                  </a:lnTo>
                  <a:cubicBezTo>
                    <a:pt x="1283" y="119"/>
                    <a:pt x="1340" y="128"/>
                    <a:pt x="1356" y="125"/>
                  </a:cubicBezTo>
                  <a:lnTo>
                    <a:pt x="1356" y="125"/>
                  </a:lnTo>
                  <a:cubicBezTo>
                    <a:pt x="1343" y="112"/>
                    <a:pt x="1328" y="110"/>
                    <a:pt x="1319" y="97"/>
                  </a:cubicBezTo>
                  <a:lnTo>
                    <a:pt x="1319" y="97"/>
                  </a:lnTo>
                  <a:cubicBezTo>
                    <a:pt x="1368" y="73"/>
                    <a:pt x="1414" y="60"/>
                    <a:pt x="1475" y="60"/>
                  </a:cubicBezTo>
                  <a:lnTo>
                    <a:pt x="1475" y="60"/>
                  </a:lnTo>
                  <a:cubicBezTo>
                    <a:pt x="1519" y="60"/>
                    <a:pt x="1548" y="59"/>
                    <a:pt x="1589" y="73"/>
                  </a:cubicBezTo>
                  <a:lnTo>
                    <a:pt x="1625" y="73"/>
                  </a:lnTo>
                  <a:lnTo>
                    <a:pt x="1625" y="51"/>
                  </a:lnTo>
                  <a:lnTo>
                    <a:pt x="1625" y="51"/>
                  </a:lnTo>
                  <a:cubicBezTo>
                    <a:pt x="1653" y="48"/>
                    <a:pt x="1671" y="51"/>
                    <a:pt x="1699" y="51"/>
                  </a:cubicBezTo>
                  <a:lnTo>
                    <a:pt x="1699" y="51"/>
                  </a:lnTo>
                  <a:cubicBezTo>
                    <a:pt x="1787" y="51"/>
                    <a:pt x="1858" y="0"/>
                    <a:pt x="1951" y="0"/>
                  </a:cubicBezTo>
                  <a:lnTo>
                    <a:pt x="2217" y="0"/>
                  </a:lnTo>
                  <a:lnTo>
                    <a:pt x="2217" y="0"/>
                  </a:lnTo>
                  <a:cubicBezTo>
                    <a:pt x="2325" y="0"/>
                    <a:pt x="2406" y="69"/>
                    <a:pt x="2492" y="106"/>
                  </a:cubicBezTo>
                  <a:lnTo>
                    <a:pt x="2492" y="106"/>
                  </a:lnTo>
                  <a:cubicBezTo>
                    <a:pt x="2541" y="126"/>
                    <a:pt x="2605" y="113"/>
                    <a:pt x="2651" y="125"/>
                  </a:cubicBezTo>
                  <a:lnTo>
                    <a:pt x="2651" y="125"/>
                  </a:lnTo>
                  <a:cubicBezTo>
                    <a:pt x="2642" y="189"/>
                    <a:pt x="2518" y="179"/>
                    <a:pt x="2468" y="198"/>
                  </a:cubicBezTo>
                  <a:lnTo>
                    <a:pt x="2066" y="220"/>
                  </a:lnTo>
                  <a:lnTo>
                    <a:pt x="2066" y="220"/>
                  </a:lnTo>
                  <a:cubicBezTo>
                    <a:pt x="2097" y="244"/>
                    <a:pt x="2404" y="207"/>
                    <a:pt x="2437" y="220"/>
                  </a:cubicBezTo>
                  <a:lnTo>
                    <a:pt x="2437" y="220"/>
                  </a:lnTo>
                  <a:cubicBezTo>
                    <a:pt x="2433" y="234"/>
                    <a:pt x="2353" y="311"/>
                    <a:pt x="2368" y="311"/>
                  </a:cubicBezTo>
                  <a:lnTo>
                    <a:pt x="2368" y="311"/>
                  </a:lnTo>
                  <a:cubicBezTo>
                    <a:pt x="2414" y="311"/>
                    <a:pt x="2523" y="207"/>
                    <a:pt x="2584" y="207"/>
                  </a:cubicBezTo>
                  <a:lnTo>
                    <a:pt x="2584" y="207"/>
                  </a:lnTo>
                  <a:cubicBezTo>
                    <a:pt x="2617" y="207"/>
                    <a:pt x="2630" y="234"/>
                    <a:pt x="2630" y="262"/>
                  </a:cubicBezTo>
                  <a:lnTo>
                    <a:pt x="2630" y="262"/>
                  </a:lnTo>
                  <a:cubicBezTo>
                    <a:pt x="2630" y="278"/>
                    <a:pt x="2511" y="403"/>
                    <a:pt x="2506" y="421"/>
                  </a:cubicBezTo>
                  <a:lnTo>
                    <a:pt x="2506" y="421"/>
                  </a:lnTo>
                  <a:cubicBezTo>
                    <a:pt x="2553" y="409"/>
                    <a:pt x="2646" y="288"/>
                    <a:pt x="2675" y="266"/>
                  </a:cubicBezTo>
                  <a:lnTo>
                    <a:pt x="2798" y="266"/>
                  </a:lnTo>
                  <a:lnTo>
                    <a:pt x="2798" y="266"/>
                  </a:lnTo>
                  <a:cubicBezTo>
                    <a:pt x="2798" y="266"/>
                    <a:pt x="2833" y="273"/>
                    <a:pt x="2840" y="271"/>
                  </a:cubicBezTo>
                  <a:lnTo>
                    <a:pt x="2840" y="271"/>
                  </a:lnTo>
                  <a:cubicBezTo>
                    <a:pt x="2873" y="258"/>
                    <a:pt x="2878" y="249"/>
                    <a:pt x="2908" y="234"/>
                  </a:cubicBezTo>
                  <a:lnTo>
                    <a:pt x="2996" y="234"/>
                  </a:lnTo>
                  <a:lnTo>
                    <a:pt x="2996" y="234"/>
                  </a:lnTo>
                  <a:cubicBezTo>
                    <a:pt x="3001" y="213"/>
                    <a:pt x="3014" y="211"/>
                    <a:pt x="3032" y="211"/>
                  </a:cubicBezTo>
                  <a:lnTo>
                    <a:pt x="3032" y="211"/>
                  </a:lnTo>
                  <a:cubicBezTo>
                    <a:pt x="3056" y="211"/>
                    <a:pt x="3142" y="251"/>
                    <a:pt x="3142" y="275"/>
                  </a:cubicBezTo>
                  <a:lnTo>
                    <a:pt x="3142" y="275"/>
                  </a:lnTo>
                  <a:cubicBezTo>
                    <a:pt x="3142" y="297"/>
                    <a:pt x="3107" y="313"/>
                    <a:pt x="3096" y="317"/>
                  </a:cubicBezTo>
                  <a:lnTo>
                    <a:pt x="3096" y="317"/>
                  </a:lnTo>
                  <a:cubicBezTo>
                    <a:pt x="3036" y="337"/>
                    <a:pt x="2998" y="390"/>
                    <a:pt x="2915" y="390"/>
                  </a:cubicBezTo>
                  <a:lnTo>
                    <a:pt x="2915" y="390"/>
                  </a:lnTo>
                  <a:cubicBezTo>
                    <a:pt x="2937" y="401"/>
                    <a:pt x="2939" y="401"/>
                    <a:pt x="2954" y="390"/>
                  </a:cubicBezTo>
                  <a:lnTo>
                    <a:pt x="2954" y="390"/>
                  </a:lnTo>
                  <a:cubicBezTo>
                    <a:pt x="2954" y="442"/>
                    <a:pt x="2904" y="442"/>
                    <a:pt x="2872" y="449"/>
                  </a:cubicBezTo>
                  <a:lnTo>
                    <a:pt x="2872" y="449"/>
                  </a:lnTo>
                  <a:cubicBezTo>
                    <a:pt x="2884" y="474"/>
                    <a:pt x="2872" y="454"/>
                    <a:pt x="2872" y="473"/>
                  </a:cubicBezTo>
                  <a:lnTo>
                    <a:pt x="2872" y="473"/>
                  </a:lnTo>
                  <a:cubicBezTo>
                    <a:pt x="2872" y="502"/>
                    <a:pt x="2823" y="509"/>
                    <a:pt x="2789" y="519"/>
                  </a:cubicBezTo>
                  <a:lnTo>
                    <a:pt x="2789" y="519"/>
                  </a:lnTo>
                  <a:cubicBezTo>
                    <a:pt x="2790" y="539"/>
                    <a:pt x="2789" y="539"/>
                    <a:pt x="2789" y="546"/>
                  </a:cubicBezTo>
                  <a:lnTo>
                    <a:pt x="2789" y="546"/>
                  </a:lnTo>
                  <a:cubicBezTo>
                    <a:pt x="2789" y="584"/>
                    <a:pt x="2751" y="597"/>
                    <a:pt x="2715" y="623"/>
                  </a:cubicBezTo>
                  <a:lnTo>
                    <a:pt x="2715" y="623"/>
                  </a:lnTo>
                  <a:cubicBezTo>
                    <a:pt x="2693" y="640"/>
                    <a:pt x="2695" y="683"/>
                    <a:pt x="2684" y="702"/>
                  </a:cubicBezTo>
                  <a:lnTo>
                    <a:pt x="2684" y="702"/>
                  </a:lnTo>
                  <a:cubicBezTo>
                    <a:pt x="2704" y="711"/>
                    <a:pt x="2719" y="702"/>
                    <a:pt x="2739" y="702"/>
                  </a:cubicBezTo>
                  <a:lnTo>
                    <a:pt x="2739" y="702"/>
                  </a:lnTo>
                  <a:cubicBezTo>
                    <a:pt x="2769" y="702"/>
                    <a:pt x="2794" y="722"/>
                    <a:pt x="2813" y="736"/>
                  </a:cubicBezTo>
                  <a:lnTo>
                    <a:pt x="2813" y="736"/>
                  </a:lnTo>
                  <a:cubicBezTo>
                    <a:pt x="2803" y="742"/>
                    <a:pt x="2790" y="748"/>
                    <a:pt x="2780" y="748"/>
                  </a:cubicBezTo>
                  <a:lnTo>
                    <a:pt x="2780" y="748"/>
                  </a:lnTo>
                  <a:cubicBezTo>
                    <a:pt x="2787" y="777"/>
                    <a:pt x="2858" y="768"/>
                    <a:pt x="2858" y="812"/>
                  </a:cubicBezTo>
                  <a:lnTo>
                    <a:pt x="2858" y="812"/>
                  </a:lnTo>
                  <a:cubicBezTo>
                    <a:pt x="2858" y="856"/>
                    <a:pt x="2763" y="839"/>
                    <a:pt x="2730" y="839"/>
                  </a:cubicBezTo>
                  <a:lnTo>
                    <a:pt x="2730" y="839"/>
                  </a:lnTo>
                  <a:cubicBezTo>
                    <a:pt x="2710" y="839"/>
                    <a:pt x="2693" y="854"/>
                    <a:pt x="2693" y="866"/>
                  </a:cubicBezTo>
                  <a:lnTo>
                    <a:pt x="2693" y="866"/>
                  </a:lnTo>
                  <a:cubicBezTo>
                    <a:pt x="2693" y="898"/>
                    <a:pt x="2726" y="898"/>
                    <a:pt x="2752" y="898"/>
                  </a:cubicBezTo>
                  <a:lnTo>
                    <a:pt x="2752" y="898"/>
                  </a:lnTo>
                  <a:cubicBezTo>
                    <a:pt x="2752" y="938"/>
                    <a:pt x="2780" y="949"/>
                    <a:pt x="2780" y="977"/>
                  </a:cubicBezTo>
                  <a:lnTo>
                    <a:pt x="2780" y="977"/>
                  </a:lnTo>
                  <a:cubicBezTo>
                    <a:pt x="2780" y="991"/>
                    <a:pt x="2771" y="1006"/>
                    <a:pt x="2780" y="1017"/>
                  </a:cubicBezTo>
                  <a:lnTo>
                    <a:pt x="2780" y="1017"/>
                  </a:lnTo>
                  <a:cubicBezTo>
                    <a:pt x="2751" y="1017"/>
                    <a:pt x="2721" y="1017"/>
                    <a:pt x="2721" y="1041"/>
                  </a:cubicBezTo>
                  <a:lnTo>
                    <a:pt x="2721" y="1041"/>
                  </a:lnTo>
                  <a:cubicBezTo>
                    <a:pt x="2721" y="1072"/>
                    <a:pt x="2772" y="1070"/>
                    <a:pt x="2794" y="1077"/>
                  </a:cubicBezTo>
                  <a:lnTo>
                    <a:pt x="2794" y="1077"/>
                  </a:lnTo>
                  <a:cubicBezTo>
                    <a:pt x="2783" y="1107"/>
                    <a:pt x="2746" y="1123"/>
                    <a:pt x="2712" y="1127"/>
                  </a:cubicBezTo>
                  <a:lnTo>
                    <a:pt x="2712" y="1127"/>
                  </a:lnTo>
                  <a:cubicBezTo>
                    <a:pt x="2712" y="1139"/>
                    <a:pt x="2721" y="1151"/>
                    <a:pt x="2730" y="1154"/>
                  </a:cubicBezTo>
                  <a:lnTo>
                    <a:pt x="2730" y="1154"/>
                  </a:lnTo>
                  <a:cubicBezTo>
                    <a:pt x="2718" y="1209"/>
                    <a:pt x="2644" y="1185"/>
                    <a:pt x="2630" y="1224"/>
                  </a:cubicBezTo>
                  <a:lnTo>
                    <a:pt x="2630" y="1224"/>
                  </a:lnTo>
                  <a:cubicBezTo>
                    <a:pt x="2609" y="1211"/>
                    <a:pt x="2589" y="1202"/>
                    <a:pt x="2574" y="1182"/>
                  </a:cubicBezTo>
                  <a:lnTo>
                    <a:pt x="2547" y="1182"/>
                  </a:lnTo>
                  <a:lnTo>
                    <a:pt x="2547" y="1182"/>
                  </a:lnTo>
                  <a:cubicBezTo>
                    <a:pt x="2565" y="1231"/>
                    <a:pt x="2648" y="1214"/>
                    <a:pt x="2648" y="1264"/>
                  </a:cubicBezTo>
                  <a:lnTo>
                    <a:pt x="2648" y="1264"/>
                  </a:lnTo>
                  <a:cubicBezTo>
                    <a:pt x="2648" y="1286"/>
                    <a:pt x="2642" y="1315"/>
                    <a:pt x="2620" y="1315"/>
                  </a:cubicBezTo>
                  <a:lnTo>
                    <a:pt x="2620" y="1315"/>
                  </a:lnTo>
                  <a:cubicBezTo>
                    <a:pt x="2587" y="1315"/>
                    <a:pt x="2530" y="1268"/>
                    <a:pt x="2520" y="1233"/>
                  </a:cubicBezTo>
                  <a:lnTo>
                    <a:pt x="2520" y="1233"/>
                  </a:lnTo>
                  <a:cubicBezTo>
                    <a:pt x="2505" y="1234"/>
                    <a:pt x="2499" y="1233"/>
                    <a:pt x="2496" y="1233"/>
                  </a:cubicBezTo>
                  <a:lnTo>
                    <a:pt x="2496" y="1260"/>
                  </a:lnTo>
                  <a:lnTo>
                    <a:pt x="2496" y="1260"/>
                  </a:lnTo>
                  <a:cubicBezTo>
                    <a:pt x="2561" y="1326"/>
                    <a:pt x="2679" y="1357"/>
                    <a:pt x="2679" y="1462"/>
                  </a:cubicBezTo>
                  <a:lnTo>
                    <a:pt x="2679" y="1462"/>
                  </a:lnTo>
                  <a:cubicBezTo>
                    <a:pt x="2679" y="1483"/>
                    <a:pt x="2650" y="1484"/>
                    <a:pt x="2630" y="1484"/>
                  </a:cubicBezTo>
                  <a:lnTo>
                    <a:pt x="2630" y="1484"/>
                  </a:lnTo>
                  <a:cubicBezTo>
                    <a:pt x="2543" y="1484"/>
                    <a:pt x="2561" y="1393"/>
                    <a:pt x="2486" y="1393"/>
                  </a:cubicBezTo>
                  <a:lnTo>
                    <a:pt x="2486" y="1393"/>
                  </a:lnTo>
                  <a:cubicBezTo>
                    <a:pt x="2477" y="1393"/>
                    <a:pt x="2468" y="1398"/>
                    <a:pt x="2459" y="1393"/>
                  </a:cubicBezTo>
                  <a:lnTo>
                    <a:pt x="2459" y="1393"/>
                  </a:lnTo>
                  <a:cubicBezTo>
                    <a:pt x="2459" y="1418"/>
                    <a:pt x="2477" y="1424"/>
                    <a:pt x="2477" y="1438"/>
                  </a:cubicBezTo>
                  <a:lnTo>
                    <a:pt x="2477" y="1438"/>
                  </a:lnTo>
                  <a:cubicBezTo>
                    <a:pt x="2477" y="1455"/>
                    <a:pt x="2446" y="1460"/>
                    <a:pt x="2437" y="1462"/>
                  </a:cubicBezTo>
                  <a:lnTo>
                    <a:pt x="2437" y="1462"/>
                  </a:lnTo>
                  <a:cubicBezTo>
                    <a:pt x="2437" y="1517"/>
                    <a:pt x="2600" y="1509"/>
                    <a:pt x="2638" y="1522"/>
                  </a:cubicBezTo>
                  <a:lnTo>
                    <a:pt x="2638" y="1522"/>
                  </a:lnTo>
                  <a:cubicBezTo>
                    <a:pt x="2611" y="1545"/>
                    <a:pt x="2592" y="1546"/>
                    <a:pt x="2560" y="1557"/>
                  </a:cubicBezTo>
                  <a:lnTo>
                    <a:pt x="2560" y="1557"/>
                  </a:lnTo>
                  <a:cubicBezTo>
                    <a:pt x="2499" y="1578"/>
                    <a:pt x="2481" y="1629"/>
                    <a:pt x="2428" y="1645"/>
                  </a:cubicBezTo>
                  <a:lnTo>
                    <a:pt x="2428" y="1645"/>
                  </a:lnTo>
                  <a:cubicBezTo>
                    <a:pt x="2362" y="1667"/>
                    <a:pt x="2309" y="1661"/>
                    <a:pt x="2239" y="1691"/>
                  </a:cubicBezTo>
                  <a:lnTo>
                    <a:pt x="2153" y="1691"/>
                  </a:lnTo>
                  <a:lnTo>
                    <a:pt x="2153" y="1691"/>
                  </a:lnTo>
                  <a:cubicBezTo>
                    <a:pt x="2135" y="1702"/>
                    <a:pt x="2116" y="1707"/>
                    <a:pt x="2116" y="1722"/>
                  </a:cubicBezTo>
                  <a:lnTo>
                    <a:pt x="2070" y="1756"/>
                  </a:lnTo>
                  <a:lnTo>
                    <a:pt x="2070" y="1756"/>
                  </a:lnTo>
                  <a:cubicBezTo>
                    <a:pt x="2036" y="1782"/>
                    <a:pt x="2034" y="1820"/>
                    <a:pt x="2006" y="1847"/>
                  </a:cubicBezTo>
                  <a:lnTo>
                    <a:pt x="2006" y="1847"/>
                  </a:lnTo>
                  <a:cubicBezTo>
                    <a:pt x="1970" y="1883"/>
                    <a:pt x="1908" y="1874"/>
                    <a:pt x="1869" y="1902"/>
                  </a:cubicBezTo>
                  <a:lnTo>
                    <a:pt x="1841" y="1902"/>
                  </a:lnTo>
                  <a:lnTo>
                    <a:pt x="1841" y="1865"/>
                  </a:lnTo>
                  <a:lnTo>
                    <a:pt x="1841" y="1865"/>
                  </a:lnTo>
                  <a:cubicBezTo>
                    <a:pt x="1814" y="1876"/>
                    <a:pt x="1821" y="1895"/>
                    <a:pt x="1805" y="1911"/>
                  </a:cubicBezTo>
                  <a:lnTo>
                    <a:pt x="1805" y="1911"/>
                  </a:lnTo>
                  <a:cubicBezTo>
                    <a:pt x="1766" y="1949"/>
                    <a:pt x="1668" y="1933"/>
                    <a:pt x="1668" y="1993"/>
                  </a:cubicBezTo>
                  <a:lnTo>
                    <a:pt x="1668" y="1993"/>
                  </a:lnTo>
                  <a:cubicBezTo>
                    <a:pt x="1668" y="1999"/>
                    <a:pt x="1671" y="2006"/>
                    <a:pt x="1671" y="2012"/>
                  </a:cubicBezTo>
                  <a:lnTo>
                    <a:pt x="1671" y="2012"/>
                  </a:lnTo>
                  <a:cubicBezTo>
                    <a:pt x="1666" y="2019"/>
                    <a:pt x="1658" y="2024"/>
                    <a:pt x="1658" y="2034"/>
                  </a:cubicBezTo>
                  <a:lnTo>
                    <a:pt x="1658" y="2034"/>
                  </a:lnTo>
                  <a:cubicBezTo>
                    <a:pt x="1658" y="2047"/>
                    <a:pt x="1680" y="2056"/>
                    <a:pt x="1680" y="2076"/>
                  </a:cubicBezTo>
                  <a:lnTo>
                    <a:pt x="1680" y="2076"/>
                  </a:lnTo>
                  <a:cubicBezTo>
                    <a:pt x="1680" y="2138"/>
                    <a:pt x="1594" y="2118"/>
                    <a:pt x="1594" y="2171"/>
                  </a:cubicBezTo>
                  <a:lnTo>
                    <a:pt x="1594" y="2171"/>
                  </a:lnTo>
                  <a:cubicBezTo>
                    <a:pt x="1594" y="2204"/>
                    <a:pt x="1590" y="2252"/>
                    <a:pt x="1594" y="2272"/>
                  </a:cubicBezTo>
                  <a:lnTo>
                    <a:pt x="1594" y="2272"/>
                  </a:lnTo>
                  <a:cubicBezTo>
                    <a:pt x="1552" y="2292"/>
                    <a:pt x="1574" y="2387"/>
                    <a:pt x="1525" y="2387"/>
                  </a:cubicBezTo>
                  <a:lnTo>
                    <a:pt x="1525" y="2387"/>
                  </a:lnTo>
                  <a:cubicBezTo>
                    <a:pt x="1512" y="2387"/>
                    <a:pt x="1506" y="2380"/>
                    <a:pt x="1502" y="2369"/>
                  </a:cubicBezTo>
                  <a:lnTo>
                    <a:pt x="1502" y="2369"/>
                  </a:lnTo>
                  <a:cubicBezTo>
                    <a:pt x="1481" y="2371"/>
                    <a:pt x="1477" y="2382"/>
                    <a:pt x="1466" y="2382"/>
                  </a:cubicBezTo>
                  <a:lnTo>
                    <a:pt x="1466" y="2382"/>
                  </a:lnTo>
                  <a:cubicBezTo>
                    <a:pt x="1420" y="2382"/>
                    <a:pt x="1424" y="2299"/>
                    <a:pt x="1378" y="2299"/>
                  </a:cubicBezTo>
                  <a:lnTo>
                    <a:pt x="1378" y="2299"/>
                  </a:lnTo>
                  <a:cubicBezTo>
                    <a:pt x="1352" y="2299"/>
                    <a:pt x="1323" y="2321"/>
                    <a:pt x="1301" y="2324"/>
                  </a:cubicBezTo>
                  <a:lnTo>
                    <a:pt x="1301" y="2324"/>
                  </a:lnTo>
                  <a:cubicBezTo>
                    <a:pt x="1288" y="2281"/>
                    <a:pt x="1270" y="2294"/>
                    <a:pt x="1241" y="2272"/>
                  </a:cubicBezTo>
                  <a:lnTo>
                    <a:pt x="1241" y="2272"/>
                  </a:lnTo>
                  <a:cubicBezTo>
                    <a:pt x="1229" y="2265"/>
                    <a:pt x="1233" y="2239"/>
                    <a:pt x="1227" y="2235"/>
                  </a:cubicBezTo>
                  <a:lnTo>
                    <a:pt x="1227" y="2235"/>
                  </a:lnTo>
                  <a:cubicBezTo>
                    <a:pt x="1191" y="2206"/>
                    <a:pt x="1121" y="2123"/>
                    <a:pt x="1121" y="2070"/>
                  </a:cubicBezTo>
                  <a:lnTo>
                    <a:pt x="1121" y="2070"/>
                  </a:lnTo>
                  <a:cubicBezTo>
                    <a:pt x="1121" y="2047"/>
                    <a:pt x="1136" y="2049"/>
                    <a:pt x="1149" y="2036"/>
                  </a:cubicBezTo>
                  <a:lnTo>
                    <a:pt x="1149" y="2036"/>
                  </a:lnTo>
                  <a:cubicBezTo>
                    <a:pt x="1121" y="2001"/>
                    <a:pt x="1112" y="2047"/>
                    <a:pt x="1081" y="2030"/>
                  </a:cubicBezTo>
                  <a:lnTo>
                    <a:pt x="1081" y="2030"/>
                  </a:lnTo>
                  <a:cubicBezTo>
                    <a:pt x="1074" y="2023"/>
                    <a:pt x="1068" y="1988"/>
                    <a:pt x="1062" y="1970"/>
                  </a:cubicBezTo>
                  <a:lnTo>
                    <a:pt x="1062" y="1970"/>
                  </a:lnTo>
                  <a:cubicBezTo>
                    <a:pt x="1052" y="1935"/>
                    <a:pt x="1002" y="1915"/>
                    <a:pt x="1002" y="1865"/>
                  </a:cubicBezTo>
                  <a:lnTo>
                    <a:pt x="1002" y="1865"/>
                  </a:lnTo>
                  <a:cubicBezTo>
                    <a:pt x="1002" y="1847"/>
                    <a:pt x="1015" y="1838"/>
                    <a:pt x="1021" y="1820"/>
                  </a:cubicBezTo>
                  <a:lnTo>
                    <a:pt x="1021" y="1820"/>
                  </a:lnTo>
                  <a:cubicBezTo>
                    <a:pt x="1008" y="1812"/>
                    <a:pt x="995" y="1810"/>
                    <a:pt x="984" y="1820"/>
                  </a:cubicBezTo>
                  <a:lnTo>
                    <a:pt x="984" y="1777"/>
                  </a:lnTo>
                  <a:lnTo>
                    <a:pt x="984" y="1777"/>
                  </a:lnTo>
                  <a:cubicBezTo>
                    <a:pt x="1010" y="1743"/>
                    <a:pt x="1021" y="1706"/>
                    <a:pt x="1057" y="1676"/>
                  </a:cubicBezTo>
                  <a:lnTo>
                    <a:pt x="1057" y="1673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6" name="Freeform 144">
              <a:extLst>
                <a:ext uri="{FF2B5EF4-FFF2-40B4-BE49-F238E27FC236}">
                  <a16:creationId xmlns:a16="http://schemas.microsoft.com/office/drawing/2014/main" id="{F5BB9880-A26B-374B-9C98-74FF5FC5E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9050" y="3977699"/>
              <a:ext cx="97930" cy="66246"/>
            </a:xfrm>
            <a:custGeom>
              <a:avLst/>
              <a:gdLst>
                <a:gd name="T0" fmla="*/ 37 w 152"/>
                <a:gd name="T1" fmla="*/ 101 h 102"/>
                <a:gd name="T2" fmla="*/ 37 w 152"/>
                <a:gd name="T3" fmla="*/ 101 h 102"/>
                <a:gd name="T4" fmla="*/ 0 w 152"/>
                <a:gd name="T5" fmla="*/ 36 h 102"/>
                <a:gd name="T6" fmla="*/ 0 w 152"/>
                <a:gd name="T7" fmla="*/ 36 h 102"/>
                <a:gd name="T8" fmla="*/ 41 w 152"/>
                <a:gd name="T9" fmla="*/ 0 h 102"/>
                <a:gd name="T10" fmla="*/ 41 w 152"/>
                <a:gd name="T11" fmla="*/ 0 h 102"/>
                <a:gd name="T12" fmla="*/ 151 w 152"/>
                <a:gd name="T13" fmla="*/ 63 h 102"/>
                <a:gd name="T14" fmla="*/ 151 w 152"/>
                <a:gd name="T15" fmla="*/ 63 h 102"/>
                <a:gd name="T16" fmla="*/ 77 w 152"/>
                <a:gd name="T17" fmla="*/ 101 h 102"/>
                <a:gd name="T18" fmla="*/ 37 w 152"/>
                <a:gd name="T19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02">
                  <a:moveTo>
                    <a:pt x="37" y="101"/>
                  </a:moveTo>
                  <a:lnTo>
                    <a:pt x="37" y="101"/>
                  </a:lnTo>
                  <a:cubicBezTo>
                    <a:pt x="20" y="99"/>
                    <a:pt x="0" y="58"/>
                    <a:pt x="0" y="36"/>
                  </a:cubicBezTo>
                  <a:lnTo>
                    <a:pt x="0" y="36"/>
                  </a:lnTo>
                  <a:cubicBezTo>
                    <a:pt x="0" y="9"/>
                    <a:pt x="25" y="0"/>
                    <a:pt x="41" y="0"/>
                  </a:cubicBezTo>
                  <a:lnTo>
                    <a:pt x="41" y="0"/>
                  </a:lnTo>
                  <a:cubicBezTo>
                    <a:pt x="89" y="0"/>
                    <a:pt x="103" y="49"/>
                    <a:pt x="151" y="63"/>
                  </a:cubicBezTo>
                  <a:lnTo>
                    <a:pt x="151" y="63"/>
                  </a:lnTo>
                  <a:cubicBezTo>
                    <a:pt x="147" y="94"/>
                    <a:pt x="108" y="101"/>
                    <a:pt x="77" y="101"/>
                  </a:cubicBezTo>
                  <a:lnTo>
                    <a:pt x="37" y="101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7" name="Freeform 145">
              <a:extLst>
                <a:ext uri="{FF2B5EF4-FFF2-40B4-BE49-F238E27FC236}">
                  <a16:creationId xmlns:a16="http://schemas.microsoft.com/office/drawing/2014/main" id="{4E54C3B0-0D58-9D4B-A92B-4BE9747CC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3177" y="3640703"/>
              <a:ext cx="54727" cy="34564"/>
            </a:xfrm>
            <a:custGeom>
              <a:avLst/>
              <a:gdLst>
                <a:gd name="T0" fmla="*/ 24 w 84"/>
                <a:gd name="T1" fmla="*/ 52 h 53"/>
                <a:gd name="T2" fmla="*/ 24 w 84"/>
                <a:gd name="T3" fmla="*/ 52 h 53"/>
                <a:gd name="T4" fmla="*/ 0 w 84"/>
                <a:gd name="T5" fmla="*/ 24 h 53"/>
                <a:gd name="T6" fmla="*/ 0 w 84"/>
                <a:gd name="T7" fmla="*/ 24 h 53"/>
                <a:gd name="T8" fmla="*/ 18 w 84"/>
                <a:gd name="T9" fmla="*/ 0 h 53"/>
                <a:gd name="T10" fmla="*/ 51 w 84"/>
                <a:gd name="T11" fmla="*/ 0 h 53"/>
                <a:gd name="T12" fmla="*/ 51 w 84"/>
                <a:gd name="T13" fmla="*/ 24 h 53"/>
                <a:gd name="T14" fmla="*/ 83 w 84"/>
                <a:gd name="T15" fmla="*/ 24 h 53"/>
                <a:gd name="T16" fmla="*/ 83 w 84"/>
                <a:gd name="T17" fmla="*/ 24 h 53"/>
                <a:gd name="T18" fmla="*/ 24 w 84"/>
                <a:gd name="T19" fmla="*/ 5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53">
                  <a:moveTo>
                    <a:pt x="24" y="52"/>
                  </a:moveTo>
                  <a:lnTo>
                    <a:pt x="24" y="52"/>
                  </a:lnTo>
                  <a:cubicBezTo>
                    <a:pt x="11" y="52"/>
                    <a:pt x="0" y="33"/>
                    <a:pt x="0" y="24"/>
                  </a:cubicBezTo>
                  <a:lnTo>
                    <a:pt x="0" y="24"/>
                  </a:lnTo>
                  <a:cubicBezTo>
                    <a:pt x="0" y="13"/>
                    <a:pt x="13" y="6"/>
                    <a:pt x="18" y="0"/>
                  </a:cubicBezTo>
                  <a:lnTo>
                    <a:pt x="51" y="0"/>
                  </a:lnTo>
                  <a:lnTo>
                    <a:pt x="51" y="24"/>
                  </a:lnTo>
                  <a:lnTo>
                    <a:pt x="83" y="24"/>
                  </a:lnTo>
                  <a:lnTo>
                    <a:pt x="83" y="24"/>
                  </a:lnTo>
                  <a:cubicBezTo>
                    <a:pt x="73" y="29"/>
                    <a:pt x="42" y="52"/>
                    <a:pt x="24" y="52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8" name="Freeform 146">
              <a:extLst>
                <a:ext uri="{FF2B5EF4-FFF2-40B4-BE49-F238E27FC236}">
                  <a16:creationId xmlns:a16="http://schemas.microsoft.com/office/drawing/2014/main" id="{95BB5B48-85F6-CA4A-A232-F2871DEE0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82153" y="4965642"/>
              <a:ext cx="224664" cy="218903"/>
            </a:xfrm>
            <a:custGeom>
              <a:avLst/>
              <a:gdLst>
                <a:gd name="T0" fmla="*/ 19 w 342"/>
                <a:gd name="T1" fmla="*/ 278 h 334"/>
                <a:gd name="T2" fmla="*/ 19 w 342"/>
                <a:gd name="T3" fmla="*/ 278 h 334"/>
                <a:gd name="T4" fmla="*/ 0 w 342"/>
                <a:gd name="T5" fmla="*/ 260 h 334"/>
                <a:gd name="T6" fmla="*/ 0 w 342"/>
                <a:gd name="T7" fmla="*/ 260 h 334"/>
                <a:gd name="T8" fmla="*/ 33 w 342"/>
                <a:gd name="T9" fmla="*/ 225 h 334"/>
                <a:gd name="T10" fmla="*/ 33 w 342"/>
                <a:gd name="T11" fmla="*/ 214 h 334"/>
                <a:gd name="T12" fmla="*/ 33 w 342"/>
                <a:gd name="T13" fmla="*/ 214 h 334"/>
                <a:gd name="T14" fmla="*/ 19 w 342"/>
                <a:gd name="T15" fmla="*/ 205 h 334"/>
                <a:gd name="T16" fmla="*/ 19 w 342"/>
                <a:gd name="T17" fmla="*/ 205 h 334"/>
                <a:gd name="T18" fmla="*/ 118 w 342"/>
                <a:gd name="T19" fmla="*/ 55 h 334"/>
                <a:gd name="T20" fmla="*/ 118 w 342"/>
                <a:gd name="T21" fmla="*/ 55 h 334"/>
                <a:gd name="T22" fmla="*/ 173 w 342"/>
                <a:gd name="T23" fmla="*/ 0 h 334"/>
                <a:gd name="T24" fmla="*/ 173 w 342"/>
                <a:gd name="T25" fmla="*/ 0 h 334"/>
                <a:gd name="T26" fmla="*/ 185 w 342"/>
                <a:gd name="T27" fmla="*/ 18 h 334"/>
                <a:gd name="T28" fmla="*/ 185 w 342"/>
                <a:gd name="T29" fmla="*/ 18 h 334"/>
                <a:gd name="T30" fmla="*/ 136 w 342"/>
                <a:gd name="T31" fmla="*/ 111 h 334"/>
                <a:gd name="T32" fmla="*/ 136 w 342"/>
                <a:gd name="T33" fmla="*/ 128 h 334"/>
                <a:gd name="T34" fmla="*/ 136 w 342"/>
                <a:gd name="T35" fmla="*/ 128 h 334"/>
                <a:gd name="T36" fmla="*/ 163 w 342"/>
                <a:gd name="T37" fmla="*/ 113 h 334"/>
                <a:gd name="T38" fmla="*/ 163 w 342"/>
                <a:gd name="T39" fmla="*/ 113 h 334"/>
                <a:gd name="T40" fmla="*/ 192 w 342"/>
                <a:gd name="T41" fmla="*/ 122 h 334"/>
                <a:gd name="T42" fmla="*/ 183 w 342"/>
                <a:gd name="T43" fmla="*/ 131 h 334"/>
                <a:gd name="T44" fmla="*/ 183 w 342"/>
                <a:gd name="T45" fmla="*/ 148 h 334"/>
                <a:gd name="T46" fmla="*/ 216 w 342"/>
                <a:gd name="T47" fmla="*/ 148 h 334"/>
                <a:gd name="T48" fmla="*/ 216 w 342"/>
                <a:gd name="T49" fmla="*/ 157 h 334"/>
                <a:gd name="T50" fmla="*/ 238 w 342"/>
                <a:gd name="T51" fmla="*/ 150 h 334"/>
                <a:gd name="T52" fmla="*/ 238 w 342"/>
                <a:gd name="T53" fmla="*/ 150 h 334"/>
                <a:gd name="T54" fmla="*/ 291 w 342"/>
                <a:gd name="T55" fmla="*/ 150 h 334"/>
                <a:gd name="T56" fmla="*/ 291 w 342"/>
                <a:gd name="T57" fmla="*/ 150 h 334"/>
                <a:gd name="T58" fmla="*/ 290 w 342"/>
                <a:gd name="T59" fmla="*/ 210 h 334"/>
                <a:gd name="T60" fmla="*/ 290 w 342"/>
                <a:gd name="T61" fmla="*/ 210 h 334"/>
                <a:gd name="T62" fmla="*/ 310 w 342"/>
                <a:gd name="T63" fmla="*/ 205 h 334"/>
                <a:gd name="T64" fmla="*/ 310 w 342"/>
                <a:gd name="T65" fmla="*/ 205 h 334"/>
                <a:gd name="T66" fmla="*/ 291 w 342"/>
                <a:gd name="T67" fmla="*/ 232 h 334"/>
                <a:gd name="T68" fmla="*/ 291 w 342"/>
                <a:gd name="T69" fmla="*/ 232 h 334"/>
                <a:gd name="T70" fmla="*/ 304 w 342"/>
                <a:gd name="T71" fmla="*/ 262 h 334"/>
                <a:gd name="T72" fmla="*/ 304 w 342"/>
                <a:gd name="T73" fmla="*/ 262 h 334"/>
                <a:gd name="T74" fmla="*/ 328 w 342"/>
                <a:gd name="T75" fmla="*/ 250 h 334"/>
                <a:gd name="T76" fmla="*/ 328 w 342"/>
                <a:gd name="T77" fmla="*/ 250 h 334"/>
                <a:gd name="T78" fmla="*/ 341 w 342"/>
                <a:gd name="T79" fmla="*/ 289 h 334"/>
                <a:gd name="T80" fmla="*/ 341 w 342"/>
                <a:gd name="T81" fmla="*/ 289 h 334"/>
                <a:gd name="T82" fmla="*/ 312 w 342"/>
                <a:gd name="T83" fmla="*/ 333 h 334"/>
                <a:gd name="T84" fmla="*/ 312 w 342"/>
                <a:gd name="T85" fmla="*/ 333 h 334"/>
                <a:gd name="T86" fmla="*/ 295 w 342"/>
                <a:gd name="T87" fmla="*/ 311 h 334"/>
                <a:gd name="T88" fmla="*/ 295 w 342"/>
                <a:gd name="T89" fmla="*/ 311 h 334"/>
                <a:gd name="T90" fmla="*/ 281 w 342"/>
                <a:gd name="T91" fmla="*/ 308 h 334"/>
                <a:gd name="T92" fmla="*/ 281 w 342"/>
                <a:gd name="T93" fmla="*/ 308 h 334"/>
                <a:gd name="T94" fmla="*/ 262 w 342"/>
                <a:gd name="T95" fmla="*/ 258 h 334"/>
                <a:gd name="T96" fmla="*/ 262 w 342"/>
                <a:gd name="T97" fmla="*/ 258 h 334"/>
                <a:gd name="T98" fmla="*/ 209 w 342"/>
                <a:gd name="T99" fmla="*/ 308 h 334"/>
                <a:gd name="T100" fmla="*/ 209 w 342"/>
                <a:gd name="T101" fmla="*/ 308 h 334"/>
                <a:gd name="T102" fmla="*/ 198 w 342"/>
                <a:gd name="T103" fmla="*/ 308 h 334"/>
                <a:gd name="T104" fmla="*/ 198 w 342"/>
                <a:gd name="T105" fmla="*/ 308 h 334"/>
                <a:gd name="T106" fmla="*/ 219 w 342"/>
                <a:gd name="T107" fmla="*/ 278 h 334"/>
                <a:gd name="T108" fmla="*/ 219 w 342"/>
                <a:gd name="T109" fmla="*/ 278 h 334"/>
                <a:gd name="T110" fmla="*/ 167 w 342"/>
                <a:gd name="T111" fmla="*/ 271 h 334"/>
                <a:gd name="T112" fmla="*/ 167 w 342"/>
                <a:gd name="T113" fmla="*/ 271 h 334"/>
                <a:gd name="T114" fmla="*/ 130 w 342"/>
                <a:gd name="T115" fmla="*/ 280 h 334"/>
                <a:gd name="T116" fmla="*/ 130 w 342"/>
                <a:gd name="T117" fmla="*/ 280 h 334"/>
                <a:gd name="T118" fmla="*/ 75 w 342"/>
                <a:gd name="T119" fmla="*/ 267 h 334"/>
                <a:gd name="T120" fmla="*/ 75 w 342"/>
                <a:gd name="T121" fmla="*/ 267 h 334"/>
                <a:gd name="T122" fmla="*/ 19 w 342"/>
                <a:gd name="T123" fmla="*/ 278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2" h="334">
                  <a:moveTo>
                    <a:pt x="19" y="278"/>
                  </a:moveTo>
                  <a:lnTo>
                    <a:pt x="19" y="278"/>
                  </a:lnTo>
                  <a:cubicBezTo>
                    <a:pt x="9" y="278"/>
                    <a:pt x="0" y="265"/>
                    <a:pt x="0" y="260"/>
                  </a:cubicBezTo>
                  <a:lnTo>
                    <a:pt x="0" y="260"/>
                  </a:lnTo>
                  <a:cubicBezTo>
                    <a:pt x="0" y="253"/>
                    <a:pt x="33" y="227"/>
                    <a:pt x="33" y="225"/>
                  </a:cubicBezTo>
                  <a:lnTo>
                    <a:pt x="33" y="214"/>
                  </a:lnTo>
                  <a:lnTo>
                    <a:pt x="33" y="214"/>
                  </a:lnTo>
                  <a:cubicBezTo>
                    <a:pt x="28" y="214"/>
                    <a:pt x="20" y="210"/>
                    <a:pt x="19" y="205"/>
                  </a:cubicBezTo>
                  <a:lnTo>
                    <a:pt x="19" y="205"/>
                  </a:lnTo>
                  <a:cubicBezTo>
                    <a:pt x="70" y="179"/>
                    <a:pt x="90" y="97"/>
                    <a:pt x="118" y="55"/>
                  </a:cubicBezTo>
                  <a:lnTo>
                    <a:pt x="118" y="55"/>
                  </a:lnTo>
                  <a:cubicBezTo>
                    <a:pt x="132" y="31"/>
                    <a:pt x="143" y="0"/>
                    <a:pt x="173" y="0"/>
                  </a:cubicBezTo>
                  <a:lnTo>
                    <a:pt x="173" y="0"/>
                  </a:lnTo>
                  <a:cubicBezTo>
                    <a:pt x="180" y="0"/>
                    <a:pt x="185" y="11"/>
                    <a:pt x="185" y="18"/>
                  </a:cubicBezTo>
                  <a:lnTo>
                    <a:pt x="185" y="18"/>
                  </a:lnTo>
                  <a:cubicBezTo>
                    <a:pt x="185" y="58"/>
                    <a:pt x="147" y="78"/>
                    <a:pt x="136" y="111"/>
                  </a:cubicBezTo>
                  <a:lnTo>
                    <a:pt x="136" y="128"/>
                  </a:lnTo>
                  <a:lnTo>
                    <a:pt x="136" y="128"/>
                  </a:lnTo>
                  <a:cubicBezTo>
                    <a:pt x="150" y="124"/>
                    <a:pt x="150" y="113"/>
                    <a:pt x="163" y="113"/>
                  </a:cubicBezTo>
                  <a:lnTo>
                    <a:pt x="163" y="113"/>
                  </a:lnTo>
                  <a:cubicBezTo>
                    <a:pt x="174" y="113"/>
                    <a:pt x="185" y="115"/>
                    <a:pt x="192" y="122"/>
                  </a:cubicBezTo>
                  <a:lnTo>
                    <a:pt x="183" y="131"/>
                  </a:lnTo>
                  <a:lnTo>
                    <a:pt x="183" y="148"/>
                  </a:lnTo>
                  <a:lnTo>
                    <a:pt x="216" y="148"/>
                  </a:lnTo>
                  <a:lnTo>
                    <a:pt x="216" y="157"/>
                  </a:lnTo>
                  <a:lnTo>
                    <a:pt x="238" y="150"/>
                  </a:lnTo>
                  <a:lnTo>
                    <a:pt x="238" y="150"/>
                  </a:lnTo>
                  <a:cubicBezTo>
                    <a:pt x="258" y="155"/>
                    <a:pt x="282" y="155"/>
                    <a:pt x="291" y="150"/>
                  </a:cubicBezTo>
                  <a:lnTo>
                    <a:pt x="291" y="150"/>
                  </a:lnTo>
                  <a:cubicBezTo>
                    <a:pt x="291" y="167"/>
                    <a:pt x="290" y="183"/>
                    <a:pt x="290" y="210"/>
                  </a:cubicBezTo>
                  <a:lnTo>
                    <a:pt x="290" y="210"/>
                  </a:lnTo>
                  <a:cubicBezTo>
                    <a:pt x="293" y="207"/>
                    <a:pt x="302" y="205"/>
                    <a:pt x="310" y="205"/>
                  </a:cubicBezTo>
                  <a:lnTo>
                    <a:pt x="310" y="205"/>
                  </a:lnTo>
                  <a:cubicBezTo>
                    <a:pt x="308" y="221"/>
                    <a:pt x="291" y="225"/>
                    <a:pt x="291" y="232"/>
                  </a:cubicBezTo>
                  <a:lnTo>
                    <a:pt x="291" y="232"/>
                  </a:lnTo>
                  <a:cubicBezTo>
                    <a:pt x="291" y="242"/>
                    <a:pt x="304" y="249"/>
                    <a:pt x="304" y="262"/>
                  </a:cubicBezTo>
                  <a:lnTo>
                    <a:pt x="304" y="262"/>
                  </a:lnTo>
                  <a:cubicBezTo>
                    <a:pt x="322" y="262"/>
                    <a:pt x="317" y="258"/>
                    <a:pt x="328" y="250"/>
                  </a:cubicBezTo>
                  <a:lnTo>
                    <a:pt x="328" y="250"/>
                  </a:lnTo>
                  <a:cubicBezTo>
                    <a:pt x="328" y="273"/>
                    <a:pt x="341" y="271"/>
                    <a:pt x="341" y="289"/>
                  </a:cubicBezTo>
                  <a:lnTo>
                    <a:pt x="341" y="289"/>
                  </a:lnTo>
                  <a:cubicBezTo>
                    <a:pt x="341" y="311"/>
                    <a:pt x="330" y="333"/>
                    <a:pt x="312" y="333"/>
                  </a:cubicBezTo>
                  <a:lnTo>
                    <a:pt x="312" y="333"/>
                  </a:lnTo>
                  <a:cubicBezTo>
                    <a:pt x="299" y="333"/>
                    <a:pt x="295" y="319"/>
                    <a:pt x="295" y="311"/>
                  </a:cubicBezTo>
                  <a:lnTo>
                    <a:pt x="295" y="311"/>
                  </a:lnTo>
                  <a:cubicBezTo>
                    <a:pt x="290" y="311"/>
                    <a:pt x="286" y="308"/>
                    <a:pt x="281" y="308"/>
                  </a:cubicBezTo>
                  <a:lnTo>
                    <a:pt x="281" y="308"/>
                  </a:lnTo>
                  <a:cubicBezTo>
                    <a:pt x="266" y="308"/>
                    <a:pt x="277" y="273"/>
                    <a:pt x="262" y="258"/>
                  </a:cubicBezTo>
                  <a:lnTo>
                    <a:pt x="262" y="258"/>
                  </a:lnTo>
                  <a:cubicBezTo>
                    <a:pt x="248" y="280"/>
                    <a:pt x="231" y="308"/>
                    <a:pt x="209" y="308"/>
                  </a:cubicBezTo>
                  <a:lnTo>
                    <a:pt x="209" y="308"/>
                  </a:lnTo>
                  <a:cubicBezTo>
                    <a:pt x="205" y="308"/>
                    <a:pt x="198" y="311"/>
                    <a:pt x="198" y="308"/>
                  </a:cubicBezTo>
                  <a:lnTo>
                    <a:pt x="198" y="308"/>
                  </a:lnTo>
                  <a:cubicBezTo>
                    <a:pt x="198" y="289"/>
                    <a:pt x="212" y="289"/>
                    <a:pt x="219" y="278"/>
                  </a:cubicBezTo>
                  <a:lnTo>
                    <a:pt x="219" y="278"/>
                  </a:lnTo>
                  <a:cubicBezTo>
                    <a:pt x="200" y="278"/>
                    <a:pt x="176" y="289"/>
                    <a:pt x="167" y="271"/>
                  </a:cubicBezTo>
                  <a:lnTo>
                    <a:pt x="167" y="271"/>
                  </a:lnTo>
                  <a:cubicBezTo>
                    <a:pt x="154" y="276"/>
                    <a:pt x="143" y="280"/>
                    <a:pt x="130" y="280"/>
                  </a:cubicBezTo>
                  <a:lnTo>
                    <a:pt x="130" y="280"/>
                  </a:lnTo>
                  <a:cubicBezTo>
                    <a:pt x="106" y="280"/>
                    <a:pt x="96" y="267"/>
                    <a:pt x="75" y="267"/>
                  </a:cubicBezTo>
                  <a:lnTo>
                    <a:pt x="75" y="267"/>
                  </a:lnTo>
                  <a:cubicBezTo>
                    <a:pt x="48" y="267"/>
                    <a:pt x="40" y="278"/>
                    <a:pt x="19" y="278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19" name="Freeform 147">
              <a:extLst>
                <a:ext uri="{FF2B5EF4-FFF2-40B4-BE49-F238E27FC236}">
                  <a16:creationId xmlns:a16="http://schemas.microsoft.com/office/drawing/2014/main" id="{851EDC85-4284-914C-B6F1-90441046FE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64454" y="3574457"/>
              <a:ext cx="264988" cy="103691"/>
            </a:xfrm>
            <a:custGeom>
              <a:avLst/>
              <a:gdLst>
                <a:gd name="T0" fmla="*/ 320 w 404"/>
                <a:gd name="T1" fmla="*/ 119 h 157"/>
                <a:gd name="T2" fmla="*/ 320 w 404"/>
                <a:gd name="T3" fmla="*/ 119 h 157"/>
                <a:gd name="T4" fmla="*/ 275 w 404"/>
                <a:gd name="T5" fmla="*/ 137 h 157"/>
                <a:gd name="T6" fmla="*/ 275 w 404"/>
                <a:gd name="T7" fmla="*/ 137 h 157"/>
                <a:gd name="T8" fmla="*/ 241 w 404"/>
                <a:gd name="T9" fmla="*/ 119 h 157"/>
                <a:gd name="T10" fmla="*/ 241 w 404"/>
                <a:gd name="T11" fmla="*/ 119 h 157"/>
                <a:gd name="T12" fmla="*/ 205 w 404"/>
                <a:gd name="T13" fmla="*/ 132 h 157"/>
                <a:gd name="T14" fmla="*/ 205 w 404"/>
                <a:gd name="T15" fmla="*/ 132 h 157"/>
                <a:gd name="T16" fmla="*/ 164 w 404"/>
                <a:gd name="T17" fmla="*/ 146 h 157"/>
                <a:gd name="T18" fmla="*/ 164 w 404"/>
                <a:gd name="T19" fmla="*/ 146 h 157"/>
                <a:gd name="T20" fmla="*/ 131 w 404"/>
                <a:gd name="T21" fmla="*/ 128 h 157"/>
                <a:gd name="T22" fmla="*/ 131 w 404"/>
                <a:gd name="T23" fmla="*/ 128 h 157"/>
                <a:gd name="T24" fmla="*/ 91 w 404"/>
                <a:gd name="T25" fmla="*/ 156 h 157"/>
                <a:gd name="T26" fmla="*/ 91 w 404"/>
                <a:gd name="T27" fmla="*/ 156 h 157"/>
                <a:gd name="T28" fmla="*/ 0 w 404"/>
                <a:gd name="T29" fmla="*/ 73 h 157"/>
                <a:gd name="T30" fmla="*/ 0 w 404"/>
                <a:gd name="T31" fmla="*/ 73 h 157"/>
                <a:gd name="T32" fmla="*/ 82 w 404"/>
                <a:gd name="T33" fmla="*/ 0 h 157"/>
                <a:gd name="T34" fmla="*/ 82 w 404"/>
                <a:gd name="T35" fmla="*/ 0 h 157"/>
                <a:gd name="T36" fmla="*/ 192 w 404"/>
                <a:gd name="T37" fmla="*/ 58 h 157"/>
                <a:gd name="T38" fmla="*/ 192 w 404"/>
                <a:gd name="T39" fmla="*/ 58 h 157"/>
                <a:gd name="T40" fmla="*/ 223 w 404"/>
                <a:gd name="T41" fmla="*/ 9 h 157"/>
                <a:gd name="T42" fmla="*/ 223 w 404"/>
                <a:gd name="T43" fmla="*/ 9 h 157"/>
                <a:gd name="T44" fmla="*/ 403 w 404"/>
                <a:gd name="T45" fmla="*/ 58 h 157"/>
                <a:gd name="T46" fmla="*/ 403 w 404"/>
                <a:gd name="T47" fmla="*/ 58 h 157"/>
                <a:gd name="T48" fmla="*/ 370 w 404"/>
                <a:gd name="T49" fmla="*/ 119 h 157"/>
                <a:gd name="T50" fmla="*/ 320 w 404"/>
                <a:gd name="T51" fmla="*/ 11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4" h="157">
                  <a:moveTo>
                    <a:pt x="320" y="119"/>
                  </a:moveTo>
                  <a:lnTo>
                    <a:pt x="320" y="119"/>
                  </a:lnTo>
                  <a:cubicBezTo>
                    <a:pt x="306" y="119"/>
                    <a:pt x="296" y="137"/>
                    <a:pt x="275" y="137"/>
                  </a:cubicBezTo>
                  <a:lnTo>
                    <a:pt x="275" y="137"/>
                  </a:lnTo>
                  <a:cubicBezTo>
                    <a:pt x="262" y="137"/>
                    <a:pt x="254" y="119"/>
                    <a:pt x="241" y="119"/>
                  </a:cubicBezTo>
                  <a:lnTo>
                    <a:pt x="241" y="119"/>
                  </a:lnTo>
                  <a:cubicBezTo>
                    <a:pt x="226" y="119"/>
                    <a:pt x="219" y="132"/>
                    <a:pt x="205" y="132"/>
                  </a:cubicBezTo>
                  <a:lnTo>
                    <a:pt x="205" y="132"/>
                  </a:lnTo>
                  <a:cubicBezTo>
                    <a:pt x="194" y="132"/>
                    <a:pt x="183" y="146"/>
                    <a:pt x="164" y="146"/>
                  </a:cubicBezTo>
                  <a:lnTo>
                    <a:pt x="164" y="146"/>
                  </a:lnTo>
                  <a:cubicBezTo>
                    <a:pt x="148" y="146"/>
                    <a:pt x="141" y="139"/>
                    <a:pt x="131" y="128"/>
                  </a:cubicBezTo>
                  <a:lnTo>
                    <a:pt x="131" y="128"/>
                  </a:lnTo>
                  <a:cubicBezTo>
                    <a:pt x="118" y="139"/>
                    <a:pt x="110" y="156"/>
                    <a:pt x="91" y="156"/>
                  </a:cubicBezTo>
                  <a:lnTo>
                    <a:pt x="91" y="156"/>
                  </a:lnTo>
                  <a:cubicBezTo>
                    <a:pt x="43" y="156"/>
                    <a:pt x="0" y="117"/>
                    <a:pt x="0" y="73"/>
                  </a:cubicBezTo>
                  <a:lnTo>
                    <a:pt x="0" y="73"/>
                  </a:lnTo>
                  <a:cubicBezTo>
                    <a:pt x="0" y="31"/>
                    <a:pt x="43" y="0"/>
                    <a:pt x="82" y="0"/>
                  </a:cubicBezTo>
                  <a:lnTo>
                    <a:pt x="82" y="0"/>
                  </a:lnTo>
                  <a:cubicBezTo>
                    <a:pt x="139" y="0"/>
                    <a:pt x="143" y="58"/>
                    <a:pt x="192" y="58"/>
                  </a:cubicBezTo>
                  <a:lnTo>
                    <a:pt x="192" y="58"/>
                  </a:lnTo>
                  <a:cubicBezTo>
                    <a:pt x="192" y="31"/>
                    <a:pt x="201" y="9"/>
                    <a:pt x="223" y="9"/>
                  </a:cubicBezTo>
                  <a:lnTo>
                    <a:pt x="223" y="9"/>
                  </a:lnTo>
                  <a:cubicBezTo>
                    <a:pt x="256" y="9"/>
                    <a:pt x="364" y="48"/>
                    <a:pt x="403" y="58"/>
                  </a:cubicBezTo>
                  <a:lnTo>
                    <a:pt x="403" y="58"/>
                  </a:lnTo>
                  <a:cubicBezTo>
                    <a:pt x="395" y="84"/>
                    <a:pt x="370" y="104"/>
                    <a:pt x="370" y="119"/>
                  </a:cubicBezTo>
                  <a:lnTo>
                    <a:pt x="320" y="119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0" name="Freeform 148">
              <a:extLst>
                <a:ext uri="{FF2B5EF4-FFF2-40B4-BE49-F238E27FC236}">
                  <a16:creationId xmlns:a16="http://schemas.microsoft.com/office/drawing/2014/main" id="{A34CAFDD-79A4-FE42-9917-FDC68C06A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6265" y="5754846"/>
              <a:ext cx="1368145" cy="918817"/>
            </a:xfrm>
            <a:custGeom>
              <a:avLst/>
              <a:gdLst>
                <a:gd name="T0" fmla="*/ 1040 w 2094"/>
                <a:gd name="T1" fmla="*/ 409 h 1406"/>
                <a:gd name="T2" fmla="*/ 1035 w 2094"/>
                <a:gd name="T3" fmla="*/ 621 h 1406"/>
                <a:gd name="T4" fmla="*/ 1085 w 2094"/>
                <a:gd name="T5" fmla="*/ 719 h 1406"/>
                <a:gd name="T6" fmla="*/ 1197 w 2094"/>
                <a:gd name="T7" fmla="*/ 819 h 1406"/>
                <a:gd name="T8" fmla="*/ 1333 w 2094"/>
                <a:gd name="T9" fmla="*/ 805 h 1406"/>
                <a:gd name="T10" fmla="*/ 1397 w 2094"/>
                <a:gd name="T11" fmla="*/ 702 h 1406"/>
                <a:gd name="T12" fmla="*/ 1543 w 2094"/>
                <a:gd name="T13" fmla="*/ 636 h 1406"/>
                <a:gd name="T14" fmla="*/ 1585 w 2094"/>
                <a:gd name="T15" fmla="*/ 656 h 1406"/>
                <a:gd name="T16" fmla="*/ 1532 w 2094"/>
                <a:gd name="T17" fmla="*/ 797 h 1406"/>
                <a:gd name="T18" fmla="*/ 1485 w 2094"/>
                <a:gd name="T19" fmla="*/ 922 h 1406"/>
                <a:gd name="T20" fmla="*/ 1506 w 2094"/>
                <a:gd name="T21" fmla="*/ 951 h 1406"/>
                <a:gd name="T22" fmla="*/ 1768 w 2094"/>
                <a:gd name="T23" fmla="*/ 1006 h 1406"/>
                <a:gd name="T24" fmla="*/ 1755 w 2094"/>
                <a:gd name="T25" fmla="*/ 1198 h 1406"/>
                <a:gd name="T26" fmla="*/ 1874 w 2094"/>
                <a:gd name="T27" fmla="*/ 1313 h 1406"/>
                <a:gd name="T28" fmla="*/ 2093 w 2094"/>
                <a:gd name="T29" fmla="*/ 1335 h 1406"/>
                <a:gd name="T30" fmla="*/ 2027 w 2094"/>
                <a:gd name="T31" fmla="*/ 1364 h 1406"/>
                <a:gd name="T32" fmla="*/ 1992 w 2094"/>
                <a:gd name="T33" fmla="*/ 1313 h 1406"/>
                <a:gd name="T34" fmla="*/ 1943 w 2094"/>
                <a:gd name="T35" fmla="*/ 1377 h 1406"/>
                <a:gd name="T36" fmla="*/ 1853 w 2094"/>
                <a:gd name="T37" fmla="*/ 1355 h 1406"/>
                <a:gd name="T38" fmla="*/ 1788 w 2094"/>
                <a:gd name="T39" fmla="*/ 1342 h 1406"/>
                <a:gd name="T40" fmla="*/ 1686 w 2094"/>
                <a:gd name="T41" fmla="*/ 1255 h 1406"/>
                <a:gd name="T42" fmla="*/ 1649 w 2094"/>
                <a:gd name="T43" fmla="*/ 1200 h 1406"/>
                <a:gd name="T44" fmla="*/ 1554 w 2094"/>
                <a:gd name="T45" fmla="*/ 1080 h 1406"/>
                <a:gd name="T46" fmla="*/ 1508 w 2094"/>
                <a:gd name="T47" fmla="*/ 1089 h 1406"/>
                <a:gd name="T48" fmla="*/ 1334 w 2094"/>
                <a:gd name="T49" fmla="*/ 1032 h 1406"/>
                <a:gd name="T50" fmla="*/ 1169 w 2094"/>
                <a:gd name="T51" fmla="*/ 924 h 1406"/>
                <a:gd name="T52" fmla="*/ 1063 w 2094"/>
                <a:gd name="T53" fmla="*/ 944 h 1406"/>
                <a:gd name="T54" fmla="*/ 919 w 2094"/>
                <a:gd name="T55" fmla="*/ 887 h 1406"/>
                <a:gd name="T56" fmla="*/ 808 w 2094"/>
                <a:gd name="T57" fmla="*/ 841 h 1406"/>
                <a:gd name="T58" fmla="*/ 728 w 2094"/>
                <a:gd name="T59" fmla="*/ 810 h 1406"/>
                <a:gd name="T60" fmla="*/ 616 w 2094"/>
                <a:gd name="T61" fmla="*/ 715 h 1406"/>
                <a:gd name="T62" fmla="*/ 616 w 2094"/>
                <a:gd name="T63" fmla="*/ 621 h 1406"/>
                <a:gd name="T64" fmla="*/ 425 w 2094"/>
                <a:gd name="T65" fmla="*/ 418 h 1406"/>
                <a:gd name="T66" fmla="*/ 341 w 2094"/>
                <a:gd name="T67" fmla="*/ 284 h 1406"/>
                <a:gd name="T68" fmla="*/ 258 w 2094"/>
                <a:gd name="T69" fmla="*/ 220 h 1406"/>
                <a:gd name="T70" fmla="*/ 204 w 2094"/>
                <a:gd name="T71" fmla="*/ 92 h 1406"/>
                <a:gd name="T72" fmla="*/ 116 w 2094"/>
                <a:gd name="T73" fmla="*/ 79 h 1406"/>
                <a:gd name="T74" fmla="*/ 204 w 2094"/>
                <a:gd name="T75" fmla="*/ 218 h 1406"/>
                <a:gd name="T76" fmla="*/ 305 w 2094"/>
                <a:gd name="T77" fmla="*/ 394 h 1406"/>
                <a:gd name="T78" fmla="*/ 400 w 2094"/>
                <a:gd name="T79" fmla="*/ 539 h 1406"/>
                <a:gd name="T80" fmla="*/ 357 w 2094"/>
                <a:gd name="T81" fmla="*/ 527 h 1406"/>
                <a:gd name="T82" fmla="*/ 268 w 2094"/>
                <a:gd name="T83" fmla="*/ 455 h 1406"/>
                <a:gd name="T84" fmla="*/ 215 w 2094"/>
                <a:gd name="T85" fmla="*/ 349 h 1406"/>
                <a:gd name="T86" fmla="*/ 167 w 2094"/>
                <a:gd name="T87" fmla="*/ 285 h 1406"/>
                <a:gd name="T88" fmla="*/ 46 w 2094"/>
                <a:gd name="T89" fmla="*/ 99 h 1406"/>
                <a:gd name="T90" fmla="*/ 315 w 2094"/>
                <a:gd name="T91" fmla="*/ 65 h 1406"/>
                <a:gd name="T92" fmla="*/ 504 w 2094"/>
                <a:gd name="T93" fmla="*/ 43 h 1406"/>
                <a:gd name="T94" fmla="*/ 715 w 2094"/>
                <a:gd name="T95" fmla="*/ 207 h 1406"/>
                <a:gd name="T96" fmla="*/ 944 w 2094"/>
                <a:gd name="T97" fmla="*/ 349 h 1406"/>
                <a:gd name="T98" fmla="*/ 1032 w 2094"/>
                <a:gd name="T99" fmla="*/ 379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94" h="1406">
                  <a:moveTo>
                    <a:pt x="1032" y="379"/>
                  </a:moveTo>
                  <a:lnTo>
                    <a:pt x="1032" y="379"/>
                  </a:lnTo>
                  <a:cubicBezTo>
                    <a:pt x="1035" y="391"/>
                    <a:pt x="1040" y="398"/>
                    <a:pt x="1040" y="409"/>
                  </a:cubicBezTo>
                  <a:lnTo>
                    <a:pt x="1040" y="409"/>
                  </a:lnTo>
                  <a:cubicBezTo>
                    <a:pt x="1040" y="442"/>
                    <a:pt x="1027" y="455"/>
                    <a:pt x="1021" y="482"/>
                  </a:cubicBezTo>
                  <a:lnTo>
                    <a:pt x="1021" y="585"/>
                  </a:lnTo>
                  <a:lnTo>
                    <a:pt x="1021" y="585"/>
                  </a:lnTo>
                  <a:cubicBezTo>
                    <a:pt x="1017" y="600"/>
                    <a:pt x="1032" y="614"/>
                    <a:pt x="1035" y="621"/>
                  </a:cubicBezTo>
                  <a:lnTo>
                    <a:pt x="1035" y="621"/>
                  </a:lnTo>
                  <a:cubicBezTo>
                    <a:pt x="1043" y="638"/>
                    <a:pt x="1033" y="649"/>
                    <a:pt x="1041" y="665"/>
                  </a:cubicBezTo>
                  <a:lnTo>
                    <a:pt x="1041" y="665"/>
                  </a:lnTo>
                  <a:cubicBezTo>
                    <a:pt x="1048" y="680"/>
                    <a:pt x="1072" y="706"/>
                    <a:pt x="1085" y="719"/>
                  </a:cubicBezTo>
                  <a:lnTo>
                    <a:pt x="1085" y="719"/>
                  </a:lnTo>
                  <a:cubicBezTo>
                    <a:pt x="1118" y="752"/>
                    <a:pt x="1118" y="783"/>
                    <a:pt x="1166" y="797"/>
                  </a:cubicBezTo>
                  <a:lnTo>
                    <a:pt x="1166" y="797"/>
                  </a:lnTo>
                  <a:cubicBezTo>
                    <a:pt x="1182" y="803"/>
                    <a:pt x="1182" y="819"/>
                    <a:pt x="1197" y="819"/>
                  </a:cubicBezTo>
                  <a:lnTo>
                    <a:pt x="1197" y="819"/>
                  </a:lnTo>
                  <a:cubicBezTo>
                    <a:pt x="1232" y="819"/>
                    <a:pt x="1261" y="793"/>
                    <a:pt x="1297" y="793"/>
                  </a:cubicBezTo>
                  <a:lnTo>
                    <a:pt x="1297" y="793"/>
                  </a:lnTo>
                  <a:cubicBezTo>
                    <a:pt x="1318" y="793"/>
                    <a:pt x="1325" y="805"/>
                    <a:pt x="1333" y="805"/>
                  </a:cubicBezTo>
                  <a:lnTo>
                    <a:pt x="1333" y="805"/>
                  </a:lnTo>
                  <a:cubicBezTo>
                    <a:pt x="1347" y="805"/>
                    <a:pt x="1356" y="783"/>
                    <a:pt x="1358" y="775"/>
                  </a:cubicBezTo>
                  <a:lnTo>
                    <a:pt x="1358" y="775"/>
                  </a:lnTo>
                  <a:cubicBezTo>
                    <a:pt x="1365" y="754"/>
                    <a:pt x="1397" y="729"/>
                    <a:pt x="1397" y="702"/>
                  </a:cubicBezTo>
                  <a:lnTo>
                    <a:pt x="1397" y="702"/>
                  </a:lnTo>
                  <a:cubicBezTo>
                    <a:pt x="1397" y="649"/>
                    <a:pt x="1457" y="631"/>
                    <a:pt x="1506" y="631"/>
                  </a:cubicBezTo>
                  <a:lnTo>
                    <a:pt x="1506" y="631"/>
                  </a:lnTo>
                  <a:cubicBezTo>
                    <a:pt x="1523" y="631"/>
                    <a:pt x="1536" y="633"/>
                    <a:pt x="1543" y="636"/>
                  </a:cubicBezTo>
                  <a:lnTo>
                    <a:pt x="1543" y="636"/>
                  </a:lnTo>
                  <a:cubicBezTo>
                    <a:pt x="1550" y="638"/>
                    <a:pt x="1575" y="640"/>
                    <a:pt x="1585" y="640"/>
                  </a:cubicBezTo>
                  <a:lnTo>
                    <a:pt x="1585" y="656"/>
                  </a:lnTo>
                  <a:lnTo>
                    <a:pt x="1585" y="656"/>
                  </a:lnTo>
                  <a:cubicBezTo>
                    <a:pt x="1585" y="682"/>
                    <a:pt x="1554" y="715"/>
                    <a:pt x="1554" y="750"/>
                  </a:cubicBezTo>
                  <a:lnTo>
                    <a:pt x="1554" y="750"/>
                  </a:lnTo>
                  <a:cubicBezTo>
                    <a:pt x="1554" y="779"/>
                    <a:pt x="1543" y="792"/>
                    <a:pt x="1532" y="810"/>
                  </a:cubicBezTo>
                  <a:lnTo>
                    <a:pt x="1532" y="797"/>
                  </a:lnTo>
                  <a:lnTo>
                    <a:pt x="1518" y="797"/>
                  </a:lnTo>
                  <a:lnTo>
                    <a:pt x="1518" y="886"/>
                  </a:lnTo>
                  <a:lnTo>
                    <a:pt x="1518" y="886"/>
                  </a:lnTo>
                  <a:cubicBezTo>
                    <a:pt x="1518" y="904"/>
                    <a:pt x="1495" y="911"/>
                    <a:pt x="1485" y="922"/>
                  </a:cubicBezTo>
                  <a:lnTo>
                    <a:pt x="1485" y="931"/>
                  </a:lnTo>
                  <a:lnTo>
                    <a:pt x="1485" y="931"/>
                  </a:lnTo>
                  <a:cubicBezTo>
                    <a:pt x="1485" y="944"/>
                    <a:pt x="1495" y="951"/>
                    <a:pt x="1506" y="951"/>
                  </a:cubicBezTo>
                  <a:lnTo>
                    <a:pt x="1506" y="951"/>
                  </a:lnTo>
                  <a:cubicBezTo>
                    <a:pt x="1567" y="951"/>
                    <a:pt x="1616" y="940"/>
                    <a:pt x="1680" y="940"/>
                  </a:cubicBezTo>
                  <a:lnTo>
                    <a:pt x="1680" y="940"/>
                  </a:lnTo>
                  <a:cubicBezTo>
                    <a:pt x="1724" y="940"/>
                    <a:pt x="1735" y="971"/>
                    <a:pt x="1768" y="979"/>
                  </a:cubicBezTo>
                  <a:lnTo>
                    <a:pt x="1768" y="1006"/>
                  </a:lnTo>
                  <a:lnTo>
                    <a:pt x="1768" y="1006"/>
                  </a:lnTo>
                  <a:cubicBezTo>
                    <a:pt x="1768" y="1023"/>
                    <a:pt x="1767" y="1068"/>
                    <a:pt x="1755" y="1087"/>
                  </a:cubicBezTo>
                  <a:lnTo>
                    <a:pt x="1755" y="1198"/>
                  </a:lnTo>
                  <a:lnTo>
                    <a:pt x="1755" y="1198"/>
                  </a:lnTo>
                  <a:cubicBezTo>
                    <a:pt x="1755" y="1238"/>
                    <a:pt x="1794" y="1255"/>
                    <a:pt x="1823" y="1269"/>
                  </a:cubicBezTo>
                  <a:lnTo>
                    <a:pt x="1823" y="1269"/>
                  </a:lnTo>
                  <a:cubicBezTo>
                    <a:pt x="1843" y="1278"/>
                    <a:pt x="1843" y="1313"/>
                    <a:pt x="1874" y="1313"/>
                  </a:cubicBezTo>
                  <a:lnTo>
                    <a:pt x="1874" y="1313"/>
                  </a:lnTo>
                  <a:cubicBezTo>
                    <a:pt x="1922" y="1313"/>
                    <a:pt x="1946" y="1276"/>
                    <a:pt x="1990" y="1276"/>
                  </a:cubicBezTo>
                  <a:lnTo>
                    <a:pt x="1990" y="1276"/>
                  </a:lnTo>
                  <a:cubicBezTo>
                    <a:pt x="2042" y="1276"/>
                    <a:pt x="2064" y="1313"/>
                    <a:pt x="2093" y="1335"/>
                  </a:cubicBezTo>
                  <a:lnTo>
                    <a:pt x="2093" y="1335"/>
                  </a:lnTo>
                  <a:cubicBezTo>
                    <a:pt x="2091" y="1340"/>
                    <a:pt x="2052" y="1381"/>
                    <a:pt x="2047" y="1379"/>
                  </a:cubicBezTo>
                  <a:lnTo>
                    <a:pt x="2047" y="1379"/>
                  </a:lnTo>
                  <a:cubicBezTo>
                    <a:pt x="2044" y="1375"/>
                    <a:pt x="2027" y="1370"/>
                    <a:pt x="2027" y="1364"/>
                  </a:cubicBezTo>
                  <a:lnTo>
                    <a:pt x="2027" y="1364"/>
                  </a:lnTo>
                  <a:cubicBezTo>
                    <a:pt x="2027" y="1357"/>
                    <a:pt x="2034" y="1353"/>
                    <a:pt x="2038" y="1346"/>
                  </a:cubicBezTo>
                  <a:lnTo>
                    <a:pt x="2038" y="1346"/>
                  </a:lnTo>
                  <a:cubicBezTo>
                    <a:pt x="2017" y="1337"/>
                    <a:pt x="2012" y="1313"/>
                    <a:pt x="1992" y="1313"/>
                  </a:cubicBezTo>
                  <a:lnTo>
                    <a:pt x="1992" y="1313"/>
                  </a:lnTo>
                  <a:cubicBezTo>
                    <a:pt x="1979" y="1313"/>
                    <a:pt x="1928" y="1350"/>
                    <a:pt x="1928" y="1361"/>
                  </a:cubicBezTo>
                  <a:lnTo>
                    <a:pt x="1928" y="1361"/>
                  </a:lnTo>
                  <a:cubicBezTo>
                    <a:pt x="1928" y="1368"/>
                    <a:pt x="1939" y="1376"/>
                    <a:pt x="1943" y="1377"/>
                  </a:cubicBezTo>
                  <a:lnTo>
                    <a:pt x="1943" y="1377"/>
                  </a:lnTo>
                  <a:cubicBezTo>
                    <a:pt x="1939" y="1396"/>
                    <a:pt x="1930" y="1405"/>
                    <a:pt x="1915" y="1405"/>
                  </a:cubicBezTo>
                  <a:lnTo>
                    <a:pt x="1915" y="1405"/>
                  </a:lnTo>
                  <a:cubicBezTo>
                    <a:pt x="1886" y="1405"/>
                    <a:pt x="1868" y="1370"/>
                    <a:pt x="1853" y="1355"/>
                  </a:cubicBezTo>
                  <a:lnTo>
                    <a:pt x="1853" y="1355"/>
                  </a:lnTo>
                  <a:cubicBezTo>
                    <a:pt x="1840" y="1342"/>
                    <a:pt x="1811" y="1353"/>
                    <a:pt x="1798" y="1353"/>
                  </a:cubicBezTo>
                  <a:lnTo>
                    <a:pt x="1798" y="1353"/>
                  </a:lnTo>
                  <a:cubicBezTo>
                    <a:pt x="1794" y="1353"/>
                    <a:pt x="1788" y="1346"/>
                    <a:pt x="1788" y="1342"/>
                  </a:cubicBezTo>
                  <a:lnTo>
                    <a:pt x="1788" y="1342"/>
                  </a:lnTo>
                  <a:cubicBezTo>
                    <a:pt x="1763" y="1337"/>
                    <a:pt x="1763" y="1319"/>
                    <a:pt x="1755" y="1304"/>
                  </a:cubicBezTo>
                  <a:lnTo>
                    <a:pt x="1755" y="1304"/>
                  </a:lnTo>
                  <a:cubicBezTo>
                    <a:pt x="1750" y="1293"/>
                    <a:pt x="1688" y="1255"/>
                    <a:pt x="1686" y="1255"/>
                  </a:cubicBezTo>
                  <a:lnTo>
                    <a:pt x="1686" y="1255"/>
                  </a:lnTo>
                  <a:cubicBezTo>
                    <a:pt x="1682" y="1260"/>
                    <a:pt x="1682" y="1268"/>
                    <a:pt x="1686" y="1271"/>
                  </a:cubicBezTo>
                  <a:lnTo>
                    <a:pt x="1668" y="1271"/>
                  </a:lnTo>
                  <a:lnTo>
                    <a:pt x="1668" y="1271"/>
                  </a:lnTo>
                  <a:cubicBezTo>
                    <a:pt x="1640" y="1253"/>
                    <a:pt x="1659" y="1227"/>
                    <a:pt x="1649" y="1200"/>
                  </a:cubicBezTo>
                  <a:lnTo>
                    <a:pt x="1649" y="1200"/>
                  </a:lnTo>
                  <a:cubicBezTo>
                    <a:pt x="1644" y="1181"/>
                    <a:pt x="1634" y="1178"/>
                    <a:pt x="1626" y="1168"/>
                  </a:cubicBezTo>
                  <a:lnTo>
                    <a:pt x="1626" y="1168"/>
                  </a:lnTo>
                  <a:cubicBezTo>
                    <a:pt x="1596" y="1140"/>
                    <a:pt x="1565" y="1123"/>
                    <a:pt x="1554" y="1080"/>
                  </a:cubicBezTo>
                  <a:lnTo>
                    <a:pt x="1543" y="1080"/>
                  </a:lnTo>
                  <a:lnTo>
                    <a:pt x="1543" y="1080"/>
                  </a:lnTo>
                  <a:cubicBezTo>
                    <a:pt x="1530" y="1080"/>
                    <a:pt x="1521" y="1089"/>
                    <a:pt x="1508" y="1089"/>
                  </a:cubicBezTo>
                  <a:lnTo>
                    <a:pt x="1508" y="1089"/>
                  </a:lnTo>
                  <a:cubicBezTo>
                    <a:pt x="1474" y="1089"/>
                    <a:pt x="1455" y="1068"/>
                    <a:pt x="1431" y="1058"/>
                  </a:cubicBezTo>
                  <a:lnTo>
                    <a:pt x="1431" y="1058"/>
                  </a:lnTo>
                  <a:cubicBezTo>
                    <a:pt x="1397" y="1041"/>
                    <a:pt x="1371" y="1050"/>
                    <a:pt x="1334" y="1032"/>
                  </a:cubicBezTo>
                  <a:lnTo>
                    <a:pt x="1334" y="1032"/>
                  </a:lnTo>
                  <a:cubicBezTo>
                    <a:pt x="1277" y="1004"/>
                    <a:pt x="1270" y="962"/>
                    <a:pt x="1220" y="939"/>
                  </a:cubicBezTo>
                  <a:lnTo>
                    <a:pt x="1210" y="939"/>
                  </a:lnTo>
                  <a:lnTo>
                    <a:pt x="1210" y="939"/>
                  </a:lnTo>
                  <a:cubicBezTo>
                    <a:pt x="1195" y="930"/>
                    <a:pt x="1184" y="924"/>
                    <a:pt x="1169" y="924"/>
                  </a:cubicBezTo>
                  <a:lnTo>
                    <a:pt x="1169" y="924"/>
                  </a:lnTo>
                  <a:cubicBezTo>
                    <a:pt x="1136" y="924"/>
                    <a:pt x="1131" y="960"/>
                    <a:pt x="1099" y="960"/>
                  </a:cubicBezTo>
                  <a:lnTo>
                    <a:pt x="1099" y="960"/>
                  </a:lnTo>
                  <a:cubicBezTo>
                    <a:pt x="1085" y="960"/>
                    <a:pt x="1071" y="948"/>
                    <a:pt x="1063" y="944"/>
                  </a:cubicBezTo>
                  <a:lnTo>
                    <a:pt x="1063" y="944"/>
                  </a:lnTo>
                  <a:cubicBezTo>
                    <a:pt x="1048" y="937"/>
                    <a:pt x="1035" y="940"/>
                    <a:pt x="1021" y="940"/>
                  </a:cubicBezTo>
                  <a:lnTo>
                    <a:pt x="1021" y="940"/>
                  </a:lnTo>
                  <a:cubicBezTo>
                    <a:pt x="999" y="940"/>
                    <a:pt x="937" y="896"/>
                    <a:pt x="919" y="887"/>
                  </a:cubicBezTo>
                  <a:lnTo>
                    <a:pt x="919" y="887"/>
                  </a:lnTo>
                  <a:cubicBezTo>
                    <a:pt x="898" y="878"/>
                    <a:pt x="885" y="889"/>
                    <a:pt x="865" y="883"/>
                  </a:cubicBezTo>
                  <a:lnTo>
                    <a:pt x="865" y="883"/>
                  </a:lnTo>
                  <a:cubicBezTo>
                    <a:pt x="839" y="876"/>
                    <a:pt x="834" y="855"/>
                    <a:pt x="808" y="841"/>
                  </a:cubicBezTo>
                  <a:lnTo>
                    <a:pt x="808" y="841"/>
                  </a:lnTo>
                  <a:cubicBezTo>
                    <a:pt x="785" y="830"/>
                    <a:pt x="772" y="834"/>
                    <a:pt x="748" y="823"/>
                  </a:cubicBezTo>
                  <a:lnTo>
                    <a:pt x="748" y="823"/>
                  </a:lnTo>
                  <a:cubicBezTo>
                    <a:pt x="737" y="817"/>
                    <a:pt x="733" y="816"/>
                    <a:pt x="728" y="810"/>
                  </a:cubicBezTo>
                  <a:lnTo>
                    <a:pt x="728" y="810"/>
                  </a:lnTo>
                  <a:cubicBezTo>
                    <a:pt x="706" y="788"/>
                    <a:pt x="649" y="775"/>
                    <a:pt x="644" y="752"/>
                  </a:cubicBezTo>
                  <a:lnTo>
                    <a:pt x="644" y="752"/>
                  </a:lnTo>
                  <a:cubicBezTo>
                    <a:pt x="627" y="752"/>
                    <a:pt x="616" y="731"/>
                    <a:pt x="616" y="715"/>
                  </a:cubicBezTo>
                  <a:lnTo>
                    <a:pt x="616" y="715"/>
                  </a:lnTo>
                  <a:cubicBezTo>
                    <a:pt x="616" y="695"/>
                    <a:pt x="634" y="684"/>
                    <a:pt x="634" y="664"/>
                  </a:cubicBezTo>
                  <a:lnTo>
                    <a:pt x="634" y="664"/>
                  </a:lnTo>
                  <a:cubicBezTo>
                    <a:pt x="634" y="640"/>
                    <a:pt x="619" y="634"/>
                    <a:pt x="616" y="621"/>
                  </a:cubicBezTo>
                  <a:lnTo>
                    <a:pt x="616" y="621"/>
                  </a:lnTo>
                  <a:cubicBezTo>
                    <a:pt x="594" y="555"/>
                    <a:pt x="531" y="502"/>
                    <a:pt x="492" y="462"/>
                  </a:cubicBezTo>
                  <a:lnTo>
                    <a:pt x="492" y="462"/>
                  </a:lnTo>
                  <a:cubicBezTo>
                    <a:pt x="473" y="444"/>
                    <a:pt x="444" y="436"/>
                    <a:pt x="425" y="418"/>
                  </a:cubicBezTo>
                  <a:lnTo>
                    <a:pt x="425" y="418"/>
                  </a:lnTo>
                  <a:cubicBezTo>
                    <a:pt x="411" y="403"/>
                    <a:pt x="423" y="385"/>
                    <a:pt x="415" y="365"/>
                  </a:cubicBezTo>
                  <a:lnTo>
                    <a:pt x="415" y="365"/>
                  </a:lnTo>
                  <a:cubicBezTo>
                    <a:pt x="398" y="332"/>
                    <a:pt x="341" y="328"/>
                    <a:pt x="341" y="284"/>
                  </a:cubicBezTo>
                  <a:lnTo>
                    <a:pt x="341" y="284"/>
                  </a:lnTo>
                  <a:cubicBezTo>
                    <a:pt x="325" y="281"/>
                    <a:pt x="326" y="279"/>
                    <a:pt x="321" y="284"/>
                  </a:cubicBezTo>
                  <a:lnTo>
                    <a:pt x="321" y="284"/>
                  </a:lnTo>
                  <a:cubicBezTo>
                    <a:pt x="297" y="261"/>
                    <a:pt x="279" y="240"/>
                    <a:pt x="258" y="220"/>
                  </a:cubicBezTo>
                  <a:lnTo>
                    <a:pt x="258" y="220"/>
                  </a:lnTo>
                  <a:cubicBezTo>
                    <a:pt x="242" y="204"/>
                    <a:pt x="248" y="172"/>
                    <a:pt x="231" y="156"/>
                  </a:cubicBezTo>
                  <a:lnTo>
                    <a:pt x="231" y="156"/>
                  </a:lnTo>
                  <a:cubicBezTo>
                    <a:pt x="215" y="140"/>
                    <a:pt x="218" y="99"/>
                    <a:pt x="204" y="92"/>
                  </a:cubicBezTo>
                  <a:lnTo>
                    <a:pt x="204" y="92"/>
                  </a:lnTo>
                  <a:cubicBezTo>
                    <a:pt x="173" y="77"/>
                    <a:pt x="143" y="79"/>
                    <a:pt x="119" y="55"/>
                  </a:cubicBezTo>
                  <a:lnTo>
                    <a:pt x="119" y="55"/>
                  </a:lnTo>
                  <a:cubicBezTo>
                    <a:pt x="114" y="63"/>
                    <a:pt x="116" y="73"/>
                    <a:pt x="116" y="79"/>
                  </a:cubicBezTo>
                  <a:lnTo>
                    <a:pt x="116" y="79"/>
                  </a:lnTo>
                  <a:cubicBezTo>
                    <a:pt x="116" y="117"/>
                    <a:pt x="134" y="141"/>
                    <a:pt x="149" y="172"/>
                  </a:cubicBezTo>
                  <a:lnTo>
                    <a:pt x="149" y="172"/>
                  </a:lnTo>
                  <a:cubicBezTo>
                    <a:pt x="161" y="200"/>
                    <a:pt x="185" y="200"/>
                    <a:pt x="204" y="218"/>
                  </a:cubicBezTo>
                  <a:lnTo>
                    <a:pt x="204" y="218"/>
                  </a:lnTo>
                  <a:cubicBezTo>
                    <a:pt x="230" y="244"/>
                    <a:pt x="233" y="262"/>
                    <a:pt x="242" y="293"/>
                  </a:cubicBezTo>
                  <a:lnTo>
                    <a:pt x="242" y="293"/>
                  </a:lnTo>
                  <a:cubicBezTo>
                    <a:pt x="255" y="336"/>
                    <a:pt x="292" y="356"/>
                    <a:pt x="305" y="394"/>
                  </a:cubicBezTo>
                  <a:lnTo>
                    <a:pt x="305" y="394"/>
                  </a:lnTo>
                  <a:cubicBezTo>
                    <a:pt x="319" y="438"/>
                    <a:pt x="330" y="486"/>
                    <a:pt x="363" y="508"/>
                  </a:cubicBezTo>
                  <a:lnTo>
                    <a:pt x="363" y="508"/>
                  </a:lnTo>
                  <a:cubicBezTo>
                    <a:pt x="377" y="493"/>
                    <a:pt x="400" y="524"/>
                    <a:pt x="400" y="539"/>
                  </a:cubicBezTo>
                  <a:lnTo>
                    <a:pt x="400" y="539"/>
                  </a:lnTo>
                  <a:cubicBezTo>
                    <a:pt x="400" y="548"/>
                    <a:pt x="392" y="567"/>
                    <a:pt x="387" y="567"/>
                  </a:cubicBezTo>
                  <a:lnTo>
                    <a:pt x="387" y="567"/>
                  </a:lnTo>
                  <a:cubicBezTo>
                    <a:pt x="383" y="567"/>
                    <a:pt x="359" y="535"/>
                    <a:pt x="357" y="527"/>
                  </a:cubicBezTo>
                  <a:lnTo>
                    <a:pt x="357" y="527"/>
                  </a:lnTo>
                  <a:cubicBezTo>
                    <a:pt x="324" y="527"/>
                    <a:pt x="306" y="484"/>
                    <a:pt x="286" y="471"/>
                  </a:cubicBezTo>
                  <a:lnTo>
                    <a:pt x="286" y="471"/>
                  </a:lnTo>
                  <a:cubicBezTo>
                    <a:pt x="275" y="464"/>
                    <a:pt x="273" y="464"/>
                    <a:pt x="268" y="455"/>
                  </a:cubicBezTo>
                  <a:lnTo>
                    <a:pt x="268" y="407"/>
                  </a:lnTo>
                  <a:lnTo>
                    <a:pt x="268" y="407"/>
                  </a:lnTo>
                  <a:cubicBezTo>
                    <a:pt x="248" y="387"/>
                    <a:pt x="233" y="367"/>
                    <a:pt x="215" y="349"/>
                  </a:cubicBezTo>
                  <a:lnTo>
                    <a:pt x="215" y="349"/>
                  </a:lnTo>
                  <a:cubicBezTo>
                    <a:pt x="189" y="323"/>
                    <a:pt x="149" y="328"/>
                    <a:pt x="130" y="301"/>
                  </a:cubicBezTo>
                  <a:lnTo>
                    <a:pt x="130" y="301"/>
                  </a:lnTo>
                  <a:cubicBezTo>
                    <a:pt x="140" y="301"/>
                    <a:pt x="182" y="308"/>
                    <a:pt x="167" y="285"/>
                  </a:cubicBezTo>
                  <a:lnTo>
                    <a:pt x="167" y="285"/>
                  </a:lnTo>
                  <a:cubicBezTo>
                    <a:pt x="140" y="246"/>
                    <a:pt x="110" y="207"/>
                    <a:pt x="78" y="186"/>
                  </a:cubicBezTo>
                  <a:lnTo>
                    <a:pt x="78" y="186"/>
                  </a:lnTo>
                  <a:cubicBezTo>
                    <a:pt x="56" y="172"/>
                    <a:pt x="57" y="121"/>
                    <a:pt x="46" y="99"/>
                  </a:cubicBezTo>
                  <a:lnTo>
                    <a:pt x="46" y="99"/>
                  </a:lnTo>
                  <a:cubicBezTo>
                    <a:pt x="29" y="66"/>
                    <a:pt x="13" y="55"/>
                    <a:pt x="0" y="13"/>
                  </a:cubicBezTo>
                  <a:lnTo>
                    <a:pt x="0" y="0"/>
                  </a:lnTo>
                  <a:lnTo>
                    <a:pt x="119" y="0"/>
                  </a:lnTo>
                  <a:lnTo>
                    <a:pt x="315" y="65"/>
                  </a:lnTo>
                  <a:lnTo>
                    <a:pt x="467" y="65"/>
                  </a:lnTo>
                  <a:lnTo>
                    <a:pt x="467" y="43"/>
                  </a:lnTo>
                  <a:lnTo>
                    <a:pt x="504" y="43"/>
                  </a:lnTo>
                  <a:lnTo>
                    <a:pt x="504" y="43"/>
                  </a:lnTo>
                  <a:cubicBezTo>
                    <a:pt x="567" y="59"/>
                    <a:pt x="601" y="66"/>
                    <a:pt x="632" y="119"/>
                  </a:cubicBezTo>
                  <a:lnTo>
                    <a:pt x="632" y="119"/>
                  </a:lnTo>
                  <a:cubicBezTo>
                    <a:pt x="647" y="145"/>
                    <a:pt x="677" y="207"/>
                    <a:pt x="715" y="207"/>
                  </a:cubicBezTo>
                  <a:lnTo>
                    <a:pt x="715" y="207"/>
                  </a:lnTo>
                  <a:cubicBezTo>
                    <a:pt x="750" y="207"/>
                    <a:pt x="739" y="156"/>
                    <a:pt x="779" y="156"/>
                  </a:cubicBezTo>
                  <a:lnTo>
                    <a:pt x="779" y="156"/>
                  </a:lnTo>
                  <a:cubicBezTo>
                    <a:pt x="887" y="156"/>
                    <a:pt x="885" y="290"/>
                    <a:pt x="944" y="349"/>
                  </a:cubicBezTo>
                  <a:lnTo>
                    <a:pt x="944" y="349"/>
                  </a:lnTo>
                  <a:cubicBezTo>
                    <a:pt x="959" y="363"/>
                    <a:pt x="1004" y="372"/>
                    <a:pt x="1035" y="376"/>
                  </a:cubicBezTo>
                  <a:lnTo>
                    <a:pt x="1035" y="376"/>
                  </a:lnTo>
                  <a:cubicBezTo>
                    <a:pt x="1035" y="371"/>
                    <a:pt x="1027" y="363"/>
                    <a:pt x="1027" y="358"/>
                  </a:cubicBezTo>
                  <a:lnTo>
                    <a:pt x="1032" y="379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1" name="Freeform 149">
              <a:extLst>
                <a:ext uri="{FF2B5EF4-FFF2-40B4-BE49-F238E27FC236}">
                  <a16:creationId xmlns:a16="http://schemas.microsoft.com/office/drawing/2014/main" id="{3CAE718F-44F1-3642-A1AA-1748ECD7B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7352" y="4899396"/>
              <a:ext cx="43204" cy="23042"/>
            </a:xfrm>
            <a:custGeom>
              <a:avLst/>
              <a:gdLst>
                <a:gd name="T0" fmla="*/ 0 w 64"/>
                <a:gd name="T1" fmla="*/ 0 h 34"/>
                <a:gd name="T2" fmla="*/ 0 w 64"/>
                <a:gd name="T3" fmla="*/ 0 h 34"/>
                <a:gd name="T4" fmla="*/ 63 w 64"/>
                <a:gd name="T5" fmla="*/ 31 h 34"/>
                <a:gd name="T6" fmla="*/ 63 w 64"/>
                <a:gd name="T7" fmla="*/ 31 h 34"/>
                <a:gd name="T8" fmla="*/ 53 w 64"/>
                <a:gd name="T9" fmla="*/ 31 h 34"/>
                <a:gd name="T10" fmla="*/ 53 w 64"/>
                <a:gd name="T11" fmla="*/ 31 h 34"/>
                <a:gd name="T12" fmla="*/ 0 w 64"/>
                <a:gd name="T13" fmla="*/ 13 h 34"/>
                <a:gd name="T14" fmla="*/ 0 w 64"/>
                <a:gd name="T15" fmla="*/ 13 h 34"/>
                <a:gd name="T16" fmla="*/ 0 w 64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4">
                  <a:moveTo>
                    <a:pt x="0" y="0"/>
                  </a:moveTo>
                  <a:lnTo>
                    <a:pt x="0" y="0"/>
                  </a:lnTo>
                  <a:cubicBezTo>
                    <a:pt x="31" y="0"/>
                    <a:pt x="63" y="5"/>
                    <a:pt x="63" y="31"/>
                  </a:cubicBezTo>
                  <a:lnTo>
                    <a:pt x="63" y="31"/>
                  </a:lnTo>
                  <a:cubicBezTo>
                    <a:pt x="63" y="33"/>
                    <a:pt x="55" y="31"/>
                    <a:pt x="53" y="31"/>
                  </a:cubicBezTo>
                  <a:lnTo>
                    <a:pt x="53" y="31"/>
                  </a:lnTo>
                  <a:cubicBezTo>
                    <a:pt x="36" y="31"/>
                    <a:pt x="11" y="24"/>
                    <a:pt x="0" y="13"/>
                  </a:cubicBezTo>
                  <a:lnTo>
                    <a:pt x="0" y="13"/>
                  </a:lnTo>
                  <a:cubicBezTo>
                    <a:pt x="2" y="10"/>
                    <a:pt x="2" y="4"/>
                    <a:pt x="0" y="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2" name="Freeform 150">
              <a:extLst>
                <a:ext uri="{FF2B5EF4-FFF2-40B4-BE49-F238E27FC236}">
                  <a16:creationId xmlns:a16="http://schemas.microsoft.com/office/drawing/2014/main" id="{98820D1A-0236-C446-AEA7-B7F82DA2A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6065" y="5011727"/>
              <a:ext cx="161297" cy="106572"/>
            </a:xfrm>
            <a:custGeom>
              <a:avLst/>
              <a:gdLst>
                <a:gd name="T0" fmla="*/ 0 w 246"/>
                <a:gd name="T1" fmla="*/ 9 h 161"/>
                <a:gd name="T2" fmla="*/ 0 w 246"/>
                <a:gd name="T3" fmla="*/ 9 h 161"/>
                <a:gd name="T4" fmla="*/ 25 w 246"/>
                <a:gd name="T5" fmla="*/ 0 h 161"/>
                <a:gd name="T6" fmla="*/ 25 w 246"/>
                <a:gd name="T7" fmla="*/ 0 h 161"/>
                <a:gd name="T8" fmla="*/ 74 w 246"/>
                <a:gd name="T9" fmla="*/ 26 h 161"/>
                <a:gd name="T10" fmla="*/ 74 w 246"/>
                <a:gd name="T11" fmla="*/ 26 h 161"/>
                <a:gd name="T12" fmla="*/ 245 w 246"/>
                <a:gd name="T13" fmla="*/ 143 h 161"/>
                <a:gd name="T14" fmla="*/ 245 w 246"/>
                <a:gd name="T15" fmla="*/ 160 h 161"/>
                <a:gd name="T16" fmla="*/ 229 w 246"/>
                <a:gd name="T17" fmla="*/ 160 h 161"/>
                <a:gd name="T18" fmla="*/ 229 w 246"/>
                <a:gd name="T19" fmla="*/ 160 h 161"/>
                <a:gd name="T20" fmla="*/ 93 w 246"/>
                <a:gd name="T21" fmla="*/ 92 h 161"/>
                <a:gd name="T22" fmla="*/ 93 w 246"/>
                <a:gd name="T23" fmla="*/ 92 h 161"/>
                <a:gd name="T24" fmla="*/ 112 w 246"/>
                <a:gd name="T25" fmla="*/ 73 h 161"/>
                <a:gd name="T26" fmla="*/ 112 w 246"/>
                <a:gd name="T27" fmla="*/ 73 h 161"/>
                <a:gd name="T28" fmla="*/ 16 w 246"/>
                <a:gd name="T29" fmla="*/ 33 h 161"/>
                <a:gd name="T30" fmla="*/ 16 w 246"/>
                <a:gd name="T31" fmla="*/ 33 h 161"/>
                <a:gd name="T32" fmla="*/ 35 w 246"/>
                <a:gd name="T33" fmla="*/ 17 h 161"/>
                <a:gd name="T34" fmla="*/ 35 w 246"/>
                <a:gd name="T35" fmla="*/ 17 h 161"/>
                <a:gd name="T36" fmla="*/ 7 w 246"/>
                <a:gd name="T37" fmla="*/ 9 h 161"/>
                <a:gd name="T38" fmla="*/ 0 w 246"/>
                <a:gd name="T39" fmla="*/ 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6" h="161">
                  <a:moveTo>
                    <a:pt x="0" y="9"/>
                  </a:moveTo>
                  <a:lnTo>
                    <a:pt x="0" y="9"/>
                  </a:lnTo>
                  <a:cubicBezTo>
                    <a:pt x="7" y="6"/>
                    <a:pt x="16" y="0"/>
                    <a:pt x="25" y="0"/>
                  </a:cubicBezTo>
                  <a:lnTo>
                    <a:pt x="25" y="0"/>
                  </a:lnTo>
                  <a:cubicBezTo>
                    <a:pt x="46" y="0"/>
                    <a:pt x="62" y="22"/>
                    <a:pt x="74" y="26"/>
                  </a:cubicBezTo>
                  <a:lnTo>
                    <a:pt x="74" y="26"/>
                  </a:lnTo>
                  <a:cubicBezTo>
                    <a:pt x="154" y="52"/>
                    <a:pt x="198" y="96"/>
                    <a:pt x="245" y="143"/>
                  </a:cubicBezTo>
                  <a:lnTo>
                    <a:pt x="245" y="160"/>
                  </a:lnTo>
                  <a:lnTo>
                    <a:pt x="229" y="160"/>
                  </a:lnTo>
                  <a:lnTo>
                    <a:pt x="229" y="160"/>
                  </a:lnTo>
                  <a:cubicBezTo>
                    <a:pt x="187" y="160"/>
                    <a:pt x="123" y="110"/>
                    <a:pt x="93" y="92"/>
                  </a:cubicBezTo>
                  <a:lnTo>
                    <a:pt x="93" y="92"/>
                  </a:lnTo>
                  <a:cubicBezTo>
                    <a:pt x="97" y="79"/>
                    <a:pt x="106" y="79"/>
                    <a:pt x="112" y="73"/>
                  </a:cubicBezTo>
                  <a:lnTo>
                    <a:pt x="112" y="73"/>
                  </a:lnTo>
                  <a:cubicBezTo>
                    <a:pt x="74" y="73"/>
                    <a:pt x="23" y="55"/>
                    <a:pt x="16" y="33"/>
                  </a:cubicBezTo>
                  <a:lnTo>
                    <a:pt x="16" y="33"/>
                  </a:lnTo>
                  <a:cubicBezTo>
                    <a:pt x="25" y="29"/>
                    <a:pt x="33" y="22"/>
                    <a:pt x="35" y="17"/>
                  </a:cubicBezTo>
                  <a:lnTo>
                    <a:pt x="35" y="17"/>
                  </a:lnTo>
                  <a:cubicBezTo>
                    <a:pt x="25" y="15"/>
                    <a:pt x="7" y="9"/>
                    <a:pt x="7" y="9"/>
                  </a:cubicBezTo>
                  <a:lnTo>
                    <a:pt x="0" y="9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3" name="Freeform 151">
              <a:extLst>
                <a:ext uri="{FF2B5EF4-FFF2-40B4-BE49-F238E27FC236}">
                  <a16:creationId xmlns:a16="http://schemas.microsoft.com/office/drawing/2014/main" id="{E2A4E5AE-D8EB-274D-BD47-A723A13E6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768" y="4861951"/>
              <a:ext cx="57606" cy="83530"/>
            </a:xfrm>
            <a:custGeom>
              <a:avLst/>
              <a:gdLst>
                <a:gd name="T0" fmla="*/ 22 w 89"/>
                <a:gd name="T1" fmla="*/ 48 h 128"/>
                <a:gd name="T2" fmla="*/ 22 w 89"/>
                <a:gd name="T3" fmla="*/ 48 h 128"/>
                <a:gd name="T4" fmla="*/ 0 w 89"/>
                <a:gd name="T5" fmla="*/ 16 h 128"/>
                <a:gd name="T6" fmla="*/ 0 w 89"/>
                <a:gd name="T7" fmla="*/ 0 h 128"/>
                <a:gd name="T8" fmla="*/ 0 w 89"/>
                <a:gd name="T9" fmla="*/ 0 h 128"/>
                <a:gd name="T10" fmla="*/ 42 w 89"/>
                <a:gd name="T11" fmla="*/ 13 h 128"/>
                <a:gd name="T12" fmla="*/ 42 w 89"/>
                <a:gd name="T13" fmla="*/ 13 h 128"/>
                <a:gd name="T14" fmla="*/ 31 w 89"/>
                <a:gd name="T15" fmla="*/ 36 h 128"/>
                <a:gd name="T16" fmla="*/ 31 w 89"/>
                <a:gd name="T17" fmla="*/ 36 h 128"/>
                <a:gd name="T18" fmla="*/ 55 w 89"/>
                <a:gd name="T19" fmla="*/ 11 h 128"/>
                <a:gd name="T20" fmla="*/ 55 w 89"/>
                <a:gd name="T21" fmla="*/ 11 h 128"/>
                <a:gd name="T22" fmla="*/ 55 w 89"/>
                <a:gd name="T23" fmla="*/ 52 h 128"/>
                <a:gd name="T24" fmla="*/ 55 w 89"/>
                <a:gd name="T25" fmla="*/ 52 h 128"/>
                <a:gd name="T26" fmla="*/ 65 w 89"/>
                <a:gd name="T27" fmla="*/ 74 h 128"/>
                <a:gd name="T28" fmla="*/ 65 w 89"/>
                <a:gd name="T29" fmla="*/ 74 h 128"/>
                <a:gd name="T30" fmla="*/ 55 w 89"/>
                <a:gd name="T31" fmla="*/ 92 h 128"/>
                <a:gd name="T32" fmla="*/ 55 w 89"/>
                <a:gd name="T33" fmla="*/ 92 h 128"/>
                <a:gd name="T34" fmla="*/ 70 w 89"/>
                <a:gd name="T35" fmla="*/ 127 h 128"/>
                <a:gd name="T36" fmla="*/ 70 w 89"/>
                <a:gd name="T37" fmla="*/ 127 h 128"/>
                <a:gd name="T38" fmla="*/ 44 w 89"/>
                <a:gd name="T39" fmla="*/ 92 h 128"/>
                <a:gd name="T40" fmla="*/ 44 w 89"/>
                <a:gd name="T41" fmla="*/ 92 h 128"/>
                <a:gd name="T42" fmla="*/ 51 w 89"/>
                <a:gd name="T43" fmla="*/ 72 h 128"/>
                <a:gd name="T44" fmla="*/ 51 w 89"/>
                <a:gd name="T45" fmla="*/ 72 h 128"/>
                <a:gd name="T46" fmla="*/ 22 w 89"/>
                <a:gd name="T47" fmla="*/ 4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9" h="128">
                  <a:moveTo>
                    <a:pt x="22" y="48"/>
                  </a:moveTo>
                  <a:lnTo>
                    <a:pt x="22" y="48"/>
                  </a:lnTo>
                  <a:cubicBezTo>
                    <a:pt x="15" y="48"/>
                    <a:pt x="7" y="26"/>
                    <a:pt x="0" y="16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17" y="0"/>
                    <a:pt x="26" y="11"/>
                    <a:pt x="42" y="13"/>
                  </a:cubicBezTo>
                  <a:lnTo>
                    <a:pt x="42" y="13"/>
                  </a:lnTo>
                  <a:cubicBezTo>
                    <a:pt x="42" y="16"/>
                    <a:pt x="20" y="36"/>
                    <a:pt x="31" y="36"/>
                  </a:cubicBezTo>
                  <a:lnTo>
                    <a:pt x="31" y="36"/>
                  </a:lnTo>
                  <a:cubicBezTo>
                    <a:pt x="44" y="36"/>
                    <a:pt x="51" y="21"/>
                    <a:pt x="55" y="11"/>
                  </a:cubicBezTo>
                  <a:lnTo>
                    <a:pt x="55" y="11"/>
                  </a:lnTo>
                  <a:cubicBezTo>
                    <a:pt x="58" y="23"/>
                    <a:pt x="55" y="34"/>
                    <a:pt x="55" y="52"/>
                  </a:cubicBezTo>
                  <a:lnTo>
                    <a:pt x="55" y="52"/>
                  </a:lnTo>
                  <a:cubicBezTo>
                    <a:pt x="55" y="61"/>
                    <a:pt x="65" y="65"/>
                    <a:pt x="65" y="74"/>
                  </a:cubicBezTo>
                  <a:lnTo>
                    <a:pt x="65" y="74"/>
                  </a:lnTo>
                  <a:cubicBezTo>
                    <a:pt x="65" y="81"/>
                    <a:pt x="55" y="85"/>
                    <a:pt x="55" y="92"/>
                  </a:cubicBezTo>
                  <a:lnTo>
                    <a:pt x="55" y="92"/>
                  </a:lnTo>
                  <a:cubicBezTo>
                    <a:pt x="55" y="99"/>
                    <a:pt x="88" y="127"/>
                    <a:pt x="70" y="127"/>
                  </a:cubicBezTo>
                  <a:lnTo>
                    <a:pt x="70" y="127"/>
                  </a:lnTo>
                  <a:cubicBezTo>
                    <a:pt x="55" y="127"/>
                    <a:pt x="44" y="107"/>
                    <a:pt x="44" y="92"/>
                  </a:cubicBezTo>
                  <a:lnTo>
                    <a:pt x="44" y="92"/>
                  </a:lnTo>
                  <a:cubicBezTo>
                    <a:pt x="44" y="81"/>
                    <a:pt x="51" y="75"/>
                    <a:pt x="51" y="72"/>
                  </a:cubicBezTo>
                  <a:lnTo>
                    <a:pt x="51" y="72"/>
                  </a:lnTo>
                  <a:cubicBezTo>
                    <a:pt x="37" y="68"/>
                    <a:pt x="33" y="48"/>
                    <a:pt x="22" y="48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4" name="Freeform 152">
              <a:extLst>
                <a:ext uri="{FF2B5EF4-FFF2-40B4-BE49-F238E27FC236}">
                  <a16:creationId xmlns:a16="http://schemas.microsoft.com/office/drawing/2014/main" id="{805D52CB-A481-DD46-A084-05DE86D2D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3171" y="4680494"/>
              <a:ext cx="72008" cy="48964"/>
            </a:xfrm>
            <a:custGeom>
              <a:avLst/>
              <a:gdLst>
                <a:gd name="T0" fmla="*/ 88 w 112"/>
                <a:gd name="T1" fmla="*/ 0 h 74"/>
                <a:gd name="T2" fmla="*/ 111 w 112"/>
                <a:gd name="T3" fmla="*/ 0 h 74"/>
                <a:gd name="T4" fmla="*/ 111 w 112"/>
                <a:gd name="T5" fmla="*/ 22 h 74"/>
                <a:gd name="T6" fmla="*/ 111 w 112"/>
                <a:gd name="T7" fmla="*/ 22 h 74"/>
                <a:gd name="T8" fmla="*/ 39 w 112"/>
                <a:gd name="T9" fmla="*/ 73 h 74"/>
                <a:gd name="T10" fmla="*/ 39 w 112"/>
                <a:gd name="T11" fmla="*/ 73 h 74"/>
                <a:gd name="T12" fmla="*/ 0 w 112"/>
                <a:gd name="T13" fmla="*/ 49 h 74"/>
                <a:gd name="T14" fmla="*/ 0 w 112"/>
                <a:gd name="T15" fmla="*/ 27 h 74"/>
                <a:gd name="T16" fmla="*/ 0 w 112"/>
                <a:gd name="T17" fmla="*/ 27 h 74"/>
                <a:gd name="T18" fmla="*/ 88 w 112"/>
                <a:gd name="T1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74">
                  <a:moveTo>
                    <a:pt x="88" y="0"/>
                  </a:moveTo>
                  <a:lnTo>
                    <a:pt x="111" y="0"/>
                  </a:lnTo>
                  <a:lnTo>
                    <a:pt x="111" y="22"/>
                  </a:lnTo>
                  <a:lnTo>
                    <a:pt x="111" y="22"/>
                  </a:lnTo>
                  <a:cubicBezTo>
                    <a:pt x="77" y="38"/>
                    <a:pt x="67" y="51"/>
                    <a:pt x="39" y="73"/>
                  </a:cubicBezTo>
                  <a:lnTo>
                    <a:pt x="39" y="73"/>
                  </a:lnTo>
                  <a:cubicBezTo>
                    <a:pt x="23" y="60"/>
                    <a:pt x="13" y="58"/>
                    <a:pt x="0" y="49"/>
                  </a:cubicBezTo>
                  <a:lnTo>
                    <a:pt x="0" y="27"/>
                  </a:lnTo>
                  <a:lnTo>
                    <a:pt x="0" y="27"/>
                  </a:lnTo>
                  <a:cubicBezTo>
                    <a:pt x="32" y="18"/>
                    <a:pt x="56" y="0"/>
                    <a:pt x="88" y="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5" name="Freeform 153">
              <a:extLst>
                <a:ext uri="{FF2B5EF4-FFF2-40B4-BE49-F238E27FC236}">
                  <a16:creationId xmlns:a16="http://schemas.microsoft.com/office/drawing/2014/main" id="{7872C2A3-C661-0A44-9D5E-CED07DE7B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18888" y="5527303"/>
              <a:ext cx="95051" cy="63367"/>
            </a:xfrm>
            <a:custGeom>
              <a:avLst/>
              <a:gdLst>
                <a:gd name="T0" fmla="*/ 0 w 144"/>
                <a:gd name="T1" fmla="*/ 19 h 96"/>
                <a:gd name="T2" fmla="*/ 0 w 144"/>
                <a:gd name="T3" fmla="*/ 31 h 96"/>
                <a:gd name="T4" fmla="*/ 0 w 144"/>
                <a:gd name="T5" fmla="*/ 31 h 96"/>
                <a:gd name="T6" fmla="*/ 26 w 144"/>
                <a:gd name="T7" fmla="*/ 41 h 96"/>
                <a:gd name="T8" fmla="*/ 26 w 144"/>
                <a:gd name="T9" fmla="*/ 41 h 96"/>
                <a:gd name="T10" fmla="*/ 110 w 144"/>
                <a:gd name="T11" fmla="*/ 88 h 96"/>
                <a:gd name="T12" fmla="*/ 110 w 144"/>
                <a:gd name="T13" fmla="*/ 88 h 96"/>
                <a:gd name="T14" fmla="*/ 124 w 144"/>
                <a:gd name="T15" fmla="*/ 95 h 96"/>
                <a:gd name="T16" fmla="*/ 124 w 144"/>
                <a:gd name="T17" fmla="*/ 95 h 96"/>
                <a:gd name="T18" fmla="*/ 136 w 144"/>
                <a:gd name="T19" fmla="*/ 83 h 96"/>
                <a:gd name="T20" fmla="*/ 136 w 144"/>
                <a:gd name="T21" fmla="*/ 83 h 96"/>
                <a:gd name="T22" fmla="*/ 126 w 144"/>
                <a:gd name="T23" fmla="*/ 54 h 96"/>
                <a:gd name="T24" fmla="*/ 126 w 144"/>
                <a:gd name="T25" fmla="*/ 54 h 96"/>
                <a:gd name="T26" fmla="*/ 136 w 144"/>
                <a:gd name="T27" fmla="*/ 33 h 96"/>
                <a:gd name="T28" fmla="*/ 143 w 144"/>
                <a:gd name="T29" fmla="*/ 12 h 96"/>
                <a:gd name="T30" fmla="*/ 143 w 144"/>
                <a:gd name="T31" fmla="*/ 12 h 96"/>
                <a:gd name="T32" fmla="*/ 80 w 144"/>
                <a:gd name="T33" fmla="*/ 24 h 96"/>
                <a:gd name="T34" fmla="*/ 80 w 144"/>
                <a:gd name="T35" fmla="*/ 24 h 96"/>
                <a:gd name="T36" fmla="*/ 0 w 144"/>
                <a:gd name="T37" fmla="*/ 1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4" h="96">
                  <a:moveTo>
                    <a:pt x="0" y="19"/>
                  </a:moveTo>
                  <a:lnTo>
                    <a:pt x="0" y="31"/>
                  </a:lnTo>
                  <a:lnTo>
                    <a:pt x="0" y="31"/>
                  </a:lnTo>
                  <a:cubicBezTo>
                    <a:pt x="5" y="41"/>
                    <a:pt x="20" y="39"/>
                    <a:pt x="26" y="41"/>
                  </a:cubicBezTo>
                  <a:lnTo>
                    <a:pt x="26" y="41"/>
                  </a:lnTo>
                  <a:cubicBezTo>
                    <a:pt x="54" y="50"/>
                    <a:pt x="78" y="81"/>
                    <a:pt x="110" y="88"/>
                  </a:cubicBezTo>
                  <a:lnTo>
                    <a:pt x="110" y="88"/>
                  </a:lnTo>
                  <a:cubicBezTo>
                    <a:pt x="110" y="94"/>
                    <a:pt x="119" y="95"/>
                    <a:pt x="124" y="95"/>
                  </a:cubicBezTo>
                  <a:lnTo>
                    <a:pt x="124" y="95"/>
                  </a:lnTo>
                  <a:cubicBezTo>
                    <a:pt x="129" y="95"/>
                    <a:pt x="136" y="88"/>
                    <a:pt x="136" y="83"/>
                  </a:cubicBezTo>
                  <a:lnTo>
                    <a:pt x="136" y="83"/>
                  </a:lnTo>
                  <a:cubicBezTo>
                    <a:pt x="136" y="68"/>
                    <a:pt x="126" y="66"/>
                    <a:pt x="126" y="54"/>
                  </a:cubicBezTo>
                  <a:lnTo>
                    <a:pt x="126" y="54"/>
                  </a:lnTo>
                  <a:cubicBezTo>
                    <a:pt x="126" y="46"/>
                    <a:pt x="136" y="33"/>
                    <a:pt x="136" y="33"/>
                  </a:cubicBezTo>
                  <a:lnTo>
                    <a:pt x="143" y="12"/>
                  </a:lnTo>
                  <a:lnTo>
                    <a:pt x="143" y="12"/>
                  </a:lnTo>
                  <a:cubicBezTo>
                    <a:pt x="115" y="7"/>
                    <a:pt x="104" y="24"/>
                    <a:pt x="80" y="24"/>
                  </a:cubicBezTo>
                  <a:lnTo>
                    <a:pt x="80" y="24"/>
                  </a:lnTo>
                  <a:cubicBezTo>
                    <a:pt x="54" y="24"/>
                    <a:pt x="38" y="0"/>
                    <a:pt x="0" y="19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6" name="Freeform 154">
              <a:extLst>
                <a:ext uri="{FF2B5EF4-FFF2-40B4-BE49-F238E27FC236}">
                  <a16:creationId xmlns:a16="http://schemas.microsoft.com/office/drawing/2014/main" id="{B5B87DCE-642D-6843-ABBA-30A07FE51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9275" y="5340082"/>
              <a:ext cx="34564" cy="63367"/>
            </a:xfrm>
            <a:custGeom>
              <a:avLst/>
              <a:gdLst>
                <a:gd name="T0" fmla="*/ 13 w 51"/>
                <a:gd name="T1" fmla="*/ 18 h 95"/>
                <a:gd name="T2" fmla="*/ 13 w 51"/>
                <a:gd name="T3" fmla="*/ 18 h 95"/>
                <a:gd name="T4" fmla="*/ 42 w 51"/>
                <a:gd name="T5" fmla="*/ 0 h 95"/>
                <a:gd name="T6" fmla="*/ 42 w 51"/>
                <a:gd name="T7" fmla="*/ 0 h 95"/>
                <a:gd name="T8" fmla="*/ 50 w 51"/>
                <a:gd name="T9" fmla="*/ 21 h 95"/>
                <a:gd name="T10" fmla="*/ 50 w 51"/>
                <a:gd name="T11" fmla="*/ 21 h 95"/>
                <a:gd name="T12" fmla="*/ 33 w 51"/>
                <a:gd name="T13" fmla="*/ 94 h 95"/>
                <a:gd name="T14" fmla="*/ 33 w 51"/>
                <a:gd name="T15" fmla="*/ 94 h 95"/>
                <a:gd name="T16" fmla="*/ 0 w 51"/>
                <a:gd name="T17" fmla="*/ 23 h 95"/>
                <a:gd name="T18" fmla="*/ 0 w 51"/>
                <a:gd name="T19" fmla="*/ 23 h 95"/>
                <a:gd name="T20" fmla="*/ 13 w 51"/>
                <a:gd name="T21" fmla="*/ 1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95">
                  <a:moveTo>
                    <a:pt x="13" y="18"/>
                  </a:moveTo>
                  <a:lnTo>
                    <a:pt x="13" y="18"/>
                  </a:lnTo>
                  <a:cubicBezTo>
                    <a:pt x="26" y="18"/>
                    <a:pt x="33" y="2"/>
                    <a:pt x="42" y="0"/>
                  </a:cubicBezTo>
                  <a:lnTo>
                    <a:pt x="42" y="0"/>
                  </a:lnTo>
                  <a:cubicBezTo>
                    <a:pt x="42" y="10"/>
                    <a:pt x="44" y="18"/>
                    <a:pt x="50" y="21"/>
                  </a:cubicBezTo>
                  <a:lnTo>
                    <a:pt x="50" y="21"/>
                  </a:lnTo>
                  <a:cubicBezTo>
                    <a:pt x="44" y="43"/>
                    <a:pt x="38" y="83"/>
                    <a:pt x="33" y="94"/>
                  </a:cubicBezTo>
                  <a:lnTo>
                    <a:pt x="33" y="94"/>
                  </a:lnTo>
                  <a:cubicBezTo>
                    <a:pt x="15" y="90"/>
                    <a:pt x="9" y="37"/>
                    <a:pt x="0" y="23"/>
                  </a:cubicBezTo>
                  <a:lnTo>
                    <a:pt x="0" y="23"/>
                  </a:lnTo>
                  <a:cubicBezTo>
                    <a:pt x="4" y="23"/>
                    <a:pt x="9" y="18"/>
                    <a:pt x="13" y="18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7" name="Freeform 155">
              <a:extLst>
                <a:ext uri="{FF2B5EF4-FFF2-40B4-BE49-F238E27FC236}">
                  <a16:creationId xmlns:a16="http://schemas.microsoft.com/office/drawing/2014/main" id="{A428C99D-8F64-BE4A-ADD0-F4BB8C1A5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0635" y="5409209"/>
              <a:ext cx="51845" cy="92170"/>
            </a:xfrm>
            <a:custGeom>
              <a:avLst/>
              <a:gdLst>
                <a:gd name="T0" fmla="*/ 18 w 79"/>
                <a:gd name="T1" fmla="*/ 63 h 139"/>
                <a:gd name="T2" fmla="*/ 18 w 79"/>
                <a:gd name="T3" fmla="*/ 63 h 139"/>
                <a:gd name="T4" fmla="*/ 0 w 79"/>
                <a:gd name="T5" fmla="*/ 25 h 139"/>
                <a:gd name="T6" fmla="*/ 0 w 79"/>
                <a:gd name="T7" fmla="*/ 25 h 139"/>
                <a:gd name="T8" fmla="*/ 39 w 79"/>
                <a:gd name="T9" fmla="*/ 0 h 139"/>
                <a:gd name="T10" fmla="*/ 39 w 79"/>
                <a:gd name="T11" fmla="*/ 0 h 139"/>
                <a:gd name="T12" fmla="*/ 63 w 79"/>
                <a:gd name="T13" fmla="*/ 12 h 139"/>
                <a:gd name="T14" fmla="*/ 63 w 79"/>
                <a:gd name="T15" fmla="*/ 12 h 139"/>
                <a:gd name="T16" fmla="*/ 74 w 79"/>
                <a:gd name="T17" fmla="*/ 87 h 139"/>
                <a:gd name="T18" fmla="*/ 74 w 79"/>
                <a:gd name="T19" fmla="*/ 87 h 139"/>
                <a:gd name="T20" fmla="*/ 26 w 79"/>
                <a:gd name="T21" fmla="*/ 138 h 139"/>
                <a:gd name="T22" fmla="*/ 26 w 79"/>
                <a:gd name="T23" fmla="*/ 138 h 139"/>
                <a:gd name="T24" fmla="*/ 7 w 79"/>
                <a:gd name="T25" fmla="*/ 100 h 139"/>
                <a:gd name="T26" fmla="*/ 7 w 79"/>
                <a:gd name="T27" fmla="*/ 100 h 139"/>
                <a:gd name="T28" fmla="*/ 18 w 79"/>
                <a:gd name="T29" fmla="*/ 6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39">
                  <a:moveTo>
                    <a:pt x="18" y="63"/>
                  </a:moveTo>
                  <a:lnTo>
                    <a:pt x="18" y="63"/>
                  </a:lnTo>
                  <a:cubicBezTo>
                    <a:pt x="18" y="48"/>
                    <a:pt x="2" y="39"/>
                    <a:pt x="0" y="25"/>
                  </a:cubicBezTo>
                  <a:lnTo>
                    <a:pt x="0" y="25"/>
                  </a:lnTo>
                  <a:cubicBezTo>
                    <a:pt x="20" y="19"/>
                    <a:pt x="22" y="0"/>
                    <a:pt x="39" y="0"/>
                  </a:cubicBezTo>
                  <a:lnTo>
                    <a:pt x="39" y="0"/>
                  </a:lnTo>
                  <a:cubicBezTo>
                    <a:pt x="51" y="0"/>
                    <a:pt x="57" y="12"/>
                    <a:pt x="63" y="12"/>
                  </a:cubicBezTo>
                  <a:lnTo>
                    <a:pt x="63" y="12"/>
                  </a:lnTo>
                  <a:cubicBezTo>
                    <a:pt x="78" y="41"/>
                    <a:pt x="74" y="58"/>
                    <a:pt x="74" y="87"/>
                  </a:cubicBezTo>
                  <a:lnTo>
                    <a:pt x="74" y="87"/>
                  </a:lnTo>
                  <a:cubicBezTo>
                    <a:pt x="74" y="112"/>
                    <a:pt x="41" y="138"/>
                    <a:pt x="26" y="138"/>
                  </a:cubicBezTo>
                  <a:lnTo>
                    <a:pt x="26" y="138"/>
                  </a:lnTo>
                  <a:cubicBezTo>
                    <a:pt x="7" y="138"/>
                    <a:pt x="7" y="114"/>
                    <a:pt x="7" y="100"/>
                  </a:cubicBezTo>
                  <a:lnTo>
                    <a:pt x="7" y="100"/>
                  </a:lnTo>
                  <a:cubicBezTo>
                    <a:pt x="10" y="85"/>
                    <a:pt x="18" y="76"/>
                    <a:pt x="18" y="63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8" name="Freeform 156">
              <a:extLst>
                <a:ext uri="{FF2B5EF4-FFF2-40B4-BE49-F238E27FC236}">
                  <a16:creationId xmlns:a16="http://schemas.microsoft.com/office/drawing/2014/main" id="{9BCC0B01-EA85-0F48-AB24-8F3170BD1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7655" y="5463936"/>
              <a:ext cx="25922" cy="20161"/>
            </a:xfrm>
            <a:custGeom>
              <a:avLst/>
              <a:gdLst>
                <a:gd name="T0" fmla="*/ 38 w 39"/>
                <a:gd name="T1" fmla="*/ 20 h 30"/>
                <a:gd name="T2" fmla="*/ 38 w 39"/>
                <a:gd name="T3" fmla="*/ 20 h 30"/>
                <a:gd name="T4" fmla="*/ 24 w 39"/>
                <a:gd name="T5" fmla="*/ 29 h 30"/>
                <a:gd name="T6" fmla="*/ 24 w 39"/>
                <a:gd name="T7" fmla="*/ 29 h 30"/>
                <a:gd name="T8" fmla="*/ 0 w 39"/>
                <a:gd name="T9" fmla="*/ 13 h 30"/>
                <a:gd name="T10" fmla="*/ 0 w 39"/>
                <a:gd name="T11" fmla="*/ 13 h 30"/>
                <a:gd name="T12" fmla="*/ 30 w 39"/>
                <a:gd name="T13" fmla="*/ 0 h 30"/>
                <a:gd name="T14" fmla="*/ 30 w 39"/>
                <a:gd name="T15" fmla="*/ 0 h 30"/>
                <a:gd name="T16" fmla="*/ 38 w 39"/>
                <a:gd name="T1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30">
                  <a:moveTo>
                    <a:pt x="38" y="20"/>
                  </a:moveTo>
                  <a:lnTo>
                    <a:pt x="38" y="20"/>
                  </a:lnTo>
                  <a:cubicBezTo>
                    <a:pt x="38" y="26"/>
                    <a:pt x="30" y="29"/>
                    <a:pt x="24" y="29"/>
                  </a:cubicBezTo>
                  <a:lnTo>
                    <a:pt x="24" y="29"/>
                  </a:lnTo>
                  <a:cubicBezTo>
                    <a:pt x="17" y="29"/>
                    <a:pt x="2" y="15"/>
                    <a:pt x="0" y="13"/>
                  </a:cubicBezTo>
                  <a:lnTo>
                    <a:pt x="0" y="13"/>
                  </a:lnTo>
                  <a:cubicBezTo>
                    <a:pt x="11" y="7"/>
                    <a:pt x="18" y="2"/>
                    <a:pt x="30" y="0"/>
                  </a:cubicBezTo>
                  <a:lnTo>
                    <a:pt x="30" y="0"/>
                  </a:lnTo>
                  <a:cubicBezTo>
                    <a:pt x="30" y="4"/>
                    <a:pt x="38" y="15"/>
                    <a:pt x="38" y="20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29" name="Freeform 157">
              <a:extLst>
                <a:ext uri="{FF2B5EF4-FFF2-40B4-BE49-F238E27FC236}">
                  <a16:creationId xmlns:a16="http://schemas.microsoft.com/office/drawing/2014/main" id="{90418B8E-BEDC-E949-825D-A901877D1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35360" y="4775542"/>
              <a:ext cx="31682" cy="37445"/>
            </a:xfrm>
            <a:custGeom>
              <a:avLst/>
              <a:gdLst>
                <a:gd name="T0" fmla="*/ 41 w 48"/>
                <a:gd name="T1" fmla="*/ 42 h 58"/>
                <a:gd name="T2" fmla="*/ 41 w 48"/>
                <a:gd name="T3" fmla="*/ 42 h 58"/>
                <a:gd name="T4" fmla="*/ 0 w 48"/>
                <a:gd name="T5" fmla="*/ 18 h 58"/>
                <a:gd name="T6" fmla="*/ 0 w 48"/>
                <a:gd name="T7" fmla="*/ 0 h 58"/>
                <a:gd name="T8" fmla="*/ 34 w 48"/>
                <a:gd name="T9" fmla="*/ 0 h 58"/>
                <a:gd name="T10" fmla="*/ 34 w 48"/>
                <a:gd name="T11" fmla="*/ 0 h 58"/>
                <a:gd name="T12" fmla="*/ 47 w 48"/>
                <a:gd name="T13" fmla="*/ 36 h 58"/>
                <a:gd name="T14" fmla="*/ 47 w 48"/>
                <a:gd name="T15" fmla="*/ 36 h 58"/>
                <a:gd name="T16" fmla="*/ 41 w 48"/>
                <a:gd name="T17" fmla="*/ 57 h 58"/>
                <a:gd name="T18" fmla="*/ 41 w 48"/>
                <a:gd name="T1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8">
                  <a:moveTo>
                    <a:pt x="41" y="42"/>
                  </a:moveTo>
                  <a:lnTo>
                    <a:pt x="41" y="42"/>
                  </a:lnTo>
                  <a:cubicBezTo>
                    <a:pt x="21" y="42"/>
                    <a:pt x="0" y="36"/>
                    <a:pt x="0" y="18"/>
                  </a:cubicBezTo>
                  <a:lnTo>
                    <a:pt x="0" y="0"/>
                  </a:lnTo>
                  <a:lnTo>
                    <a:pt x="34" y="0"/>
                  </a:lnTo>
                  <a:lnTo>
                    <a:pt x="34" y="0"/>
                  </a:lnTo>
                  <a:cubicBezTo>
                    <a:pt x="34" y="21"/>
                    <a:pt x="47" y="18"/>
                    <a:pt x="47" y="36"/>
                  </a:cubicBezTo>
                  <a:lnTo>
                    <a:pt x="47" y="36"/>
                  </a:lnTo>
                  <a:cubicBezTo>
                    <a:pt x="47" y="51"/>
                    <a:pt x="43" y="47"/>
                    <a:pt x="41" y="57"/>
                  </a:cubicBezTo>
                  <a:lnTo>
                    <a:pt x="41" y="42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0" name="Freeform 158">
              <a:extLst>
                <a:ext uri="{FF2B5EF4-FFF2-40B4-BE49-F238E27FC236}">
                  <a16:creationId xmlns:a16="http://schemas.microsoft.com/office/drawing/2014/main" id="{DB4AA19D-7588-B048-B35B-079DCDD18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2804" y="4740979"/>
              <a:ext cx="54727" cy="80648"/>
            </a:xfrm>
            <a:custGeom>
              <a:avLst/>
              <a:gdLst>
                <a:gd name="T0" fmla="*/ 13 w 84"/>
                <a:gd name="T1" fmla="*/ 108 h 122"/>
                <a:gd name="T2" fmla="*/ 13 w 84"/>
                <a:gd name="T3" fmla="*/ 108 h 122"/>
                <a:gd name="T4" fmla="*/ 39 w 84"/>
                <a:gd name="T5" fmla="*/ 85 h 122"/>
                <a:gd name="T6" fmla="*/ 39 w 84"/>
                <a:gd name="T7" fmla="*/ 85 h 122"/>
                <a:gd name="T8" fmla="*/ 0 w 84"/>
                <a:gd name="T9" fmla="*/ 55 h 122"/>
                <a:gd name="T10" fmla="*/ 0 w 84"/>
                <a:gd name="T11" fmla="*/ 55 h 122"/>
                <a:gd name="T12" fmla="*/ 35 w 84"/>
                <a:gd name="T13" fmla="*/ 0 h 122"/>
                <a:gd name="T14" fmla="*/ 35 w 84"/>
                <a:gd name="T15" fmla="*/ 0 h 122"/>
                <a:gd name="T16" fmla="*/ 83 w 84"/>
                <a:gd name="T17" fmla="*/ 48 h 122"/>
                <a:gd name="T18" fmla="*/ 83 w 84"/>
                <a:gd name="T19" fmla="*/ 48 h 122"/>
                <a:gd name="T20" fmla="*/ 26 w 84"/>
                <a:gd name="T21" fmla="*/ 121 h 122"/>
                <a:gd name="T22" fmla="*/ 26 w 84"/>
                <a:gd name="T23" fmla="*/ 121 h 122"/>
                <a:gd name="T24" fmla="*/ 0 w 84"/>
                <a:gd name="T25" fmla="*/ 111 h 122"/>
                <a:gd name="T26" fmla="*/ 0 w 84"/>
                <a:gd name="T27" fmla="*/ 111 h 122"/>
                <a:gd name="T28" fmla="*/ 9 w 84"/>
                <a:gd name="T29" fmla="*/ 101 h 122"/>
                <a:gd name="T30" fmla="*/ 13 w 84"/>
                <a:gd name="T31" fmla="*/ 10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122">
                  <a:moveTo>
                    <a:pt x="13" y="108"/>
                  </a:moveTo>
                  <a:lnTo>
                    <a:pt x="13" y="108"/>
                  </a:lnTo>
                  <a:cubicBezTo>
                    <a:pt x="26" y="107"/>
                    <a:pt x="39" y="93"/>
                    <a:pt x="39" y="85"/>
                  </a:cubicBezTo>
                  <a:lnTo>
                    <a:pt x="39" y="85"/>
                  </a:lnTo>
                  <a:cubicBezTo>
                    <a:pt x="21" y="81"/>
                    <a:pt x="0" y="67"/>
                    <a:pt x="0" y="55"/>
                  </a:cubicBezTo>
                  <a:lnTo>
                    <a:pt x="0" y="55"/>
                  </a:lnTo>
                  <a:cubicBezTo>
                    <a:pt x="0" y="48"/>
                    <a:pt x="23" y="0"/>
                    <a:pt x="35" y="0"/>
                  </a:cubicBezTo>
                  <a:lnTo>
                    <a:pt x="35" y="0"/>
                  </a:lnTo>
                  <a:cubicBezTo>
                    <a:pt x="72" y="0"/>
                    <a:pt x="74" y="17"/>
                    <a:pt x="83" y="48"/>
                  </a:cubicBezTo>
                  <a:lnTo>
                    <a:pt x="83" y="48"/>
                  </a:lnTo>
                  <a:cubicBezTo>
                    <a:pt x="52" y="57"/>
                    <a:pt x="67" y="121"/>
                    <a:pt x="26" y="121"/>
                  </a:cubicBezTo>
                  <a:lnTo>
                    <a:pt x="26" y="121"/>
                  </a:lnTo>
                  <a:cubicBezTo>
                    <a:pt x="13" y="121"/>
                    <a:pt x="2" y="112"/>
                    <a:pt x="0" y="111"/>
                  </a:cubicBezTo>
                  <a:lnTo>
                    <a:pt x="0" y="111"/>
                  </a:lnTo>
                  <a:cubicBezTo>
                    <a:pt x="2" y="107"/>
                    <a:pt x="8" y="103"/>
                    <a:pt x="9" y="101"/>
                  </a:cubicBezTo>
                  <a:lnTo>
                    <a:pt x="13" y="108"/>
                  </a:ln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1" name="Freeform 159">
              <a:extLst>
                <a:ext uri="{FF2B5EF4-FFF2-40B4-BE49-F238E27FC236}">
                  <a16:creationId xmlns:a16="http://schemas.microsoft.com/office/drawing/2014/main" id="{16FA7ACE-922F-B44B-BDC9-6B00B1BE2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06109" y="4654569"/>
              <a:ext cx="31682" cy="46085"/>
            </a:xfrm>
            <a:custGeom>
              <a:avLst/>
              <a:gdLst>
                <a:gd name="T0" fmla="*/ 32 w 48"/>
                <a:gd name="T1" fmla="*/ 23 h 70"/>
                <a:gd name="T2" fmla="*/ 32 w 48"/>
                <a:gd name="T3" fmla="*/ 23 h 70"/>
                <a:gd name="T4" fmla="*/ 5 w 48"/>
                <a:gd name="T5" fmla="*/ 69 h 70"/>
                <a:gd name="T6" fmla="*/ 5 w 48"/>
                <a:gd name="T7" fmla="*/ 69 h 70"/>
                <a:gd name="T8" fmla="*/ 5 w 48"/>
                <a:gd name="T9" fmla="*/ 46 h 70"/>
                <a:gd name="T10" fmla="*/ 5 w 48"/>
                <a:gd name="T11" fmla="*/ 46 h 70"/>
                <a:gd name="T12" fmla="*/ 47 w 48"/>
                <a:gd name="T13" fmla="*/ 0 h 70"/>
                <a:gd name="T14" fmla="*/ 47 w 48"/>
                <a:gd name="T15" fmla="*/ 0 h 70"/>
                <a:gd name="T16" fmla="*/ 32 w 48"/>
                <a:gd name="T17" fmla="*/ 2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70">
                  <a:moveTo>
                    <a:pt x="32" y="23"/>
                  </a:moveTo>
                  <a:lnTo>
                    <a:pt x="32" y="23"/>
                  </a:lnTo>
                  <a:cubicBezTo>
                    <a:pt x="32" y="44"/>
                    <a:pt x="18" y="53"/>
                    <a:pt x="5" y="69"/>
                  </a:cubicBezTo>
                  <a:lnTo>
                    <a:pt x="5" y="69"/>
                  </a:lnTo>
                  <a:cubicBezTo>
                    <a:pt x="0" y="62"/>
                    <a:pt x="5" y="54"/>
                    <a:pt x="5" y="46"/>
                  </a:cubicBezTo>
                  <a:lnTo>
                    <a:pt x="5" y="46"/>
                  </a:lnTo>
                  <a:cubicBezTo>
                    <a:pt x="5" y="34"/>
                    <a:pt x="14" y="2"/>
                    <a:pt x="47" y="0"/>
                  </a:cubicBezTo>
                  <a:lnTo>
                    <a:pt x="47" y="0"/>
                  </a:lnTo>
                  <a:cubicBezTo>
                    <a:pt x="43" y="7"/>
                    <a:pt x="32" y="14"/>
                    <a:pt x="32" y="23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2" name="Freeform 160">
              <a:extLst>
                <a:ext uri="{FF2B5EF4-FFF2-40B4-BE49-F238E27FC236}">
                  <a16:creationId xmlns:a16="http://schemas.microsoft.com/office/drawing/2014/main" id="{C1EB7A86-FBFE-0049-B1B1-2A7A04F88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32842" y="4594084"/>
              <a:ext cx="43204" cy="54725"/>
            </a:xfrm>
            <a:custGeom>
              <a:avLst/>
              <a:gdLst>
                <a:gd name="T0" fmla="*/ 50 w 66"/>
                <a:gd name="T1" fmla="*/ 42 h 83"/>
                <a:gd name="T2" fmla="*/ 50 w 66"/>
                <a:gd name="T3" fmla="*/ 64 h 83"/>
                <a:gd name="T4" fmla="*/ 50 w 66"/>
                <a:gd name="T5" fmla="*/ 64 h 83"/>
                <a:gd name="T6" fmla="*/ 19 w 66"/>
                <a:gd name="T7" fmla="*/ 82 h 83"/>
                <a:gd name="T8" fmla="*/ 19 w 66"/>
                <a:gd name="T9" fmla="*/ 82 h 83"/>
                <a:gd name="T10" fmla="*/ 0 w 66"/>
                <a:gd name="T11" fmla="*/ 55 h 83"/>
                <a:gd name="T12" fmla="*/ 0 w 66"/>
                <a:gd name="T13" fmla="*/ 55 h 83"/>
                <a:gd name="T14" fmla="*/ 41 w 66"/>
                <a:gd name="T15" fmla="*/ 40 h 83"/>
                <a:gd name="T16" fmla="*/ 41 w 66"/>
                <a:gd name="T17" fmla="*/ 40 h 83"/>
                <a:gd name="T18" fmla="*/ 28 w 66"/>
                <a:gd name="T19" fmla="*/ 19 h 83"/>
                <a:gd name="T20" fmla="*/ 28 w 66"/>
                <a:gd name="T21" fmla="*/ 19 h 83"/>
                <a:gd name="T22" fmla="*/ 44 w 66"/>
                <a:gd name="T23" fmla="*/ 0 h 83"/>
                <a:gd name="T24" fmla="*/ 44 w 66"/>
                <a:gd name="T25" fmla="*/ 0 h 83"/>
                <a:gd name="T26" fmla="*/ 65 w 66"/>
                <a:gd name="T27" fmla="*/ 19 h 83"/>
                <a:gd name="T28" fmla="*/ 65 w 66"/>
                <a:gd name="T29" fmla="*/ 19 h 83"/>
                <a:gd name="T30" fmla="*/ 50 w 66"/>
                <a:gd name="T31" fmla="*/ 4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83">
                  <a:moveTo>
                    <a:pt x="50" y="42"/>
                  </a:moveTo>
                  <a:lnTo>
                    <a:pt x="50" y="64"/>
                  </a:lnTo>
                  <a:lnTo>
                    <a:pt x="50" y="64"/>
                  </a:lnTo>
                  <a:cubicBezTo>
                    <a:pt x="50" y="70"/>
                    <a:pt x="26" y="82"/>
                    <a:pt x="19" y="82"/>
                  </a:cubicBezTo>
                  <a:lnTo>
                    <a:pt x="19" y="82"/>
                  </a:lnTo>
                  <a:cubicBezTo>
                    <a:pt x="3" y="82"/>
                    <a:pt x="0" y="66"/>
                    <a:pt x="0" y="55"/>
                  </a:cubicBezTo>
                  <a:lnTo>
                    <a:pt x="0" y="55"/>
                  </a:lnTo>
                  <a:cubicBezTo>
                    <a:pt x="15" y="53"/>
                    <a:pt x="26" y="42"/>
                    <a:pt x="41" y="40"/>
                  </a:cubicBezTo>
                  <a:lnTo>
                    <a:pt x="41" y="40"/>
                  </a:lnTo>
                  <a:cubicBezTo>
                    <a:pt x="36" y="33"/>
                    <a:pt x="28" y="28"/>
                    <a:pt x="28" y="19"/>
                  </a:cubicBezTo>
                  <a:lnTo>
                    <a:pt x="28" y="19"/>
                  </a:lnTo>
                  <a:cubicBezTo>
                    <a:pt x="28" y="9"/>
                    <a:pt x="44" y="0"/>
                    <a:pt x="44" y="0"/>
                  </a:cubicBezTo>
                  <a:lnTo>
                    <a:pt x="44" y="0"/>
                  </a:lnTo>
                  <a:cubicBezTo>
                    <a:pt x="54" y="11"/>
                    <a:pt x="57" y="15"/>
                    <a:pt x="65" y="19"/>
                  </a:cubicBezTo>
                  <a:lnTo>
                    <a:pt x="65" y="19"/>
                  </a:lnTo>
                  <a:cubicBezTo>
                    <a:pt x="63" y="28"/>
                    <a:pt x="54" y="40"/>
                    <a:pt x="50" y="42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3" name="Freeform 161">
              <a:extLst>
                <a:ext uri="{FF2B5EF4-FFF2-40B4-BE49-F238E27FC236}">
                  <a16:creationId xmlns:a16="http://schemas.microsoft.com/office/drawing/2014/main" id="{4B0C7FA0-07FC-A84C-8CB5-EDF2A8D0E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07730" y="5636754"/>
              <a:ext cx="77767" cy="20161"/>
            </a:xfrm>
            <a:custGeom>
              <a:avLst/>
              <a:gdLst>
                <a:gd name="T0" fmla="*/ 116 w 117"/>
                <a:gd name="T1" fmla="*/ 18 h 32"/>
                <a:gd name="T2" fmla="*/ 116 w 117"/>
                <a:gd name="T3" fmla="*/ 18 h 32"/>
                <a:gd name="T4" fmla="*/ 70 w 117"/>
                <a:gd name="T5" fmla="*/ 22 h 32"/>
                <a:gd name="T6" fmla="*/ 70 w 117"/>
                <a:gd name="T7" fmla="*/ 22 h 32"/>
                <a:gd name="T8" fmla="*/ 0 w 117"/>
                <a:gd name="T9" fmla="*/ 7 h 32"/>
                <a:gd name="T10" fmla="*/ 0 w 117"/>
                <a:gd name="T11" fmla="*/ 7 h 32"/>
                <a:gd name="T12" fmla="*/ 116 w 117"/>
                <a:gd name="T13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32">
                  <a:moveTo>
                    <a:pt x="116" y="18"/>
                  </a:moveTo>
                  <a:lnTo>
                    <a:pt x="116" y="18"/>
                  </a:lnTo>
                  <a:cubicBezTo>
                    <a:pt x="92" y="31"/>
                    <a:pt x="83" y="22"/>
                    <a:pt x="70" y="22"/>
                  </a:cubicBezTo>
                  <a:lnTo>
                    <a:pt x="70" y="22"/>
                  </a:lnTo>
                  <a:cubicBezTo>
                    <a:pt x="55" y="22"/>
                    <a:pt x="20" y="18"/>
                    <a:pt x="0" y="7"/>
                  </a:cubicBezTo>
                  <a:lnTo>
                    <a:pt x="0" y="7"/>
                  </a:lnTo>
                  <a:cubicBezTo>
                    <a:pt x="40" y="0"/>
                    <a:pt x="84" y="9"/>
                    <a:pt x="116" y="18"/>
                  </a:cubicBezTo>
                </a:path>
              </a:pathLst>
            </a:custGeom>
            <a:solidFill>
              <a:schemeClr val="accent4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4" name="Freeform 162">
              <a:extLst>
                <a:ext uri="{FF2B5EF4-FFF2-40B4-BE49-F238E27FC236}">
                  <a16:creationId xmlns:a16="http://schemas.microsoft.com/office/drawing/2014/main" id="{2B5AFCB2-346E-1C4E-80F5-2A87DA600C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95760" y="5628112"/>
              <a:ext cx="69127" cy="37445"/>
            </a:xfrm>
            <a:custGeom>
              <a:avLst/>
              <a:gdLst>
                <a:gd name="T0" fmla="*/ 22 w 107"/>
                <a:gd name="T1" fmla="*/ 55 h 56"/>
                <a:gd name="T2" fmla="*/ 22 w 107"/>
                <a:gd name="T3" fmla="*/ 55 h 56"/>
                <a:gd name="T4" fmla="*/ 9 w 107"/>
                <a:gd name="T5" fmla="*/ 46 h 56"/>
                <a:gd name="T6" fmla="*/ 9 w 107"/>
                <a:gd name="T7" fmla="*/ 46 h 56"/>
                <a:gd name="T8" fmla="*/ 0 w 107"/>
                <a:gd name="T9" fmla="*/ 37 h 56"/>
                <a:gd name="T10" fmla="*/ 0 w 107"/>
                <a:gd name="T11" fmla="*/ 37 h 56"/>
                <a:gd name="T12" fmla="*/ 106 w 107"/>
                <a:gd name="T13" fmla="*/ 0 h 56"/>
                <a:gd name="T14" fmla="*/ 106 w 107"/>
                <a:gd name="T15" fmla="*/ 0 h 56"/>
                <a:gd name="T16" fmla="*/ 82 w 107"/>
                <a:gd name="T17" fmla="*/ 16 h 56"/>
                <a:gd name="T18" fmla="*/ 82 w 107"/>
                <a:gd name="T19" fmla="*/ 16 h 56"/>
                <a:gd name="T20" fmla="*/ 79 w 107"/>
                <a:gd name="T21" fmla="*/ 35 h 56"/>
                <a:gd name="T22" fmla="*/ 79 w 107"/>
                <a:gd name="T23" fmla="*/ 35 h 56"/>
                <a:gd name="T24" fmla="*/ 22 w 107"/>
                <a:gd name="T25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56">
                  <a:moveTo>
                    <a:pt x="22" y="55"/>
                  </a:moveTo>
                  <a:lnTo>
                    <a:pt x="22" y="55"/>
                  </a:lnTo>
                  <a:cubicBezTo>
                    <a:pt x="16" y="55"/>
                    <a:pt x="9" y="51"/>
                    <a:pt x="9" y="46"/>
                  </a:cubicBezTo>
                  <a:lnTo>
                    <a:pt x="9" y="46"/>
                  </a:lnTo>
                  <a:cubicBezTo>
                    <a:pt x="5" y="46"/>
                    <a:pt x="0" y="40"/>
                    <a:pt x="0" y="37"/>
                  </a:cubicBezTo>
                  <a:lnTo>
                    <a:pt x="0" y="37"/>
                  </a:lnTo>
                  <a:cubicBezTo>
                    <a:pt x="28" y="24"/>
                    <a:pt x="74" y="5"/>
                    <a:pt x="106" y="0"/>
                  </a:cubicBezTo>
                  <a:lnTo>
                    <a:pt x="106" y="0"/>
                  </a:lnTo>
                  <a:cubicBezTo>
                    <a:pt x="102" y="19"/>
                    <a:pt x="93" y="11"/>
                    <a:pt x="82" y="16"/>
                  </a:cubicBezTo>
                  <a:lnTo>
                    <a:pt x="82" y="16"/>
                  </a:lnTo>
                  <a:cubicBezTo>
                    <a:pt x="77" y="19"/>
                    <a:pt x="80" y="29"/>
                    <a:pt x="79" y="35"/>
                  </a:cubicBezTo>
                  <a:lnTo>
                    <a:pt x="79" y="35"/>
                  </a:lnTo>
                  <a:cubicBezTo>
                    <a:pt x="73" y="46"/>
                    <a:pt x="38" y="55"/>
                    <a:pt x="22" y="55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5" name="Freeform 163">
              <a:extLst>
                <a:ext uri="{FF2B5EF4-FFF2-40B4-BE49-F238E27FC236}">
                  <a16:creationId xmlns:a16="http://schemas.microsoft.com/office/drawing/2014/main" id="{859E4862-9ECE-994B-8ADB-970E987D5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04314" y="6472042"/>
              <a:ext cx="34564" cy="14401"/>
            </a:xfrm>
            <a:custGeom>
              <a:avLst/>
              <a:gdLst>
                <a:gd name="T0" fmla="*/ 0 w 54"/>
                <a:gd name="T1" fmla="*/ 9 h 23"/>
                <a:gd name="T2" fmla="*/ 0 w 54"/>
                <a:gd name="T3" fmla="*/ 9 h 23"/>
                <a:gd name="T4" fmla="*/ 20 w 54"/>
                <a:gd name="T5" fmla="*/ 22 h 23"/>
                <a:gd name="T6" fmla="*/ 20 w 54"/>
                <a:gd name="T7" fmla="*/ 22 h 23"/>
                <a:gd name="T8" fmla="*/ 53 w 54"/>
                <a:gd name="T9" fmla="*/ 0 h 23"/>
                <a:gd name="T10" fmla="*/ 53 w 54"/>
                <a:gd name="T11" fmla="*/ 0 h 23"/>
                <a:gd name="T12" fmla="*/ 0 w 54"/>
                <a:gd name="T1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23">
                  <a:moveTo>
                    <a:pt x="0" y="9"/>
                  </a:moveTo>
                  <a:lnTo>
                    <a:pt x="0" y="9"/>
                  </a:lnTo>
                  <a:cubicBezTo>
                    <a:pt x="2" y="18"/>
                    <a:pt x="15" y="22"/>
                    <a:pt x="20" y="22"/>
                  </a:cubicBezTo>
                  <a:lnTo>
                    <a:pt x="20" y="22"/>
                  </a:lnTo>
                  <a:cubicBezTo>
                    <a:pt x="35" y="22"/>
                    <a:pt x="50" y="7"/>
                    <a:pt x="53" y="0"/>
                  </a:cubicBezTo>
                  <a:lnTo>
                    <a:pt x="53" y="0"/>
                  </a:lnTo>
                  <a:cubicBezTo>
                    <a:pt x="30" y="0"/>
                    <a:pt x="17" y="3"/>
                    <a:pt x="0" y="9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6" name="Freeform 164">
              <a:extLst>
                <a:ext uri="{FF2B5EF4-FFF2-40B4-BE49-F238E27FC236}">
                  <a16:creationId xmlns:a16="http://schemas.microsoft.com/office/drawing/2014/main" id="{D6428B06-3E08-2A42-B30B-AE801CB361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9976" y="4018024"/>
              <a:ext cx="72007" cy="54725"/>
            </a:xfrm>
            <a:custGeom>
              <a:avLst/>
              <a:gdLst>
                <a:gd name="T0" fmla="*/ 24 w 111"/>
                <a:gd name="T1" fmla="*/ 19 h 84"/>
                <a:gd name="T2" fmla="*/ 24 w 111"/>
                <a:gd name="T3" fmla="*/ 19 h 84"/>
                <a:gd name="T4" fmla="*/ 46 w 111"/>
                <a:gd name="T5" fmla="*/ 0 h 84"/>
                <a:gd name="T6" fmla="*/ 46 w 111"/>
                <a:gd name="T7" fmla="*/ 0 h 84"/>
                <a:gd name="T8" fmla="*/ 110 w 111"/>
                <a:gd name="T9" fmla="*/ 28 h 84"/>
                <a:gd name="T10" fmla="*/ 110 w 111"/>
                <a:gd name="T11" fmla="*/ 51 h 84"/>
                <a:gd name="T12" fmla="*/ 110 w 111"/>
                <a:gd name="T13" fmla="*/ 51 h 84"/>
                <a:gd name="T14" fmla="*/ 33 w 111"/>
                <a:gd name="T15" fmla="*/ 83 h 84"/>
                <a:gd name="T16" fmla="*/ 33 w 111"/>
                <a:gd name="T17" fmla="*/ 83 h 84"/>
                <a:gd name="T18" fmla="*/ 0 w 111"/>
                <a:gd name="T19" fmla="*/ 61 h 84"/>
                <a:gd name="T20" fmla="*/ 0 w 111"/>
                <a:gd name="T21" fmla="*/ 61 h 84"/>
                <a:gd name="T22" fmla="*/ 24 w 111"/>
                <a:gd name="T23" fmla="*/ 1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" h="84">
                  <a:moveTo>
                    <a:pt x="24" y="19"/>
                  </a:moveTo>
                  <a:lnTo>
                    <a:pt x="24" y="19"/>
                  </a:lnTo>
                  <a:cubicBezTo>
                    <a:pt x="33" y="19"/>
                    <a:pt x="37" y="0"/>
                    <a:pt x="46" y="0"/>
                  </a:cubicBezTo>
                  <a:lnTo>
                    <a:pt x="46" y="0"/>
                  </a:lnTo>
                  <a:cubicBezTo>
                    <a:pt x="72" y="0"/>
                    <a:pt x="85" y="24"/>
                    <a:pt x="110" y="28"/>
                  </a:cubicBezTo>
                  <a:lnTo>
                    <a:pt x="110" y="51"/>
                  </a:lnTo>
                  <a:lnTo>
                    <a:pt x="110" y="51"/>
                  </a:lnTo>
                  <a:cubicBezTo>
                    <a:pt x="86" y="64"/>
                    <a:pt x="64" y="83"/>
                    <a:pt x="33" y="83"/>
                  </a:cubicBezTo>
                  <a:lnTo>
                    <a:pt x="33" y="83"/>
                  </a:lnTo>
                  <a:cubicBezTo>
                    <a:pt x="11" y="83"/>
                    <a:pt x="0" y="79"/>
                    <a:pt x="0" y="61"/>
                  </a:cubicBezTo>
                  <a:lnTo>
                    <a:pt x="0" y="61"/>
                  </a:lnTo>
                  <a:cubicBezTo>
                    <a:pt x="0" y="54"/>
                    <a:pt x="21" y="19"/>
                    <a:pt x="24" y="19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7" name="Freeform 165">
              <a:extLst>
                <a:ext uri="{FF2B5EF4-FFF2-40B4-BE49-F238E27FC236}">
                  <a16:creationId xmlns:a16="http://schemas.microsoft.com/office/drawing/2014/main" id="{1C1FFBEB-360D-964C-ABED-B1B5D66CC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80012" y="3957536"/>
              <a:ext cx="57606" cy="57606"/>
            </a:xfrm>
            <a:custGeom>
              <a:avLst/>
              <a:gdLst>
                <a:gd name="T0" fmla="*/ 88 w 89"/>
                <a:gd name="T1" fmla="*/ 74 h 87"/>
                <a:gd name="T2" fmla="*/ 88 w 89"/>
                <a:gd name="T3" fmla="*/ 74 h 87"/>
                <a:gd name="T4" fmla="*/ 64 w 89"/>
                <a:gd name="T5" fmla="*/ 83 h 87"/>
                <a:gd name="T6" fmla="*/ 64 w 89"/>
                <a:gd name="T7" fmla="*/ 83 h 87"/>
                <a:gd name="T8" fmla="*/ 0 w 89"/>
                <a:gd name="T9" fmla="*/ 37 h 87"/>
                <a:gd name="T10" fmla="*/ 0 w 89"/>
                <a:gd name="T11" fmla="*/ 37 h 87"/>
                <a:gd name="T12" fmla="*/ 88 w 89"/>
                <a:gd name="T13" fmla="*/ 7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7">
                  <a:moveTo>
                    <a:pt x="88" y="74"/>
                  </a:moveTo>
                  <a:lnTo>
                    <a:pt x="88" y="74"/>
                  </a:lnTo>
                  <a:cubicBezTo>
                    <a:pt x="88" y="86"/>
                    <a:pt x="64" y="83"/>
                    <a:pt x="64" y="83"/>
                  </a:cubicBezTo>
                  <a:lnTo>
                    <a:pt x="64" y="83"/>
                  </a:lnTo>
                  <a:cubicBezTo>
                    <a:pt x="40" y="83"/>
                    <a:pt x="0" y="59"/>
                    <a:pt x="0" y="37"/>
                  </a:cubicBezTo>
                  <a:lnTo>
                    <a:pt x="0" y="37"/>
                  </a:lnTo>
                  <a:cubicBezTo>
                    <a:pt x="0" y="0"/>
                    <a:pt x="88" y="37"/>
                    <a:pt x="88" y="74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8" name="Freeform 166">
              <a:extLst>
                <a:ext uri="{FF2B5EF4-FFF2-40B4-BE49-F238E27FC236}">
                  <a16:creationId xmlns:a16="http://schemas.microsoft.com/office/drawing/2014/main" id="{A9C5FA13-6F6A-904B-9702-62314CB36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68855" y="3764558"/>
              <a:ext cx="51845" cy="37443"/>
            </a:xfrm>
            <a:custGeom>
              <a:avLst/>
              <a:gdLst>
                <a:gd name="T0" fmla="*/ 6 w 80"/>
                <a:gd name="T1" fmla="*/ 55 h 56"/>
                <a:gd name="T2" fmla="*/ 6 w 80"/>
                <a:gd name="T3" fmla="*/ 55 h 56"/>
                <a:gd name="T4" fmla="*/ 79 w 80"/>
                <a:gd name="T5" fmla="*/ 35 h 56"/>
                <a:gd name="T6" fmla="*/ 79 w 80"/>
                <a:gd name="T7" fmla="*/ 35 h 56"/>
                <a:gd name="T8" fmla="*/ 33 w 80"/>
                <a:gd name="T9" fmla="*/ 0 h 56"/>
                <a:gd name="T10" fmla="*/ 33 w 80"/>
                <a:gd name="T11" fmla="*/ 0 h 56"/>
                <a:gd name="T12" fmla="*/ 6 w 80"/>
                <a:gd name="T13" fmla="*/ 36 h 56"/>
                <a:gd name="T14" fmla="*/ 6 w 80"/>
                <a:gd name="T15" fmla="*/ 36 h 56"/>
                <a:gd name="T16" fmla="*/ 6 w 80"/>
                <a:gd name="T17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56">
                  <a:moveTo>
                    <a:pt x="6" y="55"/>
                  </a:moveTo>
                  <a:lnTo>
                    <a:pt x="6" y="55"/>
                  </a:lnTo>
                  <a:cubicBezTo>
                    <a:pt x="28" y="55"/>
                    <a:pt x="70" y="43"/>
                    <a:pt x="79" y="35"/>
                  </a:cubicBezTo>
                  <a:lnTo>
                    <a:pt x="79" y="35"/>
                  </a:lnTo>
                  <a:cubicBezTo>
                    <a:pt x="61" y="20"/>
                    <a:pt x="56" y="0"/>
                    <a:pt x="33" y="0"/>
                  </a:cubicBezTo>
                  <a:lnTo>
                    <a:pt x="33" y="0"/>
                  </a:lnTo>
                  <a:cubicBezTo>
                    <a:pt x="17" y="0"/>
                    <a:pt x="6" y="20"/>
                    <a:pt x="6" y="36"/>
                  </a:cubicBezTo>
                  <a:lnTo>
                    <a:pt x="6" y="36"/>
                  </a:lnTo>
                  <a:cubicBezTo>
                    <a:pt x="6" y="43"/>
                    <a:pt x="0" y="55"/>
                    <a:pt x="6" y="55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39" name="Freeform 167">
              <a:extLst>
                <a:ext uri="{FF2B5EF4-FFF2-40B4-BE49-F238E27FC236}">
                  <a16:creationId xmlns:a16="http://schemas.microsoft.com/office/drawing/2014/main" id="{D3BDF07F-497D-2B4C-8F8E-7370A5D27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8145" y="3729994"/>
              <a:ext cx="115212" cy="48964"/>
            </a:xfrm>
            <a:custGeom>
              <a:avLst/>
              <a:gdLst>
                <a:gd name="T0" fmla="*/ 0 w 175"/>
                <a:gd name="T1" fmla="*/ 55 h 74"/>
                <a:gd name="T2" fmla="*/ 0 w 175"/>
                <a:gd name="T3" fmla="*/ 55 h 74"/>
                <a:gd name="T4" fmla="*/ 88 w 175"/>
                <a:gd name="T5" fmla="*/ 0 h 74"/>
                <a:gd name="T6" fmla="*/ 88 w 175"/>
                <a:gd name="T7" fmla="*/ 0 h 74"/>
                <a:gd name="T8" fmla="*/ 174 w 175"/>
                <a:gd name="T9" fmla="*/ 73 h 74"/>
                <a:gd name="T10" fmla="*/ 119 w 175"/>
                <a:gd name="T11" fmla="*/ 73 h 74"/>
                <a:gd name="T12" fmla="*/ 119 w 175"/>
                <a:gd name="T13" fmla="*/ 73 h 74"/>
                <a:gd name="T14" fmla="*/ 9 w 175"/>
                <a:gd name="T15" fmla="*/ 46 h 74"/>
                <a:gd name="T16" fmla="*/ 0 w 175"/>
                <a:gd name="T17" fmla="*/ 5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74">
                  <a:moveTo>
                    <a:pt x="0" y="55"/>
                  </a:moveTo>
                  <a:lnTo>
                    <a:pt x="0" y="55"/>
                  </a:lnTo>
                  <a:cubicBezTo>
                    <a:pt x="22" y="26"/>
                    <a:pt x="46" y="0"/>
                    <a:pt x="88" y="0"/>
                  </a:cubicBezTo>
                  <a:lnTo>
                    <a:pt x="88" y="0"/>
                  </a:lnTo>
                  <a:cubicBezTo>
                    <a:pt x="136" y="0"/>
                    <a:pt x="172" y="31"/>
                    <a:pt x="174" y="73"/>
                  </a:cubicBezTo>
                  <a:lnTo>
                    <a:pt x="119" y="73"/>
                  </a:lnTo>
                  <a:lnTo>
                    <a:pt x="119" y="73"/>
                  </a:lnTo>
                  <a:cubicBezTo>
                    <a:pt x="86" y="55"/>
                    <a:pt x="44" y="59"/>
                    <a:pt x="9" y="46"/>
                  </a:cubicBezTo>
                  <a:lnTo>
                    <a:pt x="0" y="55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0" name="Freeform 168">
              <a:extLst>
                <a:ext uri="{FF2B5EF4-FFF2-40B4-BE49-F238E27FC236}">
                  <a16:creationId xmlns:a16="http://schemas.microsoft.com/office/drawing/2014/main" id="{52D00651-A7BD-D54F-B5F5-64E7AEA0C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4169" y="3617661"/>
              <a:ext cx="152655" cy="54727"/>
            </a:xfrm>
            <a:custGeom>
              <a:avLst/>
              <a:gdLst>
                <a:gd name="T0" fmla="*/ 0 w 235"/>
                <a:gd name="T1" fmla="*/ 0 h 83"/>
                <a:gd name="T2" fmla="*/ 0 w 235"/>
                <a:gd name="T3" fmla="*/ 0 h 83"/>
                <a:gd name="T4" fmla="*/ 215 w 235"/>
                <a:gd name="T5" fmla="*/ 36 h 83"/>
                <a:gd name="T6" fmla="*/ 215 w 235"/>
                <a:gd name="T7" fmla="*/ 36 h 83"/>
                <a:gd name="T8" fmla="*/ 234 w 235"/>
                <a:gd name="T9" fmla="*/ 55 h 83"/>
                <a:gd name="T10" fmla="*/ 234 w 235"/>
                <a:gd name="T11" fmla="*/ 55 h 83"/>
                <a:gd name="T12" fmla="*/ 152 w 235"/>
                <a:gd name="T13" fmla="*/ 82 h 83"/>
                <a:gd name="T14" fmla="*/ 152 w 235"/>
                <a:gd name="T15" fmla="*/ 82 h 83"/>
                <a:gd name="T16" fmla="*/ 18 w 235"/>
                <a:gd name="T17" fmla="*/ 14 h 83"/>
                <a:gd name="T18" fmla="*/ 0 w 235"/>
                <a:gd name="T1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83">
                  <a:moveTo>
                    <a:pt x="0" y="0"/>
                  </a:moveTo>
                  <a:lnTo>
                    <a:pt x="0" y="0"/>
                  </a:lnTo>
                  <a:cubicBezTo>
                    <a:pt x="17" y="13"/>
                    <a:pt x="209" y="36"/>
                    <a:pt x="215" y="36"/>
                  </a:cubicBezTo>
                  <a:lnTo>
                    <a:pt x="215" y="36"/>
                  </a:lnTo>
                  <a:cubicBezTo>
                    <a:pt x="227" y="36"/>
                    <a:pt x="234" y="45"/>
                    <a:pt x="234" y="55"/>
                  </a:cubicBezTo>
                  <a:lnTo>
                    <a:pt x="234" y="55"/>
                  </a:lnTo>
                  <a:cubicBezTo>
                    <a:pt x="234" y="75"/>
                    <a:pt x="181" y="82"/>
                    <a:pt x="152" y="82"/>
                  </a:cubicBezTo>
                  <a:lnTo>
                    <a:pt x="152" y="82"/>
                  </a:lnTo>
                  <a:cubicBezTo>
                    <a:pt x="104" y="82"/>
                    <a:pt x="18" y="60"/>
                    <a:pt x="18" y="14"/>
                  </a:cubicBezTo>
                  <a:lnTo>
                    <a:pt x="0" y="0"/>
                  </a:ln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1" name="Freeform 169">
              <a:extLst>
                <a:ext uri="{FF2B5EF4-FFF2-40B4-BE49-F238E27FC236}">
                  <a16:creationId xmlns:a16="http://schemas.microsoft.com/office/drawing/2014/main" id="{A0E74BEC-97C0-A24D-9D6D-026DE3B76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5265" y="3695430"/>
              <a:ext cx="34564" cy="34564"/>
            </a:xfrm>
            <a:custGeom>
              <a:avLst/>
              <a:gdLst>
                <a:gd name="T0" fmla="*/ 50 w 51"/>
                <a:gd name="T1" fmla="*/ 30 h 54"/>
                <a:gd name="T2" fmla="*/ 50 w 51"/>
                <a:gd name="T3" fmla="*/ 30 h 54"/>
                <a:gd name="T4" fmla="*/ 22 w 51"/>
                <a:gd name="T5" fmla="*/ 53 h 54"/>
                <a:gd name="T6" fmla="*/ 22 w 51"/>
                <a:gd name="T7" fmla="*/ 53 h 54"/>
                <a:gd name="T8" fmla="*/ 0 w 51"/>
                <a:gd name="T9" fmla="*/ 30 h 54"/>
                <a:gd name="T10" fmla="*/ 0 w 51"/>
                <a:gd name="T11" fmla="*/ 30 h 54"/>
                <a:gd name="T12" fmla="*/ 50 w 51"/>
                <a:gd name="T13" fmla="*/ 3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54">
                  <a:moveTo>
                    <a:pt x="50" y="30"/>
                  </a:moveTo>
                  <a:lnTo>
                    <a:pt x="50" y="30"/>
                  </a:lnTo>
                  <a:cubicBezTo>
                    <a:pt x="50" y="44"/>
                    <a:pt x="35" y="53"/>
                    <a:pt x="22" y="53"/>
                  </a:cubicBezTo>
                  <a:lnTo>
                    <a:pt x="22" y="53"/>
                  </a:lnTo>
                  <a:cubicBezTo>
                    <a:pt x="2" y="53"/>
                    <a:pt x="0" y="46"/>
                    <a:pt x="0" y="30"/>
                  </a:cubicBezTo>
                  <a:lnTo>
                    <a:pt x="0" y="30"/>
                  </a:lnTo>
                  <a:cubicBezTo>
                    <a:pt x="0" y="0"/>
                    <a:pt x="50" y="4"/>
                    <a:pt x="50" y="30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2" name="Freeform 170">
              <a:extLst>
                <a:ext uri="{FF2B5EF4-FFF2-40B4-BE49-F238E27FC236}">
                  <a16:creationId xmlns:a16="http://schemas.microsoft.com/office/drawing/2014/main" id="{298E1D25-6E19-1145-A717-E348301B5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09335" y="5037651"/>
              <a:ext cx="86409" cy="46085"/>
            </a:xfrm>
            <a:custGeom>
              <a:avLst/>
              <a:gdLst>
                <a:gd name="T0" fmla="*/ 104 w 131"/>
                <a:gd name="T1" fmla="*/ 69 h 70"/>
                <a:gd name="T2" fmla="*/ 104 w 131"/>
                <a:gd name="T3" fmla="*/ 69 h 70"/>
                <a:gd name="T4" fmla="*/ 130 w 131"/>
                <a:gd name="T5" fmla="*/ 58 h 70"/>
                <a:gd name="T6" fmla="*/ 130 w 131"/>
                <a:gd name="T7" fmla="*/ 58 h 70"/>
                <a:gd name="T8" fmla="*/ 0 w 131"/>
                <a:gd name="T9" fmla="*/ 13 h 70"/>
                <a:gd name="T10" fmla="*/ 0 w 131"/>
                <a:gd name="T11" fmla="*/ 13 h 70"/>
                <a:gd name="T12" fmla="*/ 104 w 131"/>
                <a:gd name="T13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70">
                  <a:moveTo>
                    <a:pt x="104" y="69"/>
                  </a:moveTo>
                  <a:lnTo>
                    <a:pt x="104" y="69"/>
                  </a:lnTo>
                  <a:cubicBezTo>
                    <a:pt x="119" y="69"/>
                    <a:pt x="124" y="67"/>
                    <a:pt x="130" y="58"/>
                  </a:cubicBezTo>
                  <a:lnTo>
                    <a:pt x="130" y="58"/>
                  </a:lnTo>
                  <a:cubicBezTo>
                    <a:pt x="91" y="36"/>
                    <a:pt x="57" y="0"/>
                    <a:pt x="0" y="13"/>
                  </a:cubicBezTo>
                  <a:lnTo>
                    <a:pt x="0" y="13"/>
                  </a:lnTo>
                  <a:cubicBezTo>
                    <a:pt x="21" y="30"/>
                    <a:pt x="75" y="69"/>
                    <a:pt x="104" y="69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3" name="Freeform 171">
              <a:extLst>
                <a:ext uri="{FF2B5EF4-FFF2-40B4-BE49-F238E27FC236}">
                  <a16:creationId xmlns:a16="http://schemas.microsoft.com/office/drawing/2014/main" id="{F8593FEB-7481-F143-BDC8-DDDE187D2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5096" y="5175906"/>
              <a:ext cx="66248" cy="40324"/>
            </a:xfrm>
            <a:custGeom>
              <a:avLst/>
              <a:gdLst>
                <a:gd name="T0" fmla="*/ 7 w 103"/>
                <a:gd name="T1" fmla="*/ 0 h 62"/>
                <a:gd name="T2" fmla="*/ 7 w 103"/>
                <a:gd name="T3" fmla="*/ 0 h 62"/>
                <a:gd name="T4" fmla="*/ 48 w 103"/>
                <a:gd name="T5" fmla="*/ 30 h 62"/>
                <a:gd name="T6" fmla="*/ 102 w 103"/>
                <a:gd name="T7" fmla="*/ 30 h 62"/>
                <a:gd name="T8" fmla="*/ 102 w 103"/>
                <a:gd name="T9" fmla="*/ 41 h 62"/>
                <a:gd name="T10" fmla="*/ 102 w 103"/>
                <a:gd name="T11" fmla="*/ 41 h 62"/>
                <a:gd name="T12" fmla="*/ 81 w 103"/>
                <a:gd name="T13" fmla="*/ 61 h 62"/>
                <a:gd name="T14" fmla="*/ 81 w 103"/>
                <a:gd name="T15" fmla="*/ 61 h 62"/>
                <a:gd name="T16" fmla="*/ 0 w 103"/>
                <a:gd name="T17" fmla="*/ 13 h 62"/>
                <a:gd name="T18" fmla="*/ 0 w 103"/>
                <a:gd name="T19" fmla="*/ 13 h 62"/>
                <a:gd name="T20" fmla="*/ 7 w 103"/>
                <a:gd name="T2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62">
                  <a:moveTo>
                    <a:pt x="7" y="0"/>
                  </a:moveTo>
                  <a:lnTo>
                    <a:pt x="7" y="0"/>
                  </a:lnTo>
                  <a:cubicBezTo>
                    <a:pt x="16" y="19"/>
                    <a:pt x="29" y="26"/>
                    <a:pt x="48" y="30"/>
                  </a:cubicBezTo>
                  <a:lnTo>
                    <a:pt x="102" y="30"/>
                  </a:lnTo>
                  <a:lnTo>
                    <a:pt x="102" y="41"/>
                  </a:lnTo>
                  <a:lnTo>
                    <a:pt x="102" y="41"/>
                  </a:lnTo>
                  <a:cubicBezTo>
                    <a:pt x="102" y="51"/>
                    <a:pt x="84" y="61"/>
                    <a:pt x="81" y="61"/>
                  </a:cubicBezTo>
                  <a:lnTo>
                    <a:pt x="81" y="61"/>
                  </a:lnTo>
                  <a:cubicBezTo>
                    <a:pt x="68" y="61"/>
                    <a:pt x="0" y="26"/>
                    <a:pt x="0" y="13"/>
                  </a:cubicBezTo>
                  <a:lnTo>
                    <a:pt x="0" y="13"/>
                  </a:lnTo>
                  <a:cubicBezTo>
                    <a:pt x="0" y="8"/>
                    <a:pt x="4" y="2"/>
                    <a:pt x="7" y="0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4" name="Freeform 172">
              <a:extLst>
                <a:ext uri="{FF2B5EF4-FFF2-40B4-BE49-F238E27FC236}">
                  <a16:creationId xmlns:a16="http://schemas.microsoft.com/office/drawing/2014/main" id="{AF30CF0D-E340-AE4A-AC1A-B330184933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10146" y="5175905"/>
              <a:ext cx="46085" cy="54725"/>
            </a:xfrm>
            <a:custGeom>
              <a:avLst/>
              <a:gdLst>
                <a:gd name="T0" fmla="*/ 70 w 71"/>
                <a:gd name="T1" fmla="*/ 46 h 83"/>
                <a:gd name="T2" fmla="*/ 70 w 71"/>
                <a:gd name="T3" fmla="*/ 59 h 83"/>
                <a:gd name="T4" fmla="*/ 70 w 71"/>
                <a:gd name="T5" fmla="*/ 59 h 83"/>
                <a:gd name="T6" fmla="*/ 29 w 71"/>
                <a:gd name="T7" fmla="*/ 82 h 83"/>
                <a:gd name="T8" fmla="*/ 29 w 71"/>
                <a:gd name="T9" fmla="*/ 82 h 83"/>
                <a:gd name="T10" fmla="*/ 0 w 71"/>
                <a:gd name="T11" fmla="*/ 62 h 83"/>
                <a:gd name="T12" fmla="*/ 0 w 71"/>
                <a:gd name="T13" fmla="*/ 62 h 83"/>
                <a:gd name="T14" fmla="*/ 42 w 71"/>
                <a:gd name="T15" fmla="*/ 0 h 83"/>
                <a:gd name="T16" fmla="*/ 42 w 71"/>
                <a:gd name="T17" fmla="*/ 0 h 83"/>
                <a:gd name="T18" fmla="*/ 55 w 71"/>
                <a:gd name="T19" fmla="*/ 18 h 83"/>
                <a:gd name="T20" fmla="*/ 55 w 71"/>
                <a:gd name="T21" fmla="*/ 18 h 83"/>
                <a:gd name="T22" fmla="*/ 70 w 71"/>
                <a:gd name="T23" fmla="*/ 4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83">
                  <a:moveTo>
                    <a:pt x="70" y="46"/>
                  </a:moveTo>
                  <a:lnTo>
                    <a:pt x="70" y="59"/>
                  </a:lnTo>
                  <a:lnTo>
                    <a:pt x="70" y="59"/>
                  </a:lnTo>
                  <a:cubicBezTo>
                    <a:pt x="70" y="72"/>
                    <a:pt x="49" y="82"/>
                    <a:pt x="29" y="82"/>
                  </a:cubicBezTo>
                  <a:lnTo>
                    <a:pt x="29" y="82"/>
                  </a:lnTo>
                  <a:cubicBezTo>
                    <a:pt x="11" y="82"/>
                    <a:pt x="0" y="73"/>
                    <a:pt x="0" y="62"/>
                  </a:cubicBezTo>
                  <a:lnTo>
                    <a:pt x="0" y="62"/>
                  </a:lnTo>
                  <a:cubicBezTo>
                    <a:pt x="0" y="51"/>
                    <a:pt x="26" y="6"/>
                    <a:pt x="42" y="0"/>
                  </a:cubicBezTo>
                  <a:lnTo>
                    <a:pt x="42" y="0"/>
                  </a:lnTo>
                  <a:cubicBezTo>
                    <a:pt x="46" y="8"/>
                    <a:pt x="55" y="11"/>
                    <a:pt x="55" y="18"/>
                  </a:cubicBezTo>
                  <a:lnTo>
                    <a:pt x="55" y="18"/>
                  </a:lnTo>
                  <a:cubicBezTo>
                    <a:pt x="55" y="35"/>
                    <a:pt x="28" y="46"/>
                    <a:pt x="70" y="46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5" name="Freeform 173">
              <a:extLst>
                <a:ext uri="{FF2B5EF4-FFF2-40B4-BE49-F238E27FC236}">
                  <a16:creationId xmlns:a16="http://schemas.microsoft.com/office/drawing/2014/main" id="{D5D105CF-F44C-0646-8A9A-350B0D79B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6887" y="4553760"/>
              <a:ext cx="54727" cy="23042"/>
            </a:xfrm>
            <a:custGeom>
              <a:avLst/>
              <a:gdLst>
                <a:gd name="T0" fmla="*/ 27 w 83"/>
                <a:gd name="T1" fmla="*/ 16 h 36"/>
                <a:gd name="T2" fmla="*/ 27 w 83"/>
                <a:gd name="T3" fmla="*/ 16 h 36"/>
                <a:gd name="T4" fmla="*/ 54 w 83"/>
                <a:gd name="T5" fmla="*/ 3 h 36"/>
                <a:gd name="T6" fmla="*/ 54 w 83"/>
                <a:gd name="T7" fmla="*/ 3 h 36"/>
                <a:gd name="T8" fmla="*/ 82 w 83"/>
                <a:gd name="T9" fmla="*/ 35 h 36"/>
                <a:gd name="T10" fmla="*/ 21 w 83"/>
                <a:gd name="T11" fmla="*/ 35 h 36"/>
                <a:gd name="T12" fmla="*/ 21 w 83"/>
                <a:gd name="T13" fmla="*/ 35 h 36"/>
                <a:gd name="T14" fmla="*/ 0 w 83"/>
                <a:gd name="T15" fmla="*/ 16 h 36"/>
                <a:gd name="T16" fmla="*/ 27 w 83"/>
                <a:gd name="T17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36">
                  <a:moveTo>
                    <a:pt x="27" y="16"/>
                  </a:moveTo>
                  <a:lnTo>
                    <a:pt x="27" y="16"/>
                  </a:lnTo>
                  <a:cubicBezTo>
                    <a:pt x="34" y="0"/>
                    <a:pt x="40" y="3"/>
                    <a:pt x="54" y="3"/>
                  </a:cubicBezTo>
                  <a:lnTo>
                    <a:pt x="54" y="3"/>
                  </a:lnTo>
                  <a:cubicBezTo>
                    <a:pt x="77" y="3"/>
                    <a:pt x="78" y="16"/>
                    <a:pt x="82" y="35"/>
                  </a:cubicBezTo>
                  <a:lnTo>
                    <a:pt x="21" y="35"/>
                  </a:lnTo>
                  <a:lnTo>
                    <a:pt x="21" y="35"/>
                  </a:lnTo>
                  <a:cubicBezTo>
                    <a:pt x="14" y="29"/>
                    <a:pt x="3" y="23"/>
                    <a:pt x="0" y="16"/>
                  </a:cubicBezTo>
                  <a:lnTo>
                    <a:pt x="27" y="16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6" name="Freeform 174">
              <a:extLst>
                <a:ext uri="{FF2B5EF4-FFF2-40B4-BE49-F238E27FC236}">
                  <a16:creationId xmlns:a16="http://schemas.microsoft.com/office/drawing/2014/main" id="{B6070535-C0D9-E745-86F7-6D8D88C8A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4369" y="6247379"/>
              <a:ext cx="28803" cy="25922"/>
            </a:xfrm>
            <a:custGeom>
              <a:avLst/>
              <a:gdLst>
                <a:gd name="T0" fmla="*/ 44 w 45"/>
                <a:gd name="T1" fmla="*/ 17 h 40"/>
                <a:gd name="T2" fmla="*/ 44 w 45"/>
                <a:gd name="T3" fmla="*/ 29 h 40"/>
                <a:gd name="T4" fmla="*/ 44 w 45"/>
                <a:gd name="T5" fmla="*/ 29 h 40"/>
                <a:gd name="T6" fmla="*/ 11 w 45"/>
                <a:gd name="T7" fmla="*/ 39 h 40"/>
                <a:gd name="T8" fmla="*/ 11 w 45"/>
                <a:gd name="T9" fmla="*/ 39 h 40"/>
                <a:gd name="T10" fmla="*/ 0 w 45"/>
                <a:gd name="T11" fmla="*/ 26 h 40"/>
                <a:gd name="T12" fmla="*/ 0 w 45"/>
                <a:gd name="T13" fmla="*/ 26 h 40"/>
                <a:gd name="T14" fmla="*/ 0 w 45"/>
                <a:gd name="T15" fmla="*/ 0 h 40"/>
                <a:gd name="T16" fmla="*/ 0 w 45"/>
                <a:gd name="T17" fmla="*/ 0 h 40"/>
                <a:gd name="T18" fmla="*/ 44 w 45"/>
                <a:gd name="T19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0">
                  <a:moveTo>
                    <a:pt x="44" y="17"/>
                  </a:moveTo>
                  <a:lnTo>
                    <a:pt x="44" y="29"/>
                  </a:lnTo>
                  <a:lnTo>
                    <a:pt x="44" y="29"/>
                  </a:lnTo>
                  <a:cubicBezTo>
                    <a:pt x="29" y="33"/>
                    <a:pt x="24" y="39"/>
                    <a:pt x="11" y="39"/>
                  </a:cubicBezTo>
                  <a:lnTo>
                    <a:pt x="11" y="39"/>
                  </a:lnTo>
                  <a:cubicBezTo>
                    <a:pt x="6" y="39"/>
                    <a:pt x="0" y="31"/>
                    <a:pt x="0" y="26"/>
                  </a:cubicBezTo>
                  <a:lnTo>
                    <a:pt x="0" y="26"/>
                  </a:lnTo>
                  <a:cubicBezTo>
                    <a:pt x="0" y="15"/>
                    <a:pt x="1" y="9"/>
                    <a:pt x="0" y="0"/>
                  </a:cubicBezTo>
                  <a:lnTo>
                    <a:pt x="0" y="0"/>
                  </a:lnTo>
                  <a:cubicBezTo>
                    <a:pt x="20" y="0"/>
                    <a:pt x="33" y="5"/>
                    <a:pt x="44" y="1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7" name="Freeform 175">
              <a:extLst>
                <a:ext uri="{FF2B5EF4-FFF2-40B4-BE49-F238E27FC236}">
                  <a16:creationId xmlns:a16="http://schemas.microsoft.com/office/drawing/2014/main" id="{C21016C1-8CF7-7E4E-97D8-F3274C64D5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1327" y="6207054"/>
              <a:ext cx="17282" cy="11521"/>
            </a:xfrm>
            <a:custGeom>
              <a:avLst/>
              <a:gdLst>
                <a:gd name="T0" fmla="*/ 24 w 25"/>
                <a:gd name="T1" fmla="*/ 14 h 19"/>
                <a:gd name="T2" fmla="*/ 24 w 25"/>
                <a:gd name="T3" fmla="*/ 14 h 19"/>
                <a:gd name="T4" fmla="*/ 16 w 25"/>
                <a:gd name="T5" fmla="*/ 18 h 19"/>
                <a:gd name="T6" fmla="*/ 16 w 25"/>
                <a:gd name="T7" fmla="*/ 18 h 19"/>
                <a:gd name="T8" fmla="*/ 0 w 25"/>
                <a:gd name="T9" fmla="*/ 0 h 19"/>
                <a:gd name="T10" fmla="*/ 0 w 25"/>
                <a:gd name="T11" fmla="*/ 0 h 19"/>
                <a:gd name="T12" fmla="*/ 24 w 25"/>
                <a:gd name="T13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9">
                  <a:moveTo>
                    <a:pt x="24" y="14"/>
                  </a:moveTo>
                  <a:lnTo>
                    <a:pt x="24" y="14"/>
                  </a:lnTo>
                  <a:cubicBezTo>
                    <a:pt x="24" y="14"/>
                    <a:pt x="18" y="18"/>
                    <a:pt x="16" y="18"/>
                  </a:cubicBezTo>
                  <a:lnTo>
                    <a:pt x="16" y="18"/>
                  </a:lnTo>
                  <a:cubicBezTo>
                    <a:pt x="8" y="18"/>
                    <a:pt x="6" y="5"/>
                    <a:pt x="0" y="0"/>
                  </a:cubicBezTo>
                  <a:lnTo>
                    <a:pt x="0" y="0"/>
                  </a:lnTo>
                  <a:cubicBezTo>
                    <a:pt x="10" y="0"/>
                    <a:pt x="18" y="7"/>
                    <a:pt x="24" y="14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8" name="Freeform 176">
              <a:extLst>
                <a:ext uri="{FF2B5EF4-FFF2-40B4-BE49-F238E27FC236}">
                  <a16:creationId xmlns:a16="http://schemas.microsoft.com/office/drawing/2014/main" id="{95DA4ABF-A764-4D49-87E4-D45533096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9643" y="6195532"/>
              <a:ext cx="23042" cy="11521"/>
            </a:xfrm>
            <a:custGeom>
              <a:avLst/>
              <a:gdLst>
                <a:gd name="T0" fmla="*/ 33 w 34"/>
                <a:gd name="T1" fmla="*/ 0 h 16"/>
                <a:gd name="T2" fmla="*/ 33 w 34"/>
                <a:gd name="T3" fmla="*/ 0 h 16"/>
                <a:gd name="T4" fmla="*/ 10 w 34"/>
                <a:gd name="T5" fmla="*/ 15 h 16"/>
                <a:gd name="T6" fmla="*/ 10 w 34"/>
                <a:gd name="T7" fmla="*/ 15 h 16"/>
                <a:gd name="T8" fmla="*/ 0 w 34"/>
                <a:gd name="T9" fmla="*/ 0 h 16"/>
                <a:gd name="T10" fmla="*/ 33 w 3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16">
                  <a:moveTo>
                    <a:pt x="33" y="0"/>
                  </a:moveTo>
                  <a:lnTo>
                    <a:pt x="33" y="0"/>
                  </a:lnTo>
                  <a:cubicBezTo>
                    <a:pt x="28" y="8"/>
                    <a:pt x="19" y="15"/>
                    <a:pt x="10" y="15"/>
                  </a:cubicBezTo>
                  <a:lnTo>
                    <a:pt x="10" y="15"/>
                  </a:lnTo>
                  <a:cubicBezTo>
                    <a:pt x="4" y="15"/>
                    <a:pt x="0" y="6"/>
                    <a:pt x="0" y="0"/>
                  </a:cubicBezTo>
                  <a:lnTo>
                    <a:pt x="33" y="0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49" name="Freeform 177">
              <a:extLst>
                <a:ext uri="{FF2B5EF4-FFF2-40B4-BE49-F238E27FC236}">
                  <a16:creationId xmlns:a16="http://schemas.microsoft.com/office/drawing/2014/main" id="{64F44093-E7E1-BF4B-AEEB-757BEE8196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0841" y="6181130"/>
              <a:ext cx="17282" cy="14402"/>
            </a:xfrm>
            <a:custGeom>
              <a:avLst/>
              <a:gdLst>
                <a:gd name="T0" fmla="*/ 10 w 27"/>
                <a:gd name="T1" fmla="*/ 4 h 20"/>
                <a:gd name="T2" fmla="*/ 10 w 27"/>
                <a:gd name="T3" fmla="*/ 4 h 20"/>
                <a:gd name="T4" fmla="*/ 26 w 27"/>
                <a:gd name="T5" fmla="*/ 0 h 20"/>
                <a:gd name="T6" fmla="*/ 26 w 27"/>
                <a:gd name="T7" fmla="*/ 11 h 20"/>
                <a:gd name="T8" fmla="*/ 26 w 27"/>
                <a:gd name="T9" fmla="*/ 11 h 20"/>
                <a:gd name="T10" fmla="*/ 17 w 27"/>
                <a:gd name="T11" fmla="*/ 19 h 20"/>
                <a:gd name="T12" fmla="*/ 17 w 27"/>
                <a:gd name="T13" fmla="*/ 19 h 20"/>
                <a:gd name="T14" fmla="*/ 0 w 27"/>
                <a:gd name="T15" fmla="*/ 6 h 20"/>
                <a:gd name="T16" fmla="*/ 0 w 27"/>
                <a:gd name="T17" fmla="*/ 6 h 20"/>
                <a:gd name="T18" fmla="*/ 13 w 27"/>
                <a:gd name="T19" fmla="*/ 4 h 20"/>
                <a:gd name="T20" fmla="*/ 10 w 27"/>
                <a:gd name="T21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20">
                  <a:moveTo>
                    <a:pt x="10" y="4"/>
                  </a:moveTo>
                  <a:lnTo>
                    <a:pt x="10" y="4"/>
                  </a:lnTo>
                  <a:cubicBezTo>
                    <a:pt x="15" y="2"/>
                    <a:pt x="20" y="0"/>
                    <a:pt x="26" y="0"/>
                  </a:cubicBezTo>
                  <a:lnTo>
                    <a:pt x="26" y="11"/>
                  </a:lnTo>
                  <a:lnTo>
                    <a:pt x="26" y="11"/>
                  </a:lnTo>
                  <a:cubicBezTo>
                    <a:pt x="26" y="15"/>
                    <a:pt x="20" y="19"/>
                    <a:pt x="17" y="19"/>
                  </a:cubicBezTo>
                  <a:lnTo>
                    <a:pt x="17" y="19"/>
                  </a:lnTo>
                  <a:cubicBezTo>
                    <a:pt x="10" y="19"/>
                    <a:pt x="0" y="6"/>
                    <a:pt x="0" y="6"/>
                  </a:cubicBezTo>
                  <a:lnTo>
                    <a:pt x="0" y="6"/>
                  </a:lnTo>
                  <a:cubicBezTo>
                    <a:pt x="4" y="4"/>
                    <a:pt x="10" y="4"/>
                    <a:pt x="13" y="4"/>
                  </a:cubicBezTo>
                  <a:lnTo>
                    <a:pt x="10" y="4"/>
                  </a:ln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250" name="Freeform 178">
              <a:extLst>
                <a:ext uri="{FF2B5EF4-FFF2-40B4-BE49-F238E27FC236}">
                  <a16:creationId xmlns:a16="http://schemas.microsoft.com/office/drawing/2014/main" id="{41FC2DE6-1A94-CD48-858A-8EEEE3801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1875" y="6155209"/>
              <a:ext cx="20163" cy="14401"/>
            </a:xfrm>
            <a:custGeom>
              <a:avLst/>
              <a:gdLst>
                <a:gd name="T0" fmla="*/ 26 w 29"/>
                <a:gd name="T1" fmla="*/ 7 h 23"/>
                <a:gd name="T2" fmla="*/ 26 w 29"/>
                <a:gd name="T3" fmla="*/ 7 h 23"/>
                <a:gd name="T4" fmla="*/ 28 w 29"/>
                <a:gd name="T5" fmla="*/ 22 h 23"/>
                <a:gd name="T6" fmla="*/ 15 w 29"/>
                <a:gd name="T7" fmla="*/ 22 h 23"/>
                <a:gd name="T8" fmla="*/ 15 w 29"/>
                <a:gd name="T9" fmla="*/ 22 h 23"/>
                <a:gd name="T10" fmla="*/ 0 w 29"/>
                <a:gd name="T11" fmla="*/ 9 h 23"/>
                <a:gd name="T12" fmla="*/ 0 w 29"/>
                <a:gd name="T13" fmla="*/ 9 h 23"/>
                <a:gd name="T14" fmla="*/ 11 w 29"/>
                <a:gd name="T15" fmla="*/ 0 h 23"/>
                <a:gd name="T16" fmla="*/ 11 w 29"/>
                <a:gd name="T17" fmla="*/ 0 h 23"/>
                <a:gd name="T18" fmla="*/ 26 w 29"/>
                <a:gd name="T1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3">
                  <a:moveTo>
                    <a:pt x="26" y="7"/>
                  </a:moveTo>
                  <a:lnTo>
                    <a:pt x="26" y="7"/>
                  </a:lnTo>
                  <a:cubicBezTo>
                    <a:pt x="26" y="13"/>
                    <a:pt x="26" y="17"/>
                    <a:pt x="28" y="22"/>
                  </a:cubicBezTo>
                  <a:lnTo>
                    <a:pt x="15" y="22"/>
                  </a:lnTo>
                  <a:lnTo>
                    <a:pt x="15" y="22"/>
                  </a:lnTo>
                  <a:cubicBezTo>
                    <a:pt x="9" y="22"/>
                    <a:pt x="0" y="15"/>
                    <a:pt x="0" y="9"/>
                  </a:cubicBezTo>
                  <a:lnTo>
                    <a:pt x="0" y="9"/>
                  </a:lnTo>
                  <a:cubicBezTo>
                    <a:pt x="4" y="7"/>
                    <a:pt x="9" y="4"/>
                    <a:pt x="11" y="0"/>
                  </a:cubicBezTo>
                  <a:lnTo>
                    <a:pt x="11" y="0"/>
                  </a:lnTo>
                  <a:cubicBezTo>
                    <a:pt x="15" y="4"/>
                    <a:pt x="21" y="7"/>
                    <a:pt x="26" y="7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234" name="Freeform 233">
            <a:extLst>
              <a:ext uri="{FF2B5EF4-FFF2-40B4-BE49-F238E27FC236}">
                <a16:creationId xmlns:a16="http://schemas.microsoft.com/office/drawing/2014/main" id="{49A61B1D-6DE5-9F49-AB09-030C145B8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072244"/>
            <a:ext cx="12301050" cy="11643756"/>
          </a:xfrm>
          <a:custGeom>
            <a:avLst/>
            <a:gdLst>
              <a:gd name="connsiteX0" fmla="*/ 0 w 12301050"/>
              <a:gd name="connsiteY0" fmla="*/ 0 h 11643756"/>
              <a:gd name="connsiteX1" fmla="*/ 2779879 w 12301050"/>
              <a:gd name="connsiteY1" fmla="*/ 2780161 h 11643756"/>
              <a:gd name="connsiteX2" fmla="*/ 2779057 w 12301050"/>
              <a:gd name="connsiteY2" fmla="*/ 2780161 h 11643756"/>
              <a:gd name="connsiteX3" fmla="*/ 2779057 w 12301050"/>
              <a:gd name="connsiteY3" fmla="*/ 5980759 h 11643756"/>
              <a:gd name="connsiteX4" fmla="*/ 4516583 w 12301050"/>
              <a:gd name="connsiteY4" fmla="*/ 7719284 h 11643756"/>
              <a:gd name="connsiteX5" fmla="*/ 6254110 w 12301050"/>
              <a:gd name="connsiteY5" fmla="*/ 5980759 h 11643756"/>
              <a:gd name="connsiteX6" fmla="*/ 6254931 w 12301050"/>
              <a:gd name="connsiteY6" fmla="*/ 5980759 h 11643756"/>
              <a:gd name="connsiteX7" fmla="*/ 9033987 w 12301050"/>
              <a:gd name="connsiteY7" fmla="*/ 3200599 h 11643756"/>
              <a:gd name="connsiteX8" fmla="*/ 11813864 w 12301050"/>
              <a:gd name="connsiteY8" fmla="*/ 5960190 h 11643756"/>
              <a:gd name="connsiteX9" fmla="*/ 11815511 w 12301050"/>
              <a:gd name="connsiteY9" fmla="*/ 5960190 h 11643756"/>
              <a:gd name="connsiteX10" fmla="*/ 11815511 w 12301050"/>
              <a:gd name="connsiteY10" fmla="*/ 10446787 h 11643756"/>
              <a:gd name="connsiteX11" fmla="*/ 11818801 w 12301050"/>
              <a:gd name="connsiteY11" fmla="*/ 10477229 h 11643756"/>
              <a:gd name="connsiteX12" fmla="*/ 11816333 w 12301050"/>
              <a:gd name="connsiteY12" fmla="*/ 10477229 h 11643756"/>
              <a:gd name="connsiteX13" fmla="*/ 12224525 w 12301050"/>
              <a:gd name="connsiteY13" fmla="*/ 11561200 h 11643756"/>
              <a:gd name="connsiteX14" fmla="*/ 12301050 w 12301050"/>
              <a:gd name="connsiteY14" fmla="*/ 11643756 h 11643756"/>
              <a:gd name="connsiteX15" fmla="*/ 11049701 w 12301050"/>
              <a:gd name="connsiteY15" fmla="*/ 11643756 h 11643756"/>
              <a:gd name="connsiteX16" fmla="*/ 10989823 w 12301050"/>
              <a:gd name="connsiteY16" fmla="*/ 11518851 h 11643756"/>
              <a:gd name="connsiteX17" fmla="*/ 10773159 w 12301050"/>
              <a:gd name="connsiteY17" fmla="*/ 10441028 h 11643756"/>
              <a:gd name="connsiteX18" fmla="*/ 10774804 w 12301050"/>
              <a:gd name="connsiteY18" fmla="*/ 10441028 h 11643756"/>
              <a:gd name="connsiteX19" fmla="*/ 10774804 w 12301050"/>
              <a:gd name="connsiteY19" fmla="*/ 5980759 h 11643756"/>
              <a:gd name="connsiteX20" fmla="*/ 10771513 w 12301050"/>
              <a:gd name="connsiteY20" fmla="*/ 5980759 h 11643756"/>
              <a:gd name="connsiteX21" fmla="*/ 9033987 w 12301050"/>
              <a:gd name="connsiteY21" fmla="*/ 4243879 h 11643756"/>
              <a:gd name="connsiteX22" fmla="*/ 7297282 w 12301050"/>
              <a:gd name="connsiteY22" fmla="*/ 5980759 h 11643756"/>
              <a:gd name="connsiteX23" fmla="*/ 7296461 w 12301050"/>
              <a:gd name="connsiteY23" fmla="*/ 5980759 h 11643756"/>
              <a:gd name="connsiteX24" fmla="*/ 4516583 w 12301050"/>
              <a:gd name="connsiteY24" fmla="*/ 8761742 h 11643756"/>
              <a:gd name="connsiteX25" fmla="*/ 1736705 w 12301050"/>
              <a:gd name="connsiteY25" fmla="*/ 5980759 h 11643756"/>
              <a:gd name="connsiteX26" fmla="*/ 1737527 w 12301050"/>
              <a:gd name="connsiteY26" fmla="*/ 5980759 h 11643756"/>
              <a:gd name="connsiteX27" fmla="*/ 1737527 w 12301050"/>
              <a:gd name="connsiteY27" fmla="*/ 2780161 h 11643756"/>
              <a:gd name="connsiteX28" fmla="*/ 0 w 12301050"/>
              <a:gd name="connsiteY28" fmla="*/ 1042458 h 11643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301050" h="11643756">
                <a:moveTo>
                  <a:pt x="0" y="0"/>
                </a:moveTo>
                <a:cubicBezTo>
                  <a:pt x="1535145" y="0"/>
                  <a:pt x="2779879" y="1244861"/>
                  <a:pt x="2779879" y="2780161"/>
                </a:cubicBezTo>
                <a:lnTo>
                  <a:pt x="2779057" y="2780161"/>
                </a:lnTo>
                <a:lnTo>
                  <a:pt x="2779057" y="5980759"/>
                </a:lnTo>
                <a:cubicBezTo>
                  <a:pt x="2779057" y="6940939"/>
                  <a:pt x="3557323" y="7719284"/>
                  <a:pt x="4516583" y="7719284"/>
                </a:cubicBezTo>
                <a:cubicBezTo>
                  <a:pt x="5475843" y="7719284"/>
                  <a:pt x="6254110" y="6940939"/>
                  <a:pt x="6254110" y="5980759"/>
                </a:cubicBezTo>
                <a:lnTo>
                  <a:pt x="6254931" y="5980759"/>
                </a:lnTo>
                <a:cubicBezTo>
                  <a:pt x="6254931" y="4446283"/>
                  <a:pt x="7499665" y="3200599"/>
                  <a:pt x="9033987" y="3200599"/>
                </a:cubicBezTo>
                <a:cubicBezTo>
                  <a:pt x="10562549" y="3200599"/>
                  <a:pt x="11802348" y="4434764"/>
                  <a:pt x="11813864" y="5960190"/>
                </a:cubicBezTo>
                <a:lnTo>
                  <a:pt x="11815511" y="5960190"/>
                </a:lnTo>
                <a:lnTo>
                  <a:pt x="11815511" y="10446787"/>
                </a:lnTo>
                <a:lnTo>
                  <a:pt x="11818801" y="10477229"/>
                </a:lnTo>
                <a:lnTo>
                  <a:pt x="11816333" y="10477229"/>
                </a:lnTo>
                <a:cubicBezTo>
                  <a:pt x="11824611" y="10889748"/>
                  <a:pt x="11976658" y="11267148"/>
                  <a:pt x="12224525" y="11561200"/>
                </a:cubicBezTo>
                <a:lnTo>
                  <a:pt x="12301050" y="11643756"/>
                </a:lnTo>
                <a:lnTo>
                  <a:pt x="11049701" y="11643756"/>
                </a:lnTo>
                <a:lnTo>
                  <a:pt x="10989823" y="11518851"/>
                </a:lnTo>
                <a:cubicBezTo>
                  <a:pt x="10850286" y="11187388"/>
                  <a:pt x="10773159" y="10823207"/>
                  <a:pt x="10773159" y="10441028"/>
                </a:cubicBezTo>
                <a:lnTo>
                  <a:pt x="10774804" y="10441028"/>
                </a:lnTo>
                <a:lnTo>
                  <a:pt x="10774804" y="5980759"/>
                </a:lnTo>
                <a:lnTo>
                  <a:pt x="10771513" y="5980759"/>
                </a:lnTo>
                <a:cubicBezTo>
                  <a:pt x="10771513" y="5022226"/>
                  <a:pt x="9993246" y="4243879"/>
                  <a:pt x="9033987" y="4243879"/>
                </a:cubicBezTo>
                <a:cubicBezTo>
                  <a:pt x="8075550" y="4243879"/>
                  <a:pt x="7297282" y="5022226"/>
                  <a:pt x="7297282" y="5980759"/>
                </a:cubicBezTo>
                <a:lnTo>
                  <a:pt x="7296461" y="5980759"/>
                </a:lnTo>
                <a:cubicBezTo>
                  <a:pt x="7296461" y="7516882"/>
                  <a:pt x="6051727" y="8761742"/>
                  <a:pt x="4516583" y="8761742"/>
                </a:cubicBezTo>
                <a:cubicBezTo>
                  <a:pt x="2981439" y="8761742"/>
                  <a:pt x="1736705" y="7516882"/>
                  <a:pt x="1736705" y="5980759"/>
                </a:cubicBezTo>
                <a:lnTo>
                  <a:pt x="1737527" y="5980759"/>
                </a:lnTo>
                <a:lnTo>
                  <a:pt x="1737527" y="2780161"/>
                </a:lnTo>
                <a:cubicBezTo>
                  <a:pt x="1737527" y="1820804"/>
                  <a:pt x="959260" y="1042458"/>
                  <a:pt x="0" y="1042458"/>
                </a:cubicBezTo>
                <a:close/>
              </a:path>
            </a:pathLst>
          </a:custGeom>
          <a:solidFill>
            <a:schemeClr val="accent6">
              <a:alpha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32" name="Freeform 231">
            <a:extLst>
              <a:ext uri="{FF2B5EF4-FFF2-40B4-BE49-F238E27FC236}">
                <a16:creationId xmlns:a16="http://schemas.microsoft.com/office/drawing/2014/main" id="{3A11D2CF-0653-FD48-9AC4-678A26C74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79825"/>
            <a:ext cx="12853433" cy="12036175"/>
          </a:xfrm>
          <a:custGeom>
            <a:avLst/>
            <a:gdLst>
              <a:gd name="connsiteX0" fmla="*/ 1 w 12853433"/>
              <a:gd name="connsiteY0" fmla="*/ 0 h 12036175"/>
              <a:gd name="connsiteX1" fmla="*/ 260064 w 12853433"/>
              <a:gd name="connsiteY1" fmla="*/ 13070 h 12036175"/>
              <a:gd name="connsiteX2" fmla="*/ 1237515 w 12853433"/>
              <a:gd name="connsiteY2" fmla="*/ 300301 h 12036175"/>
              <a:gd name="connsiteX3" fmla="*/ 1389319 w 12853433"/>
              <a:gd name="connsiteY3" fmla="*/ 386502 h 12036175"/>
              <a:gd name="connsiteX4" fmla="*/ 1403514 w 12853433"/>
              <a:gd name="connsiteY4" fmla="*/ 386502 h 12036175"/>
              <a:gd name="connsiteX5" fmla="*/ 2779879 w 12853433"/>
              <a:gd name="connsiteY5" fmla="*/ 2787208 h 12036175"/>
              <a:gd name="connsiteX6" fmla="*/ 2779057 w 12853433"/>
              <a:gd name="connsiteY6" fmla="*/ 2787208 h 12036175"/>
              <a:gd name="connsiteX7" fmla="*/ 2779057 w 12853433"/>
              <a:gd name="connsiteY7" fmla="*/ 5986777 h 12036175"/>
              <a:gd name="connsiteX8" fmla="*/ 4516584 w 12853433"/>
              <a:gd name="connsiteY8" fmla="*/ 7725191 h 12036175"/>
              <a:gd name="connsiteX9" fmla="*/ 6254110 w 12853433"/>
              <a:gd name="connsiteY9" fmla="*/ 5986777 h 12036175"/>
              <a:gd name="connsiteX10" fmla="*/ 6254932 w 12853433"/>
              <a:gd name="connsiteY10" fmla="*/ 5986777 h 12036175"/>
              <a:gd name="connsiteX11" fmla="*/ 9033987 w 12853433"/>
              <a:gd name="connsiteY11" fmla="*/ 3207619 h 12036175"/>
              <a:gd name="connsiteX12" fmla="*/ 11813864 w 12853433"/>
              <a:gd name="connsiteY12" fmla="*/ 5966210 h 12036175"/>
              <a:gd name="connsiteX13" fmla="*/ 11815511 w 12853433"/>
              <a:gd name="connsiteY13" fmla="*/ 5966210 h 12036175"/>
              <a:gd name="connsiteX14" fmla="*/ 11815511 w 12853433"/>
              <a:gd name="connsiteY14" fmla="*/ 10452516 h 12036175"/>
              <a:gd name="connsiteX15" fmla="*/ 11818801 w 12853433"/>
              <a:gd name="connsiteY15" fmla="*/ 10482958 h 12036175"/>
              <a:gd name="connsiteX16" fmla="*/ 11816333 w 12853433"/>
              <a:gd name="connsiteY16" fmla="*/ 10482958 h 12036175"/>
              <a:gd name="connsiteX17" fmla="*/ 12734356 w 12853433"/>
              <a:gd name="connsiteY17" fmla="*/ 11979643 h 12036175"/>
              <a:gd name="connsiteX18" fmla="*/ 12853433 w 12853433"/>
              <a:gd name="connsiteY18" fmla="*/ 12036175 h 12036175"/>
              <a:gd name="connsiteX19" fmla="*/ 11274491 w 12853433"/>
              <a:gd name="connsiteY19" fmla="*/ 12036175 h 12036175"/>
              <a:gd name="connsiteX20" fmla="*/ 11244094 w 12853433"/>
              <a:gd name="connsiteY20" fmla="*/ 11995298 h 12036175"/>
              <a:gd name="connsiteX21" fmla="*/ 10773159 w 12853433"/>
              <a:gd name="connsiteY21" fmla="*/ 10446757 h 12036175"/>
              <a:gd name="connsiteX22" fmla="*/ 10774804 w 12853433"/>
              <a:gd name="connsiteY22" fmla="*/ 10446757 h 12036175"/>
              <a:gd name="connsiteX23" fmla="*/ 10774804 w 12853433"/>
              <a:gd name="connsiteY23" fmla="*/ 5986777 h 12036175"/>
              <a:gd name="connsiteX24" fmla="*/ 10771513 w 12853433"/>
              <a:gd name="connsiteY24" fmla="*/ 5986777 h 12036175"/>
              <a:gd name="connsiteX25" fmla="*/ 9033987 w 12853433"/>
              <a:gd name="connsiteY25" fmla="*/ 4250009 h 12036175"/>
              <a:gd name="connsiteX26" fmla="*/ 7297283 w 12853433"/>
              <a:gd name="connsiteY26" fmla="*/ 5986777 h 12036175"/>
              <a:gd name="connsiteX27" fmla="*/ 7296462 w 12853433"/>
              <a:gd name="connsiteY27" fmla="*/ 5986777 h 12036175"/>
              <a:gd name="connsiteX28" fmla="*/ 4516584 w 12853433"/>
              <a:gd name="connsiteY28" fmla="*/ 8767580 h 12036175"/>
              <a:gd name="connsiteX29" fmla="*/ 1736705 w 12853433"/>
              <a:gd name="connsiteY29" fmla="*/ 5986777 h 12036175"/>
              <a:gd name="connsiteX30" fmla="*/ 1737528 w 12853433"/>
              <a:gd name="connsiteY30" fmla="*/ 5986777 h 12036175"/>
              <a:gd name="connsiteX31" fmla="*/ 1737528 w 12853433"/>
              <a:gd name="connsiteY31" fmla="*/ 3984465 h 12036175"/>
              <a:gd name="connsiteX32" fmla="*/ 1717889 w 12853433"/>
              <a:gd name="connsiteY32" fmla="*/ 3984465 h 12036175"/>
              <a:gd name="connsiteX33" fmla="*/ 1717889 w 12853433"/>
              <a:gd name="connsiteY33" fmla="*/ 2778007 h 12036175"/>
              <a:gd name="connsiteX34" fmla="*/ 1714598 w 12853433"/>
              <a:gd name="connsiteY34" fmla="*/ 2778007 h 12036175"/>
              <a:gd name="connsiteX35" fmla="*/ 767929 w 12853433"/>
              <a:gd name="connsiteY35" fmla="*/ 1231374 h 12036175"/>
              <a:gd name="connsiteX36" fmla="*/ 637762 w 12853433"/>
              <a:gd name="connsiteY36" fmla="*/ 1172043 h 12036175"/>
              <a:gd name="connsiteX37" fmla="*/ 551059 w 12853433"/>
              <a:gd name="connsiteY37" fmla="*/ 1140319 h 12036175"/>
              <a:gd name="connsiteX38" fmla="*/ 510111 w 12853433"/>
              <a:gd name="connsiteY38" fmla="*/ 1126038 h 12036175"/>
              <a:gd name="connsiteX39" fmla="*/ 350072 w 12853433"/>
              <a:gd name="connsiteY39" fmla="*/ 1084899 h 12036175"/>
              <a:gd name="connsiteX40" fmla="*/ 0 w 12853433"/>
              <a:gd name="connsiteY40" fmla="*/ 1049617 h 12036175"/>
              <a:gd name="connsiteX41" fmla="*/ 0 w 12853433"/>
              <a:gd name="connsiteY41" fmla="*/ 1048794 h 12036175"/>
              <a:gd name="connsiteX42" fmla="*/ 0 w 12853433"/>
              <a:gd name="connsiteY42" fmla="*/ 386502 h 12036175"/>
              <a:gd name="connsiteX43" fmla="*/ 1 w 12853433"/>
              <a:gd name="connsiteY43" fmla="*/ 386502 h 12036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2853433" h="12036175">
                <a:moveTo>
                  <a:pt x="1" y="0"/>
                </a:moveTo>
                <a:lnTo>
                  <a:pt x="260064" y="13070"/>
                </a:lnTo>
                <a:cubicBezTo>
                  <a:pt x="609001" y="48339"/>
                  <a:pt x="938850" y="148122"/>
                  <a:pt x="1237515" y="300301"/>
                </a:cubicBezTo>
                <a:lnTo>
                  <a:pt x="1389319" y="386502"/>
                </a:lnTo>
                <a:lnTo>
                  <a:pt x="1403514" y="386502"/>
                </a:lnTo>
                <a:cubicBezTo>
                  <a:pt x="2227029" y="869441"/>
                  <a:pt x="2779879" y="1762918"/>
                  <a:pt x="2779879" y="2787208"/>
                </a:cubicBezTo>
                <a:lnTo>
                  <a:pt x="2779057" y="2787208"/>
                </a:lnTo>
                <a:lnTo>
                  <a:pt x="2779057" y="5986777"/>
                </a:lnTo>
                <a:cubicBezTo>
                  <a:pt x="2779057" y="6946895"/>
                  <a:pt x="3557323" y="7725191"/>
                  <a:pt x="4516584" y="7725191"/>
                </a:cubicBezTo>
                <a:cubicBezTo>
                  <a:pt x="5475843" y="7725191"/>
                  <a:pt x="6254110" y="6946895"/>
                  <a:pt x="6254110" y="5986777"/>
                </a:cubicBezTo>
                <a:lnTo>
                  <a:pt x="6254932" y="5986777"/>
                </a:lnTo>
                <a:cubicBezTo>
                  <a:pt x="6254932" y="4452399"/>
                  <a:pt x="7499666" y="3207619"/>
                  <a:pt x="9033987" y="3207619"/>
                </a:cubicBezTo>
                <a:cubicBezTo>
                  <a:pt x="10562549" y="3207619"/>
                  <a:pt x="11802348" y="4440882"/>
                  <a:pt x="11813864" y="5966210"/>
                </a:cubicBezTo>
                <a:lnTo>
                  <a:pt x="11815511" y="5966210"/>
                </a:lnTo>
                <a:lnTo>
                  <a:pt x="11815511" y="10452516"/>
                </a:lnTo>
                <a:lnTo>
                  <a:pt x="11818801" y="10482958"/>
                </a:lnTo>
                <a:lnTo>
                  <a:pt x="11816333" y="10482958"/>
                </a:lnTo>
                <a:cubicBezTo>
                  <a:pt x="11829342" y="11131161"/>
                  <a:pt x="12197371" y="11692258"/>
                  <a:pt x="12734356" y="11979643"/>
                </a:cubicBezTo>
                <a:lnTo>
                  <a:pt x="12853433" y="12036175"/>
                </a:lnTo>
                <a:lnTo>
                  <a:pt x="11274491" y="12036175"/>
                </a:lnTo>
                <a:lnTo>
                  <a:pt x="11244094" y="11995298"/>
                </a:lnTo>
                <a:cubicBezTo>
                  <a:pt x="10946696" y="11552729"/>
                  <a:pt x="10773159" y="11019990"/>
                  <a:pt x="10773159" y="10446757"/>
                </a:cubicBezTo>
                <a:lnTo>
                  <a:pt x="10774804" y="10446757"/>
                </a:lnTo>
                <a:lnTo>
                  <a:pt x="10774804" y="5986777"/>
                </a:lnTo>
                <a:lnTo>
                  <a:pt x="10771513" y="5986777"/>
                </a:lnTo>
                <a:cubicBezTo>
                  <a:pt x="10771513" y="5028307"/>
                  <a:pt x="9993246" y="4250009"/>
                  <a:pt x="9033987" y="4250009"/>
                </a:cubicBezTo>
                <a:cubicBezTo>
                  <a:pt x="8075551" y="4250009"/>
                  <a:pt x="7297283" y="5028307"/>
                  <a:pt x="7297283" y="5986777"/>
                </a:cubicBezTo>
                <a:lnTo>
                  <a:pt x="7296462" y="5986777"/>
                </a:lnTo>
                <a:cubicBezTo>
                  <a:pt x="7296462" y="7522801"/>
                  <a:pt x="6051728" y="8767580"/>
                  <a:pt x="4516584" y="8767580"/>
                </a:cubicBezTo>
                <a:cubicBezTo>
                  <a:pt x="2981439" y="8767580"/>
                  <a:pt x="1736705" y="7522801"/>
                  <a:pt x="1736705" y="5986777"/>
                </a:cubicBezTo>
                <a:lnTo>
                  <a:pt x="1737528" y="5986777"/>
                </a:lnTo>
                <a:lnTo>
                  <a:pt x="1737528" y="3984465"/>
                </a:lnTo>
                <a:lnTo>
                  <a:pt x="1717889" y="3984465"/>
                </a:lnTo>
                <a:lnTo>
                  <a:pt x="1717889" y="2778007"/>
                </a:lnTo>
                <a:lnTo>
                  <a:pt x="1714598" y="2778007"/>
                </a:lnTo>
                <a:cubicBezTo>
                  <a:pt x="1714598" y="2104081"/>
                  <a:pt x="1329835" y="1519232"/>
                  <a:pt x="767929" y="1231374"/>
                </a:cubicBezTo>
                <a:lnTo>
                  <a:pt x="637762" y="1172043"/>
                </a:lnTo>
                <a:lnTo>
                  <a:pt x="551059" y="1140319"/>
                </a:lnTo>
                <a:lnTo>
                  <a:pt x="510111" y="1126038"/>
                </a:lnTo>
                <a:lnTo>
                  <a:pt x="350072" y="1084899"/>
                </a:lnTo>
                <a:cubicBezTo>
                  <a:pt x="236987" y="1061765"/>
                  <a:pt x="119908" y="1049617"/>
                  <a:pt x="0" y="1049617"/>
                </a:cubicBezTo>
                <a:lnTo>
                  <a:pt x="0" y="1048794"/>
                </a:lnTo>
                <a:lnTo>
                  <a:pt x="0" y="386502"/>
                </a:lnTo>
                <a:lnTo>
                  <a:pt x="1" y="386502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36" name="Freeform 235">
            <a:extLst>
              <a:ext uri="{FF2B5EF4-FFF2-40B4-BE49-F238E27FC236}">
                <a16:creationId xmlns:a16="http://schemas.microsoft.com/office/drawing/2014/main" id="{81AFA9D3-6BB0-514E-B805-63F5587E9D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737" y="2260736"/>
            <a:ext cx="11328128" cy="11455265"/>
          </a:xfrm>
          <a:custGeom>
            <a:avLst/>
            <a:gdLst>
              <a:gd name="connsiteX0" fmla="*/ 11152887 w 11328128"/>
              <a:gd name="connsiteY0" fmla="*/ 11187937 h 11455265"/>
              <a:gd name="connsiteX1" fmla="*/ 11328128 w 11328128"/>
              <a:gd name="connsiteY1" fmla="*/ 11440525 h 11455265"/>
              <a:gd name="connsiteX2" fmla="*/ 11310335 w 11328128"/>
              <a:gd name="connsiteY2" fmla="*/ 11455265 h 11455265"/>
              <a:gd name="connsiteX3" fmla="*/ 11160340 w 11328128"/>
              <a:gd name="connsiteY3" fmla="*/ 11455265 h 11455265"/>
              <a:gd name="connsiteX4" fmla="*/ 11119362 w 11328128"/>
              <a:gd name="connsiteY4" fmla="*/ 11400724 h 11455265"/>
              <a:gd name="connsiteX5" fmla="*/ 11029478 w 11328128"/>
              <a:gd name="connsiteY5" fmla="*/ 11260340 h 11455265"/>
              <a:gd name="connsiteX6" fmla="*/ 10909360 w 11328128"/>
              <a:gd name="connsiteY6" fmla="*/ 10616939 h 11455265"/>
              <a:gd name="connsiteX7" fmla="*/ 11014669 w 11328128"/>
              <a:gd name="connsiteY7" fmla="*/ 10910666 h 11455265"/>
              <a:gd name="connsiteX8" fmla="*/ 10882210 w 11328128"/>
              <a:gd name="connsiteY8" fmla="*/ 10965791 h 11455265"/>
              <a:gd name="connsiteX9" fmla="*/ 10771965 w 11328128"/>
              <a:gd name="connsiteY9" fmla="*/ 10658077 h 11455265"/>
              <a:gd name="connsiteX10" fmla="*/ 10786774 w 11328128"/>
              <a:gd name="connsiteY10" fmla="*/ 10002335 h 11455265"/>
              <a:gd name="connsiteX11" fmla="*/ 10834492 w 11328128"/>
              <a:gd name="connsiteY11" fmla="*/ 10312517 h 11455265"/>
              <a:gd name="connsiteX12" fmla="*/ 10693806 w 11328128"/>
              <a:gd name="connsiteY12" fmla="*/ 10340490 h 11455265"/>
              <a:gd name="connsiteX13" fmla="*/ 10645265 w 11328128"/>
              <a:gd name="connsiteY13" fmla="*/ 10017967 h 11455265"/>
              <a:gd name="connsiteX14" fmla="*/ 10623874 w 11328128"/>
              <a:gd name="connsiteY14" fmla="*/ 9370452 h 11455265"/>
              <a:gd name="connsiteX15" fmla="*/ 10767028 w 11328128"/>
              <a:gd name="connsiteY15" fmla="*/ 9370452 h 11455265"/>
              <a:gd name="connsiteX16" fmla="*/ 10767028 w 11328128"/>
              <a:gd name="connsiteY16" fmla="*/ 9615636 h 11455265"/>
              <a:gd name="connsiteX17" fmla="*/ 10767028 w 11328128"/>
              <a:gd name="connsiteY17" fmla="*/ 9654306 h 11455265"/>
              <a:gd name="connsiteX18" fmla="*/ 10767028 w 11328128"/>
              <a:gd name="connsiteY18" fmla="*/ 9689685 h 11455265"/>
              <a:gd name="connsiteX19" fmla="*/ 10623874 w 11328128"/>
              <a:gd name="connsiteY19" fmla="*/ 9691330 h 11455265"/>
              <a:gd name="connsiteX20" fmla="*/ 10623051 w 11328128"/>
              <a:gd name="connsiteY20" fmla="*/ 9654306 h 11455265"/>
              <a:gd name="connsiteX21" fmla="*/ 10623874 w 11328128"/>
              <a:gd name="connsiteY21" fmla="*/ 9611522 h 11455265"/>
              <a:gd name="connsiteX22" fmla="*/ 10623874 w 11328128"/>
              <a:gd name="connsiteY22" fmla="*/ 8731988 h 11455265"/>
              <a:gd name="connsiteX23" fmla="*/ 10767028 w 11328128"/>
              <a:gd name="connsiteY23" fmla="*/ 8731988 h 11455265"/>
              <a:gd name="connsiteX24" fmla="*/ 10767028 w 11328128"/>
              <a:gd name="connsiteY24" fmla="*/ 9051220 h 11455265"/>
              <a:gd name="connsiteX25" fmla="*/ 10623874 w 11328128"/>
              <a:gd name="connsiteY25" fmla="*/ 9051220 h 11455265"/>
              <a:gd name="connsiteX26" fmla="*/ 10623874 w 11328128"/>
              <a:gd name="connsiteY26" fmla="*/ 8092701 h 11455265"/>
              <a:gd name="connsiteX27" fmla="*/ 10767028 w 11328128"/>
              <a:gd name="connsiteY27" fmla="*/ 8092701 h 11455265"/>
              <a:gd name="connsiteX28" fmla="*/ 10767028 w 11328128"/>
              <a:gd name="connsiteY28" fmla="*/ 8412756 h 11455265"/>
              <a:gd name="connsiteX29" fmla="*/ 10623874 w 11328128"/>
              <a:gd name="connsiteY29" fmla="*/ 8412756 h 11455265"/>
              <a:gd name="connsiteX30" fmla="*/ 4125977 w 11328128"/>
              <a:gd name="connsiteY30" fmla="*/ 7569423 h 11455265"/>
              <a:gd name="connsiteX31" fmla="*/ 4145722 w 11328128"/>
              <a:gd name="connsiteY31" fmla="*/ 7710939 h 11455265"/>
              <a:gd name="connsiteX32" fmla="*/ 3819922 w 11328128"/>
              <a:gd name="connsiteY32" fmla="*/ 7738090 h 11455265"/>
              <a:gd name="connsiteX33" fmla="*/ 3816631 w 11328128"/>
              <a:gd name="connsiteY33" fmla="*/ 7594106 h 11455265"/>
              <a:gd name="connsiteX34" fmla="*/ 4125977 w 11328128"/>
              <a:gd name="connsiteY34" fmla="*/ 7569423 h 11455265"/>
              <a:gd name="connsiteX35" fmla="*/ 3200408 w 11328128"/>
              <a:gd name="connsiteY35" fmla="*/ 7537335 h 11455265"/>
              <a:gd name="connsiteX36" fmla="*/ 3505640 w 11328128"/>
              <a:gd name="connsiteY36" fmla="*/ 7585879 h 11455265"/>
              <a:gd name="connsiteX37" fmla="*/ 3493299 w 11328128"/>
              <a:gd name="connsiteY37" fmla="*/ 7728217 h 11455265"/>
              <a:gd name="connsiteX38" fmla="*/ 3168322 w 11328128"/>
              <a:gd name="connsiteY38" fmla="*/ 7677205 h 11455265"/>
              <a:gd name="connsiteX39" fmla="*/ 10623874 w 11328128"/>
              <a:gd name="connsiteY39" fmla="*/ 7453413 h 11455265"/>
              <a:gd name="connsiteX40" fmla="*/ 10767028 w 11328128"/>
              <a:gd name="connsiteY40" fmla="*/ 7453413 h 11455265"/>
              <a:gd name="connsiteX41" fmla="*/ 10767028 w 11328128"/>
              <a:gd name="connsiteY41" fmla="*/ 7773469 h 11455265"/>
              <a:gd name="connsiteX42" fmla="*/ 10623874 w 11328128"/>
              <a:gd name="connsiteY42" fmla="*/ 7773469 h 11455265"/>
              <a:gd name="connsiteX43" fmla="*/ 4719986 w 11328128"/>
              <a:gd name="connsiteY43" fmla="*/ 7405693 h 11455265"/>
              <a:gd name="connsiteX44" fmla="*/ 4777577 w 11328128"/>
              <a:gd name="connsiteY44" fmla="*/ 7537335 h 11455265"/>
              <a:gd name="connsiteX45" fmla="*/ 4466586 w 11328128"/>
              <a:gd name="connsiteY45" fmla="*/ 7645941 h 11455265"/>
              <a:gd name="connsiteX46" fmla="*/ 4428740 w 11328128"/>
              <a:gd name="connsiteY46" fmla="*/ 7507716 h 11455265"/>
              <a:gd name="connsiteX47" fmla="*/ 4719986 w 11328128"/>
              <a:gd name="connsiteY47" fmla="*/ 7405693 h 11455265"/>
              <a:gd name="connsiteX48" fmla="*/ 2635195 w 11328128"/>
              <a:gd name="connsiteY48" fmla="*/ 7306139 h 11455265"/>
              <a:gd name="connsiteX49" fmla="*/ 2907518 w 11328128"/>
              <a:gd name="connsiteY49" fmla="*/ 7445186 h 11455265"/>
              <a:gd name="connsiteX50" fmla="*/ 2854040 w 11328128"/>
              <a:gd name="connsiteY50" fmla="*/ 7577651 h 11455265"/>
              <a:gd name="connsiteX51" fmla="*/ 2558681 w 11328128"/>
              <a:gd name="connsiteY51" fmla="*/ 7427908 h 11455265"/>
              <a:gd name="connsiteX52" fmla="*/ 5242417 w 11328128"/>
              <a:gd name="connsiteY52" fmla="*/ 7080702 h 11455265"/>
              <a:gd name="connsiteX53" fmla="*/ 5335385 w 11328128"/>
              <a:gd name="connsiteY53" fmla="*/ 7189307 h 11455265"/>
              <a:gd name="connsiteX54" fmla="*/ 5068822 w 11328128"/>
              <a:gd name="connsiteY54" fmla="*/ 7384301 h 11455265"/>
              <a:gd name="connsiteX55" fmla="*/ 4993131 w 11328128"/>
              <a:gd name="connsiteY55" fmla="*/ 7262533 h 11455265"/>
              <a:gd name="connsiteX56" fmla="*/ 5242417 w 11328128"/>
              <a:gd name="connsiteY56" fmla="*/ 7080702 h 11455265"/>
              <a:gd name="connsiteX57" fmla="*/ 2179404 w 11328128"/>
              <a:gd name="connsiteY57" fmla="*/ 6898871 h 11455265"/>
              <a:gd name="connsiteX58" fmla="*/ 2390022 w 11328128"/>
              <a:gd name="connsiteY58" fmla="*/ 7121840 h 11455265"/>
              <a:gd name="connsiteX59" fmla="*/ 2294586 w 11328128"/>
              <a:gd name="connsiteY59" fmla="*/ 7228799 h 11455265"/>
              <a:gd name="connsiteX60" fmla="*/ 2067513 w 11328128"/>
              <a:gd name="connsiteY60" fmla="*/ 6987729 h 11455265"/>
              <a:gd name="connsiteX61" fmla="*/ 10623874 w 11328128"/>
              <a:gd name="connsiteY61" fmla="*/ 6814949 h 11455265"/>
              <a:gd name="connsiteX62" fmla="*/ 10767028 w 11328128"/>
              <a:gd name="connsiteY62" fmla="*/ 6814949 h 11455265"/>
              <a:gd name="connsiteX63" fmla="*/ 10767028 w 11328128"/>
              <a:gd name="connsiteY63" fmla="*/ 7134181 h 11455265"/>
              <a:gd name="connsiteX64" fmla="*/ 10623874 w 11328128"/>
              <a:gd name="connsiteY64" fmla="*/ 7134181 h 11455265"/>
              <a:gd name="connsiteX65" fmla="*/ 5652135 w 11328128"/>
              <a:gd name="connsiteY65" fmla="*/ 6618309 h 11455265"/>
              <a:gd name="connsiteX66" fmla="*/ 5770608 w 11328128"/>
              <a:gd name="connsiteY66" fmla="*/ 6698939 h 11455265"/>
              <a:gd name="connsiteX67" fmla="*/ 5569039 w 11328128"/>
              <a:gd name="connsiteY67" fmla="*/ 6958110 h 11455265"/>
              <a:gd name="connsiteX68" fmla="*/ 5462085 w 11328128"/>
              <a:gd name="connsiteY68" fmla="*/ 6863493 h 11455265"/>
              <a:gd name="connsiteX69" fmla="*/ 5652135 w 11328128"/>
              <a:gd name="connsiteY69" fmla="*/ 6618309 h 11455265"/>
              <a:gd name="connsiteX70" fmla="*/ 1864300 w 11328128"/>
              <a:gd name="connsiteY70" fmla="*/ 6366543 h 11455265"/>
              <a:gd name="connsiteX71" fmla="*/ 2004163 w 11328128"/>
              <a:gd name="connsiteY71" fmla="*/ 6643815 h 11455265"/>
              <a:gd name="connsiteX72" fmla="*/ 1880754 w 11328128"/>
              <a:gd name="connsiteY72" fmla="*/ 6716217 h 11455265"/>
              <a:gd name="connsiteX73" fmla="*/ 1732663 w 11328128"/>
              <a:gd name="connsiteY73" fmla="*/ 6423314 h 11455265"/>
              <a:gd name="connsiteX74" fmla="*/ 10623874 w 11328128"/>
              <a:gd name="connsiteY74" fmla="*/ 6175662 h 11455265"/>
              <a:gd name="connsiteX75" fmla="*/ 10767028 w 11328128"/>
              <a:gd name="connsiteY75" fmla="*/ 6175662 h 11455265"/>
              <a:gd name="connsiteX76" fmla="*/ 10767028 w 11328128"/>
              <a:gd name="connsiteY76" fmla="*/ 6495717 h 11455265"/>
              <a:gd name="connsiteX77" fmla="*/ 10623874 w 11328128"/>
              <a:gd name="connsiteY77" fmla="*/ 6495717 h 11455265"/>
              <a:gd name="connsiteX78" fmla="*/ 5936799 w 11328128"/>
              <a:gd name="connsiteY78" fmla="*/ 6065412 h 11455265"/>
              <a:gd name="connsiteX79" fmla="*/ 6070080 w 11328128"/>
              <a:gd name="connsiteY79" fmla="*/ 6116423 h 11455265"/>
              <a:gd name="connsiteX80" fmla="*/ 5936799 w 11328128"/>
              <a:gd name="connsiteY80" fmla="*/ 6415909 h 11455265"/>
              <a:gd name="connsiteX81" fmla="*/ 5810099 w 11328128"/>
              <a:gd name="connsiteY81" fmla="*/ 6350911 h 11455265"/>
              <a:gd name="connsiteX82" fmla="*/ 5936799 w 11328128"/>
              <a:gd name="connsiteY82" fmla="*/ 6065412 h 11455265"/>
              <a:gd name="connsiteX83" fmla="*/ 1681654 w 11328128"/>
              <a:gd name="connsiteY83" fmla="*/ 5770863 h 11455265"/>
              <a:gd name="connsiteX84" fmla="*/ 1757345 w 11328128"/>
              <a:gd name="connsiteY84" fmla="*/ 6073640 h 11455265"/>
              <a:gd name="connsiteX85" fmla="*/ 1619950 w 11328128"/>
              <a:gd name="connsiteY85" fmla="*/ 6115601 h 11455265"/>
              <a:gd name="connsiteX86" fmla="*/ 1540968 w 11328128"/>
              <a:gd name="connsiteY86" fmla="*/ 5798014 h 11455265"/>
              <a:gd name="connsiteX87" fmla="*/ 10623874 w 11328128"/>
              <a:gd name="connsiteY87" fmla="*/ 5538021 h 11455265"/>
              <a:gd name="connsiteX88" fmla="*/ 10767028 w 11328128"/>
              <a:gd name="connsiteY88" fmla="*/ 5538021 h 11455265"/>
              <a:gd name="connsiteX89" fmla="*/ 10767028 w 11328128"/>
              <a:gd name="connsiteY89" fmla="*/ 5857253 h 11455265"/>
              <a:gd name="connsiteX90" fmla="*/ 10623874 w 11328128"/>
              <a:gd name="connsiteY90" fmla="*/ 5857253 h 11455265"/>
              <a:gd name="connsiteX91" fmla="*/ 6061031 w 11328128"/>
              <a:gd name="connsiteY91" fmla="*/ 5443403 h 11455265"/>
              <a:gd name="connsiteX92" fmla="*/ 6199249 w 11328128"/>
              <a:gd name="connsiteY92" fmla="*/ 5482073 h 11455265"/>
              <a:gd name="connsiteX93" fmla="*/ 6130139 w 11328128"/>
              <a:gd name="connsiteY93" fmla="*/ 5787318 h 11455265"/>
              <a:gd name="connsiteX94" fmla="*/ 5988631 w 11328128"/>
              <a:gd name="connsiteY94" fmla="*/ 5761812 h 11455265"/>
              <a:gd name="connsiteX95" fmla="*/ 6061031 w 11328128"/>
              <a:gd name="connsiteY95" fmla="*/ 5443403 h 11455265"/>
              <a:gd name="connsiteX96" fmla="*/ 1505591 w 11328128"/>
              <a:gd name="connsiteY96" fmla="*/ 5146385 h 11455265"/>
              <a:gd name="connsiteX97" fmla="*/ 1647923 w 11328128"/>
              <a:gd name="connsiteY97" fmla="*/ 5146385 h 11455265"/>
              <a:gd name="connsiteX98" fmla="*/ 1647923 w 11328128"/>
              <a:gd name="connsiteY98" fmla="*/ 5466440 h 11455265"/>
              <a:gd name="connsiteX99" fmla="*/ 1505591 w 11328128"/>
              <a:gd name="connsiteY99" fmla="*/ 5466440 h 11455265"/>
              <a:gd name="connsiteX100" fmla="*/ 10693806 w 11328128"/>
              <a:gd name="connsiteY100" fmla="*/ 4886392 h 11455265"/>
              <a:gd name="connsiteX101" fmla="*/ 10753042 w 11328128"/>
              <a:gd name="connsiteY101" fmla="*/ 5208915 h 11455265"/>
              <a:gd name="connsiteX102" fmla="*/ 10611533 w 11328128"/>
              <a:gd name="connsiteY102" fmla="*/ 5227016 h 11455265"/>
              <a:gd name="connsiteX103" fmla="*/ 10554765 w 11328128"/>
              <a:gd name="connsiteY103" fmla="*/ 4920125 h 11455265"/>
              <a:gd name="connsiteX104" fmla="*/ 6166339 w 11328128"/>
              <a:gd name="connsiteY104" fmla="*/ 4817280 h 11455265"/>
              <a:gd name="connsiteX105" fmla="*/ 6304557 w 11328128"/>
              <a:gd name="connsiteY105" fmla="*/ 4855950 h 11455265"/>
              <a:gd name="connsiteX106" fmla="*/ 6234626 w 11328128"/>
              <a:gd name="connsiteY106" fmla="*/ 5162018 h 11455265"/>
              <a:gd name="connsiteX107" fmla="*/ 6093939 w 11328128"/>
              <a:gd name="connsiteY107" fmla="*/ 5135690 h 11455265"/>
              <a:gd name="connsiteX108" fmla="*/ 6166339 w 11328128"/>
              <a:gd name="connsiteY108" fmla="*/ 4817280 h 11455265"/>
              <a:gd name="connsiteX109" fmla="*/ 1505591 w 11328128"/>
              <a:gd name="connsiteY109" fmla="*/ 4507921 h 11455265"/>
              <a:gd name="connsiteX110" fmla="*/ 1647923 w 11328128"/>
              <a:gd name="connsiteY110" fmla="*/ 4507921 h 11455265"/>
              <a:gd name="connsiteX111" fmla="*/ 1647923 w 11328128"/>
              <a:gd name="connsiteY111" fmla="*/ 4827153 h 11455265"/>
              <a:gd name="connsiteX112" fmla="*/ 1505591 w 11328128"/>
              <a:gd name="connsiteY112" fmla="*/ 4827153 h 11455265"/>
              <a:gd name="connsiteX113" fmla="*/ 10469201 w 11328128"/>
              <a:gd name="connsiteY113" fmla="*/ 4270966 h 11455265"/>
              <a:gd name="connsiteX114" fmla="*/ 10599192 w 11328128"/>
              <a:gd name="connsiteY114" fmla="*/ 4572919 h 11455265"/>
              <a:gd name="connsiteX115" fmla="*/ 10465088 w 11328128"/>
              <a:gd name="connsiteY115" fmla="*/ 4621462 h 11455265"/>
              <a:gd name="connsiteX116" fmla="*/ 10341679 w 11328128"/>
              <a:gd name="connsiteY116" fmla="*/ 4335964 h 11455265"/>
              <a:gd name="connsiteX117" fmla="*/ 6407399 w 11328128"/>
              <a:gd name="connsiteY117" fmla="*/ 4209258 h 11455265"/>
              <a:gd name="connsiteX118" fmla="*/ 6534099 w 11328128"/>
              <a:gd name="connsiteY118" fmla="*/ 4277547 h 11455265"/>
              <a:gd name="connsiteX119" fmla="*/ 6402462 w 11328128"/>
              <a:gd name="connsiteY119" fmla="*/ 4559755 h 11455265"/>
              <a:gd name="connsiteX120" fmla="*/ 6270003 w 11328128"/>
              <a:gd name="connsiteY120" fmla="*/ 4507098 h 11455265"/>
              <a:gd name="connsiteX121" fmla="*/ 6407399 w 11328128"/>
              <a:gd name="connsiteY121" fmla="*/ 4209258 h 11455265"/>
              <a:gd name="connsiteX122" fmla="*/ 1505591 w 11328128"/>
              <a:gd name="connsiteY122" fmla="*/ 3868634 h 11455265"/>
              <a:gd name="connsiteX123" fmla="*/ 1647923 w 11328128"/>
              <a:gd name="connsiteY123" fmla="*/ 3868634 h 11455265"/>
              <a:gd name="connsiteX124" fmla="*/ 1647923 w 11328128"/>
              <a:gd name="connsiteY124" fmla="*/ 4188689 h 11455265"/>
              <a:gd name="connsiteX125" fmla="*/ 1505591 w 11328128"/>
              <a:gd name="connsiteY125" fmla="*/ 4188689 h 11455265"/>
              <a:gd name="connsiteX126" fmla="*/ 10092392 w 11328128"/>
              <a:gd name="connsiteY126" fmla="*/ 3732055 h 11455265"/>
              <a:gd name="connsiteX127" fmla="*/ 10300542 w 11328128"/>
              <a:gd name="connsiteY127" fmla="*/ 3988758 h 11455265"/>
              <a:gd name="connsiteX128" fmla="*/ 10182892 w 11328128"/>
              <a:gd name="connsiteY128" fmla="*/ 4070211 h 11455265"/>
              <a:gd name="connsiteX129" fmla="*/ 9988729 w 11328128"/>
              <a:gd name="connsiteY129" fmla="*/ 3831610 h 11455265"/>
              <a:gd name="connsiteX130" fmla="*/ 6800662 w 11328128"/>
              <a:gd name="connsiteY130" fmla="*/ 3681867 h 11455265"/>
              <a:gd name="connsiteX131" fmla="*/ 6901035 w 11328128"/>
              <a:gd name="connsiteY131" fmla="*/ 3783890 h 11455265"/>
              <a:gd name="connsiteX132" fmla="*/ 6699466 w 11328128"/>
              <a:gd name="connsiteY132" fmla="*/ 4016731 h 11455265"/>
              <a:gd name="connsiteX133" fmla="*/ 6584285 w 11328128"/>
              <a:gd name="connsiteY133" fmla="*/ 3931986 h 11455265"/>
              <a:gd name="connsiteX134" fmla="*/ 6800662 w 11328128"/>
              <a:gd name="connsiteY134" fmla="*/ 3681867 h 11455265"/>
              <a:gd name="connsiteX135" fmla="*/ 9573252 w 11328128"/>
              <a:gd name="connsiteY135" fmla="*/ 3339597 h 11455265"/>
              <a:gd name="connsiteX136" fmla="*/ 9836524 w 11328128"/>
              <a:gd name="connsiteY136" fmla="*/ 3506619 h 11455265"/>
              <a:gd name="connsiteX137" fmla="*/ 9760833 w 11328128"/>
              <a:gd name="connsiteY137" fmla="*/ 3623450 h 11455265"/>
              <a:gd name="connsiteX138" fmla="*/ 9516483 w 11328128"/>
              <a:gd name="connsiteY138" fmla="*/ 3469594 h 11455265"/>
              <a:gd name="connsiteX139" fmla="*/ 7340371 w 11328128"/>
              <a:gd name="connsiteY139" fmla="*/ 3304219 h 11455265"/>
              <a:gd name="connsiteX140" fmla="*/ 7402076 w 11328128"/>
              <a:gd name="connsiteY140" fmla="*/ 3433392 h 11455265"/>
              <a:gd name="connsiteX141" fmla="*/ 7136334 w 11328128"/>
              <a:gd name="connsiteY141" fmla="*/ 3588071 h 11455265"/>
              <a:gd name="connsiteX142" fmla="*/ 7054884 w 11328128"/>
              <a:gd name="connsiteY142" fmla="*/ 3470416 h 11455265"/>
              <a:gd name="connsiteX143" fmla="*/ 7340371 w 11328128"/>
              <a:gd name="connsiteY143" fmla="*/ 3304219 h 11455265"/>
              <a:gd name="connsiteX144" fmla="*/ 1505591 w 11328128"/>
              <a:gd name="connsiteY144" fmla="*/ 3230169 h 11455265"/>
              <a:gd name="connsiteX145" fmla="*/ 1647923 w 11328128"/>
              <a:gd name="connsiteY145" fmla="*/ 3230169 h 11455265"/>
              <a:gd name="connsiteX146" fmla="*/ 1647923 w 11328128"/>
              <a:gd name="connsiteY146" fmla="*/ 3549402 h 11455265"/>
              <a:gd name="connsiteX147" fmla="*/ 1505591 w 11328128"/>
              <a:gd name="connsiteY147" fmla="*/ 3549402 h 11455265"/>
              <a:gd name="connsiteX148" fmla="*/ 8943043 w 11328128"/>
              <a:gd name="connsiteY148" fmla="*/ 3127324 h 11455265"/>
              <a:gd name="connsiteX149" fmla="*/ 9260615 w 11328128"/>
              <a:gd name="connsiteY149" fmla="*/ 3209601 h 11455265"/>
              <a:gd name="connsiteX150" fmla="*/ 9215365 w 11328128"/>
              <a:gd name="connsiteY150" fmla="*/ 3345356 h 11455265"/>
              <a:gd name="connsiteX151" fmla="*/ 8916715 w 11328128"/>
              <a:gd name="connsiteY151" fmla="*/ 3268016 h 11455265"/>
              <a:gd name="connsiteX152" fmla="*/ 7968111 w 11328128"/>
              <a:gd name="connsiteY152" fmla="*/ 3114982 h 11455265"/>
              <a:gd name="connsiteX153" fmla="*/ 7990325 w 11328128"/>
              <a:gd name="connsiteY153" fmla="*/ 3256498 h 11455265"/>
              <a:gd name="connsiteX154" fmla="*/ 7688384 w 11328128"/>
              <a:gd name="connsiteY154" fmla="*/ 3323964 h 11455265"/>
              <a:gd name="connsiteX155" fmla="*/ 7647248 w 11328128"/>
              <a:gd name="connsiteY155" fmla="*/ 3186564 h 11455265"/>
              <a:gd name="connsiteX156" fmla="*/ 7968111 w 11328128"/>
              <a:gd name="connsiteY156" fmla="*/ 3114982 h 11455265"/>
              <a:gd name="connsiteX157" fmla="*/ 8428838 w 11328128"/>
              <a:gd name="connsiteY157" fmla="*/ 3080426 h 11455265"/>
              <a:gd name="connsiteX158" fmla="*/ 8618066 w 11328128"/>
              <a:gd name="connsiteY158" fmla="*/ 3087009 h 11455265"/>
              <a:gd name="connsiteX159" fmla="*/ 8609016 w 11328128"/>
              <a:gd name="connsiteY159" fmla="*/ 3230169 h 11455265"/>
              <a:gd name="connsiteX160" fmla="*/ 8428016 w 11328128"/>
              <a:gd name="connsiteY160" fmla="*/ 3223587 h 11455265"/>
              <a:gd name="connsiteX161" fmla="*/ 8298025 w 11328128"/>
              <a:gd name="connsiteY161" fmla="*/ 3226055 h 11455265"/>
              <a:gd name="connsiteX162" fmla="*/ 8292265 w 11328128"/>
              <a:gd name="connsiteY162" fmla="*/ 3082895 h 11455265"/>
              <a:gd name="connsiteX163" fmla="*/ 8428838 w 11328128"/>
              <a:gd name="connsiteY163" fmla="*/ 3080426 h 11455265"/>
              <a:gd name="connsiteX164" fmla="*/ 1505591 w 11328128"/>
              <a:gd name="connsiteY164" fmla="*/ 2591706 h 11455265"/>
              <a:gd name="connsiteX165" fmla="*/ 1647923 w 11328128"/>
              <a:gd name="connsiteY165" fmla="*/ 2591706 h 11455265"/>
              <a:gd name="connsiteX166" fmla="*/ 1647923 w 11328128"/>
              <a:gd name="connsiteY166" fmla="*/ 2910937 h 11455265"/>
              <a:gd name="connsiteX167" fmla="*/ 1505591 w 11328128"/>
              <a:gd name="connsiteY167" fmla="*/ 2910937 h 11455265"/>
              <a:gd name="connsiteX168" fmla="*/ 1625709 w 11328128"/>
              <a:gd name="connsiteY168" fmla="*/ 1941722 h 11455265"/>
              <a:gd name="connsiteX169" fmla="*/ 1647923 w 11328128"/>
              <a:gd name="connsiteY169" fmla="*/ 2187729 h 11455265"/>
              <a:gd name="connsiteX170" fmla="*/ 1647923 w 11328128"/>
              <a:gd name="connsiteY170" fmla="*/ 2271650 h 11455265"/>
              <a:gd name="connsiteX171" fmla="*/ 1505591 w 11328128"/>
              <a:gd name="connsiteY171" fmla="*/ 2271650 h 11455265"/>
              <a:gd name="connsiteX172" fmla="*/ 1505591 w 11328128"/>
              <a:gd name="connsiteY172" fmla="*/ 2187729 h 11455265"/>
              <a:gd name="connsiteX173" fmla="*/ 1484200 w 11328128"/>
              <a:gd name="connsiteY173" fmla="*/ 1963114 h 11455265"/>
              <a:gd name="connsiteX174" fmla="*/ 1448000 w 11328128"/>
              <a:gd name="connsiteY174" fmla="*/ 1309840 h 11455265"/>
              <a:gd name="connsiteX175" fmla="*/ 1556600 w 11328128"/>
              <a:gd name="connsiteY175" fmla="*/ 1620844 h 11455265"/>
              <a:gd name="connsiteX176" fmla="*/ 1418382 w 11328128"/>
              <a:gd name="connsiteY176" fmla="*/ 1659514 h 11455265"/>
              <a:gd name="connsiteX177" fmla="*/ 1315541 w 11328128"/>
              <a:gd name="connsiteY177" fmla="*/ 1366610 h 11455265"/>
              <a:gd name="connsiteX178" fmla="*/ 1113150 w 11328128"/>
              <a:gd name="connsiteY178" fmla="*/ 745424 h 11455265"/>
              <a:gd name="connsiteX179" fmla="*/ 1299909 w 11328128"/>
              <a:gd name="connsiteY179" fmla="*/ 1016113 h 11455265"/>
              <a:gd name="connsiteX180" fmla="*/ 1176500 w 11328128"/>
              <a:gd name="connsiteY180" fmla="*/ 1089339 h 11455265"/>
              <a:gd name="connsiteX181" fmla="*/ 1001259 w 11328128"/>
              <a:gd name="connsiteY181" fmla="*/ 835105 h 11455265"/>
              <a:gd name="connsiteX182" fmla="*/ 631855 w 11328128"/>
              <a:gd name="connsiteY182" fmla="*/ 297841 h 11455265"/>
              <a:gd name="connsiteX183" fmla="*/ 888545 w 11328128"/>
              <a:gd name="connsiteY183" fmla="*/ 504354 h 11455265"/>
              <a:gd name="connsiteX184" fmla="*/ 790641 w 11328128"/>
              <a:gd name="connsiteY184" fmla="*/ 608845 h 11455265"/>
              <a:gd name="connsiteX185" fmla="*/ 550405 w 11328128"/>
              <a:gd name="connsiteY185" fmla="*/ 415496 h 11455265"/>
              <a:gd name="connsiteX186" fmla="*/ 48541 w 11328128"/>
              <a:gd name="connsiteY186" fmla="*/ 0 h 11455265"/>
              <a:gd name="connsiteX187" fmla="*/ 349659 w 11328128"/>
              <a:gd name="connsiteY187" fmla="*/ 129997 h 11455265"/>
              <a:gd name="connsiteX188" fmla="*/ 284664 w 11328128"/>
              <a:gd name="connsiteY188" fmla="*/ 257525 h 11455265"/>
              <a:gd name="connsiteX189" fmla="*/ 0 w 11328128"/>
              <a:gd name="connsiteY189" fmla="*/ 134111 h 1145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11328128" h="11455265">
                <a:moveTo>
                  <a:pt x="11152887" y="11187937"/>
                </a:moveTo>
                <a:cubicBezTo>
                  <a:pt x="11206365" y="11278441"/>
                  <a:pt x="11264778" y="11363185"/>
                  <a:pt x="11328128" y="11440525"/>
                </a:cubicBezTo>
                <a:lnTo>
                  <a:pt x="11310335" y="11455265"/>
                </a:lnTo>
                <a:lnTo>
                  <a:pt x="11160340" y="11455265"/>
                </a:lnTo>
                <a:lnTo>
                  <a:pt x="11119362" y="11400724"/>
                </a:lnTo>
                <a:cubicBezTo>
                  <a:pt x="11087892" y="11355369"/>
                  <a:pt x="11057863" y="11308471"/>
                  <a:pt x="11029478" y="11260340"/>
                </a:cubicBezTo>
                <a:close/>
                <a:moveTo>
                  <a:pt x="10909360" y="10616939"/>
                </a:moveTo>
                <a:cubicBezTo>
                  <a:pt x="10939801" y="10718962"/>
                  <a:pt x="10975178" y="10817693"/>
                  <a:pt x="11014669" y="10910666"/>
                </a:cubicBezTo>
                <a:lnTo>
                  <a:pt x="10882210" y="10965791"/>
                </a:lnTo>
                <a:cubicBezTo>
                  <a:pt x="10841074" y="10868705"/>
                  <a:pt x="10804051" y="10765036"/>
                  <a:pt x="10771965" y="10658077"/>
                </a:cubicBezTo>
                <a:close/>
                <a:moveTo>
                  <a:pt x="10786774" y="10002335"/>
                </a:moveTo>
                <a:cubicBezTo>
                  <a:pt x="10799115" y="10107648"/>
                  <a:pt x="10814747" y="10211317"/>
                  <a:pt x="10834492" y="10312517"/>
                </a:cubicBezTo>
                <a:lnTo>
                  <a:pt x="10693806" y="10340490"/>
                </a:lnTo>
                <a:cubicBezTo>
                  <a:pt x="10673238" y="10235177"/>
                  <a:pt x="10656783" y="10126572"/>
                  <a:pt x="10645265" y="10017967"/>
                </a:cubicBezTo>
                <a:close/>
                <a:moveTo>
                  <a:pt x="10623874" y="9370452"/>
                </a:moveTo>
                <a:lnTo>
                  <a:pt x="10767028" y="9370452"/>
                </a:lnTo>
                <a:lnTo>
                  <a:pt x="10767028" y="9615636"/>
                </a:lnTo>
                <a:cubicBezTo>
                  <a:pt x="10767028" y="9615636"/>
                  <a:pt x="10767028" y="9629623"/>
                  <a:pt x="10767028" y="9654306"/>
                </a:cubicBezTo>
                <a:cubicBezTo>
                  <a:pt x="10767028" y="9664179"/>
                  <a:pt x="10767028" y="9675698"/>
                  <a:pt x="10767028" y="9689685"/>
                </a:cubicBezTo>
                <a:lnTo>
                  <a:pt x="10623874" y="9691330"/>
                </a:lnTo>
                <a:cubicBezTo>
                  <a:pt x="10623874" y="9677343"/>
                  <a:pt x="10623051" y="9665002"/>
                  <a:pt x="10623051" y="9654306"/>
                </a:cubicBezTo>
                <a:cubicBezTo>
                  <a:pt x="10623051" y="9631268"/>
                  <a:pt x="10623874" y="9615636"/>
                  <a:pt x="10623874" y="9611522"/>
                </a:cubicBezTo>
                <a:close/>
                <a:moveTo>
                  <a:pt x="10623874" y="8731988"/>
                </a:moveTo>
                <a:lnTo>
                  <a:pt x="10767028" y="8731988"/>
                </a:lnTo>
                <a:lnTo>
                  <a:pt x="10767028" y="9051220"/>
                </a:lnTo>
                <a:lnTo>
                  <a:pt x="10623874" y="9051220"/>
                </a:lnTo>
                <a:close/>
                <a:moveTo>
                  <a:pt x="10623874" y="8092701"/>
                </a:moveTo>
                <a:lnTo>
                  <a:pt x="10767028" y="8092701"/>
                </a:lnTo>
                <a:lnTo>
                  <a:pt x="10767028" y="8412756"/>
                </a:lnTo>
                <a:lnTo>
                  <a:pt x="10623874" y="8412756"/>
                </a:lnTo>
                <a:close/>
                <a:moveTo>
                  <a:pt x="4125977" y="7569423"/>
                </a:moveTo>
                <a:lnTo>
                  <a:pt x="4145722" y="7710939"/>
                </a:lnTo>
                <a:cubicBezTo>
                  <a:pt x="4040413" y="7725749"/>
                  <a:pt x="3930991" y="7734799"/>
                  <a:pt x="3819922" y="7738090"/>
                </a:cubicBezTo>
                <a:lnTo>
                  <a:pt x="3816631" y="7594106"/>
                </a:lnTo>
                <a:cubicBezTo>
                  <a:pt x="3921940" y="7591638"/>
                  <a:pt x="4026426" y="7583411"/>
                  <a:pt x="4125977" y="7569423"/>
                </a:cubicBezTo>
                <a:close/>
                <a:moveTo>
                  <a:pt x="3200408" y="7537335"/>
                </a:moveTo>
                <a:cubicBezTo>
                  <a:pt x="3297490" y="7560373"/>
                  <a:pt x="3400331" y="7576005"/>
                  <a:pt x="3505640" y="7585879"/>
                </a:cubicBezTo>
                <a:lnTo>
                  <a:pt x="3493299" y="7728217"/>
                </a:lnTo>
                <a:cubicBezTo>
                  <a:pt x="3380586" y="7718343"/>
                  <a:pt x="3271986" y="7701065"/>
                  <a:pt x="3168322" y="7677205"/>
                </a:cubicBezTo>
                <a:close/>
                <a:moveTo>
                  <a:pt x="10623874" y="7453413"/>
                </a:moveTo>
                <a:lnTo>
                  <a:pt x="10767028" y="7453413"/>
                </a:lnTo>
                <a:lnTo>
                  <a:pt x="10767028" y="7773469"/>
                </a:lnTo>
                <a:lnTo>
                  <a:pt x="10623874" y="7773469"/>
                </a:lnTo>
                <a:close/>
                <a:moveTo>
                  <a:pt x="4719986" y="7405693"/>
                </a:moveTo>
                <a:lnTo>
                  <a:pt x="4777577" y="7537335"/>
                </a:lnTo>
                <a:cubicBezTo>
                  <a:pt x="4678026" y="7580119"/>
                  <a:pt x="4573540" y="7616321"/>
                  <a:pt x="4466586" y="7645941"/>
                </a:cubicBezTo>
                <a:lnTo>
                  <a:pt x="4428740" y="7507716"/>
                </a:lnTo>
                <a:cubicBezTo>
                  <a:pt x="4529113" y="7480565"/>
                  <a:pt x="4627018" y="7446009"/>
                  <a:pt x="4719986" y="7405693"/>
                </a:cubicBezTo>
                <a:close/>
                <a:moveTo>
                  <a:pt x="2635195" y="7306139"/>
                </a:moveTo>
                <a:cubicBezTo>
                  <a:pt x="2720759" y="7359619"/>
                  <a:pt x="2812904" y="7406516"/>
                  <a:pt x="2907518" y="7445186"/>
                </a:cubicBezTo>
                <a:lnTo>
                  <a:pt x="2854040" y="7577651"/>
                </a:lnTo>
                <a:cubicBezTo>
                  <a:pt x="2751200" y="7535690"/>
                  <a:pt x="2651650" y="7485501"/>
                  <a:pt x="2558681" y="7427908"/>
                </a:cubicBezTo>
                <a:close/>
                <a:moveTo>
                  <a:pt x="5242417" y="7080702"/>
                </a:moveTo>
                <a:lnTo>
                  <a:pt x="5335385" y="7189307"/>
                </a:lnTo>
                <a:cubicBezTo>
                  <a:pt x="5250645" y="7260887"/>
                  <a:pt x="5161790" y="7325885"/>
                  <a:pt x="5068822" y="7384301"/>
                </a:cubicBezTo>
                <a:lnTo>
                  <a:pt x="4993131" y="7262533"/>
                </a:lnTo>
                <a:cubicBezTo>
                  <a:pt x="5079517" y="7209053"/>
                  <a:pt x="5163435" y="7147345"/>
                  <a:pt x="5242417" y="7080702"/>
                </a:cubicBezTo>
                <a:close/>
                <a:moveTo>
                  <a:pt x="2179404" y="6898871"/>
                </a:moveTo>
                <a:cubicBezTo>
                  <a:pt x="2244400" y="6979502"/>
                  <a:pt x="2315154" y="7054373"/>
                  <a:pt x="2390022" y="7121840"/>
                </a:cubicBezTo>
                <a:lnTo>
                  <a:pt x="2294586" y="7228799"/>
                </a:lnTo>
                <a:cubicBezTo>
                  <a:pt x="2213959" y="7156396"/>
                  <a:pt x="2137445" y="7074943"/>
                  <a:pt x="2067513" y="6987729"/>
                </a:cubicBezTo>
                <a:close/>
                <a:moveTo>
                  <a:pt x="10623874" y="6814949"/>
                </a:moveTo>
                <a:lnTo>
                  <a:pt x="10767028" y="6814949"/>
                </a:lnTo>
                <a:lnTo>
                  <a:pt x="10767028" y="7134181"/>
                </a:lnTo>
                <a:lnTo>
                  <a:pt x="10623874" y="7134181"/>
                </a:lnTo>
                <a:close/>
                <a:moveTo>
                  <a:pt x="5652135" y="6618309"/>
                </a:moveTo>
                <a:lnTo>
                  <a:pt x="5770608" y="6698939"/>
                </a:lnTo>
                <a:cubicBezTo>
                  <a:pt x="5708903" y="6790267"/>
                  <a:pt x="5640617" y="6877479"/>
                  <a:pt x="5569039" y="6958110"/>
                </a:cubicBezTo>
                <a:lnTo>
                  <a:pt x="5462085" y="6863493"/>
                </a:lnTo>
                <a:cubicBezTo>
                  <a:pt x="5529549" y="6787798"/>
                  <a:pt x="5592899" y="6705521"/>
                  <a:pt x="5652135" y="6618309"/>
                </a:cubicBezTo>
                <a:close/>
                <a:moveTo>
                  <a:pt x="1864300" y="6366543"/>
                </a:moveTo>
                <a:cubicBezTo>
                  <a:pt x="1906259" y="6463629"/>
                  <a:pt x="1953154" y="6556601"/>
                  <a:pt x="2004163" y="6643815"/>
                </a:cubicBezTo>
                <a:lnTo>
                  <a:pt x="1880754" y="6716217"/>
                </a:lnTo>
                <a:cubicBezTo>
                  <a:pt x="1827277" y="6624891"/>
                  <a:pt x="1777091" y="6526159"/>
                  <a:pt x="1732663" y="6423314"/>
                </a:cubicBezTo>
                <a:close/>
                <a:moveTo>
                  <a:pt x="10623874" y="6175662"/>
                </a:moveTo>
                <a:lnTo>
                  <a:pt x="10767028" y="6175662"/>
                </a:lnTo>
                <a:lnTo>
                  <a:pt x="10767028" y="6495717"/>
                </a:lnTo>
                <a:lnTo>
                  <a:pt x="10623874" y="6495717"/>
                </a:lnTo>
                <a:close/>
                <a:moveTo>
                  <a:pt x="5936799" y="6065412"/>
                </a:moveTo>
                <a:lnTo>
                  <a:pt x="6070080" y="6116423"/>
                </a:lnTo>
                <a:cubicBezTo>
                  <a:pt x="6031412" y="6218446"/>
                  <a:pt x="5986985" y="6318823"/>
                  <a:pt x="5936799" y="6415909"/>
                </a:cubicBezTo>
                <a:lnTo>
                  <a:pt x="5810099" y="6350911"/>
                </a:lnTo>
                <a:cubicBezTo>
                  <a:pt x="5856994" y="6257939"/>
                  <a:pt x="5899776" y="6162498"/>
                  <a:pt x="5936799" y="6065412"/>
                </a:cubicBezTo>
                <a:close/>
                <a:moveTo>
                  <a:pt x="1681654" y="5770863"/>
                </a:moveTo>
                <a:cubicBezTo>
                  <a:pt x="1701400" y="5872885"/>
                  <a:pt x="1726904" y="5974908"/>
                  <a:pt x="1757345" y="6073640"/>
                </a:cubicBezTo>
                <a:lnTo>
                  <a:pt x="1619950" y="6115601"/>
                </a:lnTo>
                <a:cubicBezTo>
                  <a:pt x="1588686" y="6011932"/>
                  <a:pt x="1561536" y="5904973"/>
                  <a:pt x="1540968" y="5798014"/>
                </a:cubicBezTo>
                <a:close/>
                <a:moveTo>
                  <a:pt x="10623874" y="5538021"/>
                </a:moveTo>
                <a:lnTo>
                  <a:pt x="10767028" y="5538021"/>
                </a:lnTo>
                <a:lnTo>
                  <a:pt x="10767028" y="5857253"/>
                </a:lnTo>
                <a:lnTo>
                  <a:pt x="10623874" y="5857253"/>
                </a:lnTo>
                <a:close/>
                <a:moveTo>
                  <a:pt x="6061031" y="5443403"/>
                </a:moveTo>
                <a:lnTo>
                  <a:pt x="6199249" y="5482073"/>
                </a:lnTo>
                <a:cubicBezTo>
                  <a:pt x="6172098" y="5579982"/>
                  <a:pt x="6148239" y="5682827"/>
                  <a:pt x="6130139" y="5787318"/>
                </a:cubicBezTo>
                <a:lnTo>
                  <a:pt x="5988631" y="5761812"/>
                </a:lnTo>
                <a:cubicBezTo>
                  <a:pt x="6008376" y="5653208"/>
                  <a:pt x="6033058" y="5546248"/>
                  <a:pt x="6061031" y="5443403"/>
                </a:cubicBezTo>
                <a:close/>
                <a:moveTo>
                  <a:pt x="1505591" y="5146385"/>
                </a:moveTo>
                <a:lnTo>
                  <a:pt x="1647923" y="5146385"/>
                </a:lnTo>
                <a:lnTo>
                  <a:pt x="1647923" y="5466440"/>
                </a:lnTo>
                <a:lnTo>
                  <a:pt x="1505591" y="5466440"/>
                </a:lnTo>
                <a:close/>
                <a:moveTo>
                  <a:pt x="10693806" y="4886392"/>
                </a:moveTo>
                <a:cubicBezTo>
                  <a:pt x="10720133" y="4994997"/>
                  <a:pt x="10739878" y="5102779"/>
                  <a:pt x="10753042" y="5208915"/>
                </a:cubicBezTo>
                <a:lnTo>
                  <a:pt x="10611533" y="5227016"/>
                </a:lnTo>
                <a:cubicBezTo>
                  <a:pt x="10598369" y="5126639"/>
                  <a:pt x="10579447" y="5023794"/>
                  <a:pt x="10554765" y="4920125"/>
                </a:cubicBezTo>
                <a:close/>
                <a:moveTo>
                  <a:pt x="6166339" y="4817280"/>
                </a:moveTo>
                <a:lnTo>
                  <a:pt x="6304557" y="4855950"/>
                </a:lnTo>
                <a:cubicBezTo>
                  <a:pt x="6276585" y="4954681"/>
                  <a:pt x="6253549" y="5057527"/>
                  <a:pt x="6234626" y="5162018"/>
                </a:cubicBezTo>
                <a:lnTo>
                  <a:pt x="6093939" y="5135690"/>
                </a:lnTo>
                <a:cubicBezTo>
                  <a:pt x="6113685" y="5027907"/>
                  <a:pt x="6137544" y="4920125"/>
                  <a:pt x="6166339" y="4817280"/>
                </a:cubicBezTo>
                <a:close/>
                <a:moveTo>
                  <a:pt x="1505591" y="4507921"/>
                </a:moveTo>
                <a:lnTo>
                  <a:pt x="1647923" y="4507921"/>
                </a:lnTo>
                <a:lnTo>
                  <a:pt x="1647923" y="4827153"/>
                </a:lnTo>
                <a:lnTo>
                  <a:pt x="1505591" y="4827153"/>
                </a:lnTo>
                <a:close/>
                <a:moveTo>
                  <a:pt x="10469201" y="4270966"/>
                </a:moveTo>
                <a:cubicBezTo>
                  <a:pt x="10517742" y="4366406"/>
                  <a:pt x="10561347" y="4467606"/>
                  <a:pt x="10599192" y="4572919"/>
                </a:cubicBezTo>
                <a:lnTo>
                  <a:pt x="10465088" y="4621462"/>
                </a:lnTo>
                <a:cubicBezTo>
                  <a:pt x="10428888" y="4521908"/>
                  <a:pt x="10387751" y="4426468"/>
                  <a:pt x="10341679" y="4335964"/>
                </a:cubicBezTo>
                <a:close/>
                <a:moveTo>
                  <a:pt x="6407399" y="4209258"/>
                </a:moveTo>
                <a:lnTo>
                  <a:pt x="6534099" y="4277547"/>
                </a:lnTo>
                <a:cubicBezTo>
                  <a:pt x="6486381" y="4366406"/>
                  <a:pt x="6441953" y="4461024"/>
                  <a:pt x="6402462" y="4559755"/>
                </a:cubicBezTo>
                <a:lnTo>
                  <a:pt x="6270003" y="4507098"/>
                </a:lnTo>
                <a:cubicBezTo>
                  <a:pt x="6310316" y="4403430"/>
                  <a:pt x="6357212" y="4303053"/>
                  <a:pt x="6407399" y="4209258"/>
                </a:cubicBezTo>
                <a:close/>
                <a:moveTo>
                  <a:pt x="1505591" y="3868634"/>
                </a:moveTo>
                <a:lnTo>
                  <a:pt x="1647923" y="3868634"/>
                </a:lnTo>
                <a:lnTo>
                  <a:pt x="1647923" y="4188689"/>
                </a:lnTo>
                <a:lnTo>
                  <a:pt x="1505591" y="4188689"/>
                </a:lnTo>
                <a:close/>
                <a:moveTo>
                  <a:pt x="10092392" y="3732055"/>
                </a:moveTo>
                <a:cubicBezTo>
                  <a:pt x="10166438" y="3810217"/>
                  <a:pt x="10237192" y="3896608"/>
                  <a:pt x="10300542" y="3988758"/>
                </a:cubicBezTo>
                <a:lnTo>
                  <a:pt x="10182892" y="4070211"/>
                </a:lnTo>
                <a:cubicBezTo>
                  <a:pt x="10123656" y="3984643"/>
                  <a:pt x="10058661" y="3904013"/>
                  <a:pt x="9988729" y="3831610"/>
                </a:cubicBezTo>
                <a:close/>
                <a:moveTo>
                  <a:pt x="6800662" y="3681867"/>
                </a:moveTo>
                <a:lnTo>
                  <a:pt x="6901035" y="3783890"/>
                </a:lnTo>
                <a:cubicBezTo>
                  <a:pt x="6828635" y="3854647"/>
                  <a:pt x="6761171" y="3933633"/>
                  <a:pt x="6699466" y="4016731"/>
                </a:cubicBezTo>
                <a:lnTo>
                  <a:pt x="6584285" y="3931986"/>
                </a:lnTo>
                <a:cubicBezTo>
                  <a:pt x="6650926" y="3842305"/>
                  <a:pt x="6723325" y="3757561"/>
                  <a:pt x="6800662" y="3681867"/>
                </a:cubicBezTo>
                <a:close/>
                <a:moveTo>
                  <a:pt x="9573252" y="3339597"/>
                </a:moveTo>
                <a:cubicBezTo>
                  <a:pt x="9665397" y="3387317"/>
                  <a:pt x="9754252" y="3443265"/>
                  <a:pt x="9836524" y="3506619"/>
                </a:cubicBezTo>
                <a:lnTo>
                  <a:pt x="9760833" y="3623450"/>
                </a:lnTo>
                <a:cubicBezTo>
                  <a:pt x="9684320" y="3565857"/>
                  <a:pt x="9602047" y="3513200"/>
                  <a:pt x="9516483" y="3469594"/>
                </a:cubicBezTo>
                <a:close/>
                <a:moveTo>
                  <a:pt x="7340371" y="3304219"/>
                </a:moveTo>
                <a:lnTo>
                  <a:pt x="7402076" y="3433392"/>
                </a:lnTo>
                <a:cubicBezTo>
                  <a:pt x="7309107" y="3477821"/>
                  <a:pt x="7219430" y="3529655"/>
                  <a:pt x="7136334" y="3588071"/>
                </a:cubicBezTo>
                <a:lnTo>
                  <a:pt x="7054884" y="3470416"/>
                </a:lnTo>
                <a:cubicBezTo>
                  <a:pt x="7143739" y="3407886"/>
                  <a:pt x="7239999" y="3351939"/>
                  <a:pt x="7340371" y="3304219"/>
                </a:cubicBezTo>
                <a:close/>
                <a:moveTo>
                  <a:pt x="1505591" y="3230169"/>
                </a:moveTo>
                <a:lnTo>
                  <a:pt x="1647923" y="3230169"/>
                </a:lnTo>
                <a:lnTo>
                  <a:pt x="1647923" y="3549402"/>
                </a:lnTo>
                <a:lnTo>
                  <a:pt x="1505591" y="3549402"/>
                </a:lnTo>
                <a:close/>
                <a:moveTo>
                  <a:pt x="8943043" y="3127324"/>
                </a:moveTo>
                <a:cubicBezTo>
                  <a:pt x="9052465" y="3147893"/>
                  <a:pt x="9160243" y="3175867"/>
                  <a:pt x="9260615" y="3209601"/>
                </a:cubicBezTo>
                <a:lnTo>
                  <a:pt x="9215365" y="3345356"/>
                </a:lnTo>
                <a:cubicBezTo>
                  <a:pt x="9120752" y="3314092"/>
                  <a:pt x="9019556" y="3287763"/>
                  <a:pt x="8916715" y="3268016"/>
                </a:cubicBezTo>
                <a:close/>
                <a:moveTo>
                  <a:pt x="7968111" y="3114982"/>
                </a:moveTo>
                <a:lnTo>
                  <a:pt x="7990325" y="3256498"/>
                </a:lnTo>
                <a:cubicBezTo>
                  <a:pt x="7885839" y="3272953"/>
                  <a:pt x="7784643" y="3295168"/>
                  <a:pt x="7688384" y="3323964"/>
                </a:cubicBezTo>
                <a:lnTo>
                  <a:pt x="7647248" y="3186564"/>
                </a:lnTo>
                <a:cubicBezTo>
                  <a:pt x="7749267" y="3156121"/>
                  <a:pt x="7857043" y="3132261"/>
                  <a:pt x="7968111" y="3114982"/>
                </a:cubicBezTo>
                <a:close/>
                <a:moveTo>
                  <a:pt x="8428838" y="3080426"/>
                </a:moveTo>
                <a:cubicBezTo>
                  <a:pt x="8493011" y="3081249"/>
                  <a:pt x="8557184" y="3082895"/>
                  <a:pt x="8618066" y="3087009"/>
                </a:cubicBezTo>
                <a:lnTo>
                  <a:pt x="8609016" y="3230169"/>
                </a:lnTo>
                <a:cubicBezTo>
                  <a:pt x="8550602" y="3226055"/>
                  <a:pt x="8489720" y="3223587"/>
                  <a:pt x="8428016" y="3223587"/>
                </a:cubicBezTo>
                <a:cubicBezTo>
                  <a:pt x="8384411" y="3223587"/>
                  <a:pt x="8340807" y="3224411"/>
                  <a:pt x="8298025" y="3226055"/>
                </a:cubicBezTo>
                <a:lnTo>
                  <a:pt x="8292265" y="3082895"/>
                </a:lnTo>
                <a:cubicBezTo>
                  <a:pt x="8336693" y="3081249"/>
                  <a:pt x="8382765" y="3080426"/>
                  <a:pt x="8428838" y="3080426"/>
                </a:cubicBezTo>
                <a:close/>
                <a:moveTo>
                  <a:pt x="1505591" y="2591706"/>
                </a:moveTo>
                <a:lnTo>
                  <a:pt x="1647923" y="2591706"/>
                </a:lnTo>
                <a:lnTo>
                  <a:pt x="1647923" y="2910937"/>
                </a:lnTo>
                <a:lnTo>
                  <a:pt x="1505591" y="2910937"/>
                </a:lnTo>
                <a:close/>
                <a:moveTo>
                  <a:pt x="1625709" y="1941722"/>
                </a:moveTo>
                <a:cubicBezTo>
                  <a:pt x="1647923" y="2090642"/>
                  <a:pt x="1647923" y="2182792"/>
                  <a:pt x="1647923" y="2187729"/>
                </a:cubicBezTo>
                <a:lnTo>
                  <a:pt x="1647923" y="2271650"/>
                </a:lnTo>
                <a:lnTo>
                  <a:pt x="1505591" y="2271650"/>
                </a:lnTo>
                <a:lnTo>
                  <a:pt x="1505591" y="2187729"/>
                </a:lnTo>
                <a:cubicBezTo>
                  <a:pt x="1505591" y="2186082"/>
                  <a:pt x="1504768" y="2099692"/>
                  <a:pt x="1484200" y="1963114"/>
                </a:cubicBezTo>
                <a:close/>
                <a:moveTo>
                  <a:pt x="1448000" y="1309840"/>
                </a:moveTo>
                <a:cubicBezTo>
                  <a:pt x="1489959" y="1410217"/>
                  <a:pt x="1526159" y="1514708"/>
                  <a:pt x="1556600" y="1620844"/>
                </a:cubicBezTo>
                <a:lnTo>
                  <a:pt x="1418382" y="1659514"/>
                </a:lnTo>
                <a:cubicBezTo>
                  <a:pt x="1390409" y="1559137"/>
                  <a:pt x="1355855" y="1460405"/>
                  <a:pt x="1315541" y="1366610"/>
                </a:cubicBezTo>
                <a:close/>
                <a:moveTo>
                  <a:pt x="1113150" y="745424"/>
                </a:moveTo>
                <a:cubicBezTo>
                  <a:pt x="1180614" y="830169"/>
                  <a:pt x="1243964" y="921495"/>
                  <a:pt x="1299909" y="1016113"/>
                </a:cubicBezTo>
                <a:lnTo>
                  <a:pt x="1176500" y="1089339"/>
                </a:lnTo>
                <a:cubicBezTo>
                  <a:pt x="1123845" y="999658"/>
                  <a:pt x="1064609" y="914913"/>
                  <a:pt x="1001259" y="835105"/>
                </a:cubicBezTo>
                <a:close/>
                <a:moveTo>
                  <a:pt x="631855" y="297841"/>
                </a:moveTo>
                <a:cubicBezTo>
                  <a:pt x="722355" y="360371"/>
                  <a:pt x="808741" y="429483"/>
                  <a:pt x="888545" y="504354"/>
                </a:cubicBezTo>
                <a:lnTo>
                  <a:pt x="790641" y="608845"/>
                </a:lnTo>
                <a:cubicBezTo>
                  <a:pt x="716596" y="539733"/>
                  <a:pt x="635146" y="473912"/>
                  <a:pt x="550405" y="415496"/>
                </a:cubicBezTo>
                <a:close/>
                <a:moveTo>
                  <a:pt x="48541" y="0"/>
                </a:moveTo>
                <a:cubicBezTo>
                  <a:pt x="153028" y="37847"/>
                  <a:pt x="254223" y="81454"/>
                  <a:pt x="349659" y="129997"/>
                </a:cubicBezTo>
                <a:lnTo>
                  <a:pt x="284664" y="257525"/>
                </a:lnTo>
                <a:cubicBezTo>
                  <a:pt x="194986" y="211451"/>
                  <a:pt x="98727" y="170312"/>
                  <a:pt x="0" y="1341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10" name="Freeform 209">
            <a:extLst>
              <a:ext uri="{FF2B5EF4-FFF2-40B4-BE49-F238E27FC236}">
                <a16:creationId xmlns:a16="http://schemas.microsoft.com/office/drawing/2014/main" id="{C13B7E1F-386A-C848-BA53-A397247BA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6179" y="7527455"/>
            <a:ext cx="2001896" cy="2110739"/>
          </a:xfrm>
          <a:custGeom>
            <a:avLst/>
            <a:gdLst>
              <a:gd name="connsiteX0" fmla="*/ 350268 w 1589273"/>
              <a:gd name="connsiteY0" fmla="*/ 0 h 1675682"/>
              <a:gd name="connsiteX1" fmla="*/ 1238353 w 1589273"/>
              <a:gd name="connsiteY1" fmla="*/ 0 h 1675682"/>
              <a:gd name="connsiteX2" fmla="*/ 1589273 w 1589273"/>
              <a:gd name="connsiteY2" fmla="*/ 350392 h 1675682"/>
              <a:gd name="connsiteX3" fmla="*/ 1589273 w 1589273"/>
              <a:gd name="connsiteY3" fmla="*/ 981882 h 1675682"/>
              <a:gd name="connsiteX4" fmla="*/ 1238353 w 1589273"/>
              <a:gd name="connsiteY4" fmla="*/ 1332927 h 1675682"/>
              <a:gd name="connsiteX5" fmla="*/ 689011 w 1589273"/>
              <a:gd name="connsiteY5" fmla="*/ 1332927 h 1675682"/>
              <a:gd name="connsiteX6" fmla="*/ 665533 w 1589273"/>
              <a:gd name="connsiteY6" fmla="*/ 1365628 h 1675682"/>
              <a:gd name="connsiteX7" fmla="*/ 83531 w 1589273"/>
              <a:gd name="connsiteY7" fmla="*/ 1675682 h 1675682"/>
              <a:gd name="connsiteX8" fmla="*/ 246975 w 1589273"/>
              <a:gd name="connsiteY8" fmla="*/ 1318724 h 1675682"/>
              <a:gd name="connsiteX9" fmla="*/ 247134 w 1589273"/>
              <a:gd name="connsiteY9" fmla="*/ 1315694 h 1675682"/>
              <a:gd name="connsiteX10" fmla="*/ 213935 w 1589273"/>
              <a:gd name="connsiteY10" fmla="*/ 1305379 h 1675682"/>
              <a:gd name="connsiteX11" fmla="*/ 0 w 1589273"/>
              <a:gd name="connsiteY11" fmla="*/ 981882 h 1675682"/>
              <a:gd name="connsiteX12" fmla="*/ 0 w 1589273"/>
              <a:gd name="connsiteY12" fmla="*/ 350392 h 1675682"/>
              <a:gd name="connsiteX13" fmla="*/ 350268 w 1589273"/>
              <a:gd name="connsiteY13" fmla="*/ 0 h 167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89273" h="1675682">
                <a:moveTo>
                  <a:pt x="350268" y="0"/>
                </a:moveTo>
                <a:lnTo>
                  <a:pt x="1238353" y="0"/>
                </a:lnTo>
                <a:cubicBezTo>
                  <a:pt x="1432437" y="0"/>
                  <a:pt x="1589273" y="156892"/>
                  <a:pt x="1589273" y="350392"/>
                </a:cubicBezTo>
                <a:lnTo>
                  <a:pt x="1589273" y="981882"/>
                </a:lnTo>
                <a:cubicBezTo>
                  <a:pt x="1589273" y="1176036"/>
                  <a:pt x="1432437" y="1332927"/>
                  <a:pt x="1238353" y="1332927"/>
                </a:cubicBezTo>
                <a:lnTo>
                  <a:pt x="689011" y="1332927"/>
                </a:lnTo>
                <a:lnTo>
                  <a:pt x="665533" y="1365628"/>
                </a:lnTo>
                <a:cubicBezTo>
                  <a:pt x="596490" y="1454455"/>
                  <a:pt x="416752" y="1636952"/>
                  <a:pt x="83531" y="1675682"/>
                </a:cubicBezTo>
                <a:cubicBezTo>
                  <a:pt x="83531" y="1675682"/>
                  <a:pt x="214286" y="1610121"/>
                  <a:pt x="246975" y="1318724"/>
                </a:cubicBezTo>
                <a:lnTo>
                  <a:pt x="247134" y="1315694"/>
                </a:lnTo>
                <a:lnTo>
                  <a:pt x="213935" y="1305379"/>
                </a:lnTo>
                <a:cubicBezTo>
                  <a:pt x="88220" y="1252153"/>
                  <a:pt x="0" y="1127497"/>
                  <a:pt x="0" y="981882"/>
                </a:cubicBezTo>
                <a:lnTo>
                  <a:pt x="0" y="350392"/>
                </a:lnTo>
                <a:cubicBezTo>
                  <a:pt x="0" y="156892"/>
                  <a:pt x="156836" y="0"/>
                  <a:pt x="350268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07" name="Freeform 206">
            <a:extLst>
              <a:ext uri="{FF2B5EF4-FFF2-40B4-BE49-F238E27FC236}">
                <a16:creationId xmlns:a16="http://schemas.microsoft.com/office/drawing/2014/main" id="{8CD3C812-DC60-3E40-9A91-65E1FB3CC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6839" y="3068502"/>
            <a:ext cx="2001896" cy="2110739"/>
          </a:xfrm>
          <a:custGeom>
            <a:avLst/>
            <a:gdLst>
              <a:gd name="connsiteX0" fmla="*/ 350412 w 1589273"/>
              <a:gd name="connsiteY0" fmla="*/ 0 h 1675682"/>
              <a:gd name="connsiteX1" fmla="*/ 1238208 w 1589273"/>
              <a:gd name="connsiteY1" fmla="*/ 0 h 1675682"/>
              <a:gd name="connsiteX2" fmla="*/ 1589273 w 1589273"/>
              <a:gd name="connsiteY2" fmla="*/ 350873 h 1675682"/>
              <a:gd name="connsiteX3" fmla="*/ 1589273 w 1589273"/>
              <a:gd name="connsiteY3" fmla="*/ 982053 h 1675682"/>
              <a:gd name="connsiteX4" fmla="*/ 1374699 w 1589273"/>
              <a:gd name="connsiteY4" fmla="*/ 1305299 h 1675682"/>
              <a:gd name="connsiteX5" fmla="*/ 1338668 w 1589273"/>
              <a:gd name="connsiteY5" fmla="*/ 1316507 h 1675682"/>
              <a:gd name="connsiteX6" fmla="*/ 1338795 w 1589273"/>
              <a:gd name="connsiteY6" fmla="*/ 1318905 h 1675682"/>
              <a:gd name="connsiteX7" fmla="*/ 1502865 w 1589273"/>
              <a:gd name="connsiteY7" fmla="*/ 1675682 h 1675682"/>
              <a:gd name="connsiteX8" fmla="*/ 920771 w 1589273"/>
              <a:gd name="connsiteY8" fmla="*/ 1365404 h 1675682"/>
              <a:gd name="connsiteX9" fmla="*/ 897529 w 1589273"/>
              <a:gd name="connsiteY9" fmla="*/ 1332926 h 1675682"/>
              <a:gd name="connsiteX10" fmla="*/ 350412 w 1589273"/>
              <a:gd name="connsiteY10" fmla="*/ 1332926 h 1675682"/>
              <a:gd name="connsiteX11" fmla="*/ 0 w 1589273"/>
              <a:gd name="connsiteY11" fmla="*/ 982053 h 1675682"/>
              <a:gd name="connsiteX12" fmla="*/ 0 w 1589273"/>
              <a:gd name="connsiteY12" fmla="*/ 350873 h 1675682"/>
              <a:gd name="connsiteX13" fmla="*/ 350412 w 1589273"/>
              <a:gd name="connsiteY13" fmla="*/ 0 h 167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89273" h="1675682">
                <a:moveTo>
                  <a:pt x="350412" y="0"/>
                </a:moveTo>
                <a:lnTo>
                  <a:pt x="1238208" y="0"/>
                </a:lnTo>
                <a:cubicBezTo>
                  <a:pt x="1431719" y="0"/>
                  <a:pt x="1589273" y="156815"/>
                  <a:pt x="1589273" y="350873"/>
                </a:cubicBezTo>
                <a:lnTo>
                  <a:pt x="1589273" y="982053"/>
                </a:lnTo>
                <a:cubicBezTo>
                  <a:pt x="1589273" y="1127106"/>
                  <a:pt x="1500649" y="1251946"/>
                  <a:pt x="1374699" y="1305299"/>
                </a:cubicBezTo>
                <a:lnTo>
                  <a:pt x="1338668" y="1316507"/>
                </a:lnTo>
                <a:lnTo>
                  <a:pt x="1338795" y="1318905"/>
                </a:lnTo>
                <a:cubicBezTo>
                  <a:pt x="1371609" y="1610074"/>
                  <a:pt x="1502865" y="1675682"/>
                  <a:pt x="1502865" y="1675682"/>
                </a:cubicBezTo>
                <a:cubicBezTo>
                  <a:pt x="1169153" y="1636924"/>
                  <a:pt x="989660" y="1454296"/>
                  <a:pt x="920771" y="1365404"/>
                </a:cubicBezTo>
                <a:lnTo>
                  <a:pt x="897529" y="1332926"/>
                </a:lnTo>
                <a:lnTo>
                  <a:pt x="350412" y="1332926"/>
                </a:lnTo>
                <a:cubicBezTo>
                  <a:pt x="156901" y="1332926"/>
                  <a:pt x="0" y="1175458"/>
                  <a:pt x="0" y="982053"/>
                </a:cubicBezTo>
                <a:lnTo>
                  <a:pt x="0" y="350873"/>
                </a:lnTo>
                <a:cubicBezTo>
                  <a:pt x="0" y="156815"/>
                  <a:pt x="156901" y="0"/>
                  <a:pt x="350412" y="0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08" name="Freeform 207">
            <a:extLst>
              <a:ext uri="{FF2B5EF4-FFF2-40B4-BE49-F238E27FC236}">
                <a16:creationId xmlns:a16="http://schemas.microsoft.com/office/drawing/2014/main" id="{F6A6A880-BC89-1B4C-8168-3ACF42477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1625" y="5405006"/>
            <a:ext cx="2001897" cy="2107114"/>
          </a:xfrm>
          <a:custGeom>
            <a:avLst/>
            <a:gdLst>
              <a:gd name="connsiteX0" fmla="*/ 350268 w 1589274"/>
              <a:gd name="connsiteY0" fmla="*/ 0 h 1672804"/>
              <a:gd name="connsiteX1" fmla="*/ 1238352 w 1589274"/>
              <a:gd name="connsiteY1" fmla="*/ 0 h 1672804"/>
              <a:gd name="connsiteX2" fmla="*/ 1589274 w 1589274"/>
              <a:gd name="connsiteY2" fmla="*/ 351045 h 1672804"/>
              <a:gd name="connsiteX3" fmla="*/ 1589274 w 1589274"/>
              <a:gd name="connsiteY3" fmla="*/ 982534 h 1672804"/>
              <a:gd name="connsiteX4" fmla="*/ 1238352 w 1589274"/>
              <a:gd name="connsiteY4" fmla="*/ 1332925 h 1672804"/>
              <a:gd name="connsiteX5" fmla="*/ 690717 w 1589274"/>
              <a:gd name="connsiteY5" fmla="*/ 1332925 h 1672804"/>
              <a:gd name="connsiteX6" fmla="*/ 668412 w 1589274"/>
              <a:gd name="connsiteY6" fmla="*/ 1363930 h 1672804"/>
              <a:gd name="connsiteX7" fmla="*/ 86410 w 1589274"/>
              <a:gd name="connsiteY7" fmla="*/ 1672804 h 1672804"/>
              <a:gd name="connsiteX8" fmla="*/ 249854 w 1589274"/>
              <a:gd name="connsiteY8" fmla="*/ 1317714 h 1672804"/>
              <a:gd name="connsiteX9" fmla="*/ 249915 w 1589274"/>
              <a:gd name="connsiteY9" fmla="*/ 1316562 h 1672804"/>
              <a:gd name="connsiteX10" fmla="*/ 213935 w 1589274"/>
              <a:gd name="connsiteY10" fmla="*/ 1305388 h 1672804"/>
              <a:gd name="connsiteX11" fmla="*/ 0 w 1589274"/>
              <a:gd name="connsiteY11" fmla="*/ 982534 h 1672804"/>
              <a:gd name="connsiteX12" fmla="*/ 0 w 1589274"/>
              <a:gd name="connsiteY12" fmla="*/ 351045 h 1672804"/>
              <a:gd name="connsiteX13" fmla="*/ 350268 w 1589274"/>
              <a:gd name="connsiteY13" fmla="*/ 0 h 167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589274" h="1672804">
                <a:moveTo>
                  <a:pt x="350268" y="0"/>
                </a:moveTo>
                <a:lnTo>
                  <a:pt x="1238352" y="0"/>
                </a:lnTo>
                <a:cubicBezTo>
                  <a:pt x="1432437" y="0"/>
                  <a:pt x="1589274" y="156891"/>
                  <a:pt x="1589274" y="351045"/>
                </a:cubicBezTo>
                <a:lnTo>
                  <a:pt x="1589274" y="982534"/>
                </a:lnTo>
                <a:cubicBezTo>
                  <a:pt x="1589274" y="1176034"/>
                  <a:pt x="1432437" y="1332925"/>
                  <a:pt x="1238352" y="1332925"/>
                </a:cubicBezTo>
                <a:lnTo>
                  <a:pt x="690717" y="1332925"/>
                </a:lnTo>
                <a:lnTo>
                  <a:pt x="668412" y="1363930"/>
                </a:lnTo>
                <a:cubicBezTo>
                  <a:pt x="599369" y="1452573"/>
                  <a:pt x="419631" y="1634630"/>
                  <a:pt x="86410" y="1672804"/>
                </a:cubicBezTo>
                <a:cubicBezTo>
                  <a:pt x="86410" y="1672804"/>
                  <a:pt x="217165" y="1608356"/>
                  <a:pt x="249854" y="1317714"/>
                </a:cubicBezTo>
                <a:lnTo>
                  <a:pt x="249915" y="1316562"/>
                </a:lnTo>
                <a:lnTo>
                  <a:pt x="213935" y="1305388"/>
                </a:lnTo>
                <a:cubicBezTo>
                  <a:pt x="88221" y="1252191"/>
                  <a:pt x="0" y="1127659"/>
                  <a:pt x="0" y="982534"/>
                </a:cubicBezTo>
                <a:lnTo>
                  <a:pt x="0" y="351045"/>
                </a:lnTo>
                <a:cubicBezTo>
                  <a:pt x="0" y="156891"/>
                  <a:pt x="156836" y="0"/>
                  <a:pt x="350268" y="0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F09958E-2015-F748-8B62-0FA150B2C365}"/>
              </a:ext>
            </a:extLst>
          </p:cNvPr>
          <p:cNvSpPr txBox="1"/>
          <p:nvPr/>
        </p:nvSpPr>
        <p:spPr>
          <a:xfrm>
            <a:off x="7921172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3D1D3D75-27E9-D341-AAA0-B4ACF33FB6D2}"/>
              </a:ext>
            </a:extLst>
          </p:cNvPr>
          <p:cNvCxnSpPr/>
          <p:nvPr/>
        </p:nvCxnSpPr>
        <p:spPr>
          <a:xfrm>
            <a:off x="11486859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extBox 238">
            <a:extLst>
              <a:ext uri="{FF2B5EF4-FFF2-40B4-BE49-F238E27FC236}">
                <a16:creationId xmlns:a16="http://schemas.microsoft.com/office/drawing/2014/main" id="{2FF42024-C772-A147-AADC-94DE6EDB8B9F}"/>
              </a:ext>
            </a:extLst>
          </p:cNvPr>
          <p:cNvSpPr txBox="1"/>
          <p:nvPr/>
        </p:nvSpPr>
        <p:spPr>
          <a:xfrm>
            <a:off x="16912270" y="9407050"/>
            <a:ext cx="1965603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tions</a:t>
            </a:r>
          </a:p>
        </p:txBody>
      </p:sp>
      <p:sp>
        <p:nvSpPr>
          <p:cNvPr id="240" name="Subtitle 2">
            <a:extLst>
              <a:ext uri="{FF2B5EF4-FFF2-40B4-BE49-F238E27FC236}">
                <a16:creationId xmlns:a16="http://schemas.microsoft.com/office/drawing/2014/main" id="{7FF9A6A0-5435-0046-BC22-55DC7D86DC5F}"/>
              </a:ext>
            </a:extLst>
          </p:cNvPr>
          <p:cNvSpPr txBox="1">
            <a:spLocks/>
          </p:cNvSpPr>
          <p:nvPr/>
        </p:nvSpPr>
        <p:spPr>
          <a:xfrm>
            <a:off x="16801724" y="10027236"/>
            <a:ext cx="6048759" cy="1577550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DFD63D15-AEDE-434B-A538-BB7E02495D23}"/>
              </a:ext>
            </a:extLst>
          </p:cNvPr>
          <p:cNvSpPr txBox="1"/>
          <p:nvPr/>
        </p:nvSpPr>
        <p:spPr>
          <a:xfrm>
            <a:off x="16912270" y="2887727"/>
            <a:ext cx="19575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ucture</a:t>
            </a:r>
          </a:p>
        </p:txBody>
      </p:sp>
      <p:sp>
        <p:nvSpPr>
          <p:cNvPr id="242" name="Subtitle 2">
            <a:extLst>
              <a:ext uri="{FF2B5EF4-FFF2-40B4-BE49-F238E27FC236}">
                <a16:creationId xmlns:a16="http://schemas.microsoft.com/office/drawing/2014/main" id="{3B87D1AE-25D0-AA4B-85EF-F9717E165114}"/>
              </a:ext>
            </a:extLst>
          </p:cNvPr>
          <p:cNvSpPr txBox="1">
            <a:spLocks/>
          </p:cNvSpPr>
          <p:nvPr/>
        </p:nvSpPr>
        <p:spPr>
          <a:xfrm>
            <a:off x="16801724" y="3507913"/>
            <a:ext cx="6048759" cy="1577550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8CE238CC-95FC-8042-B9BC-AF286DD245C5}"/>
              </a:ext>
            </a:extLst>
          </p:cNvPr>
          <p:cNvSpPr txBox="1"/>
          <p:nvPr/>
        </p:nvSpPr>
        <p:spPr>
          <a:xfrm>
            <a:off x="16912270" y="6118494"/>
            <a:ext cx="21178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ategies</a:t>
            </a:r>
          </a:p>
        </p:txBody>
      </p:sp>
      <p:sp>
        <p:nvSpPr>
          <p:cNvPr id="244" name="Subtitle 2">
            <a:extLst>
              <a:ext uri="{FF2B5EF4-FFF2-40B4-BE49-F238E27FC236}">
                <a16:creationId xmlns:a16="http://schemas.microsoft.com/office/drawing/2014/main" id="{B08D0FBB-6EF6-6C4F-9DA5-DFF64B358F23}"/>
              </a:ext>
            </a:extLst>
          </p:cNvPr>
          <p:cNvSpPr txBox="1">
            <a:spLocks/>
          </p:cNvSpPr>
          <p:nvPr/>
        </p:nvSpPr>
        <p:spPr>
          <a:xfrm>
            <a:off x="16801724" y="6738680"/>
            <a:ext cx="6048759" cy="1577550"/>
          </a:xfrm>
          <a:prstGeom prst="rect">
            <a:avLst/>
          </a:prstGeom>
        </p:spPr>
        <p:txBody>
          <a:bodyPr vert="horz" wrap="square" lIns="217490" tIns="108745" rIns="217490" bIns="108745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245" name="Freeform 248">
            <a:extLst>
              <a:ext uri="{FF2B5EF4-FFF2-40B4-BE49-F238E27FC236}">
                <a16:creationId xmlns:a16="http://schemas.microsoft.com/office/drawing/2014/main" id="{72D64B6C-94F3-CC46-A120-B3FD271A8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4323" y="5692323"/>
            <a:ext cx="716500" cy="1120866"/>
          </a:xfrm>
          <a:custGeom>
            <a:avLst/>
            <a:gdLst>
              <a:gd name="T0" fmla="*/ 419 w 445"/>
              <a:gd name="T1" fmla="*/ 253 h 698"/>
              <a:gd name="T2" fmla="*/ 234 w 445"/>
              <a:gd name="T3" fmla="*/ 253 h 698"/>
              <a:gd name="T4" fmla="*/ 234 w 445"/>
              <a:gd name="T5" fmla="*/ 232 h 698"/>
              <a:gd name="T6" fmla="*/ 234 w 445"/>
              <a:gd name="T7" fmla="*/ 232 h 698"/>
              <a:gd name="T8" fmla="*/ 276 w 445"/>
              <a:gd name="T9" fmla="*/ 180 h 698"/>
              <a:gd name="T10" fmla="*/ 276 w 445"/>
              <a:gd name="T11" fmla="*/ 97 h 698"/>
              <a:gd name="T12" fmla="*/ 276 w 445"/>
              <a:gd name="T13" fmla="*/ 97 h 698"/>
              <a:gd name="T14" fmla="*/ 234 w 445"/>
              <a:gd name="T15" fmla="*/ 46 h 698"/>
              <a:gd name="T16" fmla="*/ 234 w 445"/>
              <a:gd name="T17" fmla="*/ 27 h 698"/>
              <a:gd name="T18" fmla="*/ 234 w 445"/>
              <a:gd name="T19" fmla="*/ 27 h 698"/>
              <a:gd name="T20" fmla="*/ 419 w 445"/>
              <a:gd name="T21" fmla="*/ 223 h 698"/>
              <a:gd name="T22" fmla="*/ 419 w 445"/>
              <a:gd name="T23" fmla="*/ 253 h 698"/>
              <a:gd name="T24" fmla="*/ 222 w 445"/>
              <a:gd name="T25" fmla="*/ 673 h 698"/>
              <a:gd name="T26" fmla="*/ 222 w 445"/>
              <a:gd name="T27" fmla="*/ 673 h 698"/>
              <a:gd name="T28" fmla="*/ 24 w 445"/>
              <a:gd name="T29" fmla="*/ 475 h 698"/>
              <a:gd name="T30" fmla="*/ 24 w 445"/>
              <a:gd name="T31" fmla="*/ 277 h 698"/>
              <a:gd name="T32" fmla="*/ 419 w 445"/>
              <a:gd name="T33" fmla="*/ 277 h 698"/>
              <a:gd name="T34" fmla="*/ 419 w 445"/>
              <a:gd name="T35" fmla="*/ 475 h 698"/>
              <a:gd name="T36" fmla="*/ 419 w 445"/>
              <a:gd name="T37" fmla="*/ 475 h 698"/>
              <a:gd name="T38" fmla="*/ 222 w 445"/>
              <a:gd name="T39" fmla="*/ 673 h 698"/>
              <a:gd name="T40" fmla="*/ 209 w 445"/>
              <a:gd name="T41" fmla="*/ 27 h 698"/>
              <a:gd name="T42" fmla="*/ 209 w 445"/>
              <a:gd name="T43" fmla="*/ 46 h 698"/>
              <a:gd name="T44" fmla="*/ 209 w 445"/>
              <a:gd name="T45" fmla="*/ 46 h 698"/>
              <a:gd name="T46" fmla="*/ 167 w 445"/>
              <a:gd name="T47" fmla="*/ 97 h 698"/>
              <a:gd name="T48" fmla="*/ 167 w 445"/>
              <a:gd name="T49" fmla="*/ 180 h 698"/>
              <a:gd name="T50" fmla="*/ 167 w 445"/>
              <a:gd name="T51" fmla="*/ 180 h 698"/>
              <a:gd name="T52" fmla="*/ 209 w 445"/>
              <a:gd name="T53" fmla="*/ 232 h 698"/>
              <a:gd name="T54" fmla="*/ 209 w 445"/>
              <a:gd name="T55" fmla="*/ 253 h 698"/>
              <a:gd name="T56" fmla="*/ 24 w 445"/>
              <a:gd name="T57" fmla="*/ 253 h 698"/>
              <a:gd name="T58" fmla="*/ 24 w 445"/>
              <a:gd name="T59" fmla="*/ 223 h 698"/>
              <a:gd name="T60" fmla="*/ 24 w 445"/>
              <a:gd name="T61" fmla="*/ 223 h 698"/>
              <a:gd name="T62" fmla="*/ 209 w 445"/>
              <a:gd name="T63" fmla="*/ 27 h 698"/>
              <a:gd name="T64" fmla="*/ 222 w 445"/>
              <a:gd name="T65" fmla="*/ 210 h 698"/>
              <a:gd name="T66" fmla="*/ 222 w 445"/>
              <a:gd name="T67" fmla="*/ 210 h 698"/>
              <a:gd name="T68" fmla="*/ 192 w 445"/>
              <a:gd name="T69" fmla="*/ 180 h 698"/>
              <a:gd name="T70" fmla="*/ 192 w 445"/>
              <a:gd name="T71" fmla="*/ 97 h 698"/>
              <a:gd name="T72" fmla="*/ 192 w 445"/>
              <a:gd name="T73" fmla="*/ 97 h 698"/>
              <a:gd name="T74" fmla="*/ 222 w 445"/>
              <a:gd name="T75" fmla="*/ 67 h 698"/>
              <a:gd name="T76" fmla="*/ 222 w 445"/>
              <a:gd name="T77" fmla="*/ 67 h 698"/>
              <a:gd name="T78" fmla="*/ 251 w 445"/>
              <a:gd name="T79" fmla="*/ 97 h 698"/>
              <a:gd name="T80" fmla="*/ 251 w 445"/>
              <a:gd name="T81" fmla="*/ 180 h 698"/>
              <a:gd name="T82" fmla="*/ 251 w 445"/>
              <a:gd name="T83" fmla="*/ 180 h 698"/>
              <a:gd name="T84" fmla="*/ 222 w 445"/>
              <a:gd name="T85" fmla="*/ 210 h 698"/>
              <a:gd name="T86" fmla="*/ 222 w 445"/>
              <a:gd name="T87" fmla="*/ 0 h 698"/>
              <a:gd name="T88" fmla="*/ 222 w 445"/>
              <a:gd name="T89" fmla="*/ 0 h 698"/>
              <a:gd name="T90" fmla="*/ 0 w 445"/>
              <a:gd name="T91" fmla="*/ 223 h 698"/>
              <a:gd name="T92" fmla="*/ 0 w 445"/>
              <a:gd name="T93" fmla="*/ 475 h 698"/>
              <a:gd name="T94" fmla="*/ 0 w 445"/>
              <a:gd name="T95" fmla="*/ 475 h 698"/>
              <a:gd name="T96" fmla="*/ 222 w 445"/>
              <a:gd name="T97" fmla="*/ 697 h 698"/>
              <a:gd name="T98" fmla="*/ 222 w 445"/>
              <a:gd name="T99" fmla="*/ 697 h 698"/>
              <a:gd name="T100" fmla="*/ 444 w 445"/>
              <a:gd name="T101" fmla="*/ 475 h 698"/>
              <a:gd name="T102" fmla="*/ 444 w 445"/>
              <a:gd name="T103" fmla="*/ 223 h 698"/>
              <a:gd name="T104" fmla="*/ 444 w 445"/>
              <a:gd name="T105" fmla="*/ 223 h 698"/>
              <a:gd name="T106" fmla="*/ 222 w 445"/>
              <a:gd name="T107" fmla="*/ 0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5" h="698">
                <a:moveTo>
                  <a:pt x="419" y="253"/>
                </a:moveTo>
                <a:lnTo>
                  <a:pt x="234" y="253"/>
                </a:lnTo>
                <a:lnTo>
                  <a:pt x="234" y="232"/>
                </a:lnTo>
                <a:lnTo>
                  <a:pt x="234" y="232"/>
                </a:lnTo>
                <a:cubicBezTo>
                  <a:pt x="258" y="227"/>
                  <a:pt x="276" y="207"/>
                  <a:pt x="276" y="180"/>
                </a:cubicBezTo>
                <a:lnTo>
                  <a:pt x="276" y="97"/>
                </a:lnTo>
                <a:lnTo>
                  <a:pt x="276" y="97"/>
                </a:lnTo>
                <a:cubicBezTo>
                  <a:pt x="276" y="71"/>
                  <a:pt x="258" y="50"/>
                  <a:pt x="234" y="46"/>
                </a:cubicBezTo>
                <a:lnTo>
                  <a:pt x="234" y="27"/>
                </a:lnTo>
                <a:lnTo>
                  <a:pt x="234" y="27"/>
                </a:lnTo>
                <a:cubicBezTo>
                  <a:pt x="337" y="34"/>
                  <a:pt x="419" y="119"/>
                  <a:pt x="419" y="223"/>
                </a:cubicBezTo>
                <a:lnTo>
                  <a:pt x="419" y="253"/>
                </a:lnTo>
                <a:close/>
                <a:moveTo>
                  <a:pt x="222" y="673"/>
                </a:moveTo>
                <a:lnTo>
                  <a:pt x="222" y="673"/>
                </a:lnTo>
                <a:cubicBezTo>
                  <a:pt x="113" y="673"/>
                  <a:pt x="24" y="583"/>
                  <a:pt x="24" y="475"/>
                </a:cubicBezTo>
                <a:lnTo>
                  <a:pt x="24" y="277"/>
                </a:lnTo>
                <a:lnTo>
                  <a:pt x="419" y="277"/>
                </a:lnTo>
                <a:lnTo>
                  <a:pt x="419" y="475"/>
                </a:lnTo>
                <a:lnTo>
                  <a:pt x="419" y="475"/>
                </a:lnTo>
                <a:cubicBezTo>
                  <a:pt x="419" y="583"/>
                  <a:pt x="331" y="673"/>
                  <a:pt x="222" y="673"/>
                </a:cubicBezTo>
                <a:close/>
                <a:moveTo>
                  <a:pt x="209" y="27"/>
                </a:moveTo>
                <a:lnTo>
                  <a:pt x="209" y="46"/>
                </a:lnTo>
                <a:lnTo>
                  <a:pt x="209" y="46"/>
                </a:lnTo>
                <a:cubicBezTo>
                  <a:pt x="185" y="50"/>
                  <a:pt x="167" y="71"/>
                  <a:pt x="167" y="97"/>
                </a:cubicBezTo>
                <a:lnTo>
                  <a:pt x="167" y="180"/>
                </a:lnTo>
                <a:lnTo>
                  <a:pt x="167" y="180"/>
                </a:lnTo>
                <a:cubicBezTo>
                  <a:pt x="167" y="207"/>
                  <a:pt x="185" y="227"/>
                  <a:pt x="209" y="232"/>
                </a:cubicBezTo>
                <a:lnTo>
                  <a:pt x="209" y="253"/>
                </a:lnTo>
                <a:lnTo>
                  <a:pt x="24" y="253"/>
                </a:lnTo>
                <a:lnTo>
                  <a:pt x="24" y="223"/>
                </a:lnTo>
                <a:lnTo>
                  <a:pt x="24" y="223"/>
                </a:lnTo>
                <a:cubicBezTo>
                  <a:pt x="24" y="119"/>
                  <a:pt x="106" y="34"/>
                  <a:pt x="209" y="27"/>
                </a:cubicBezTo>
                <a:close/>
                <a:moveTo>
                  <a:pt x="222" y="210"/>
                </a:moveTo>
                <a:lnTo>
                  <a:pt x="222" y="210"/>
                </a:lnTo>
                <a:cubicBezTo>
                  <a:pt x="205" y="210"/>
                  <a:pt x="192" y="197"/>
                  <a:pt x="192" y="180"/>
                </a:cubicBezTo>
                <a:lnTo>
                  <a:pt x="192" y="97"/>
                </a:lnTo>
                <a:lnTo>
                  <a:pt x="192" y="97"/>
                </a:lnTo>
                <a:cubicBezTo>
                  <a:pt x="192" y="81"/>
                  <a:pt x="205" y="67"/>
                  <a:pt x="222" y="67"/>
                </a:cubicBezTo>
                <a:lnTo>
                  <a:pt x="222" y="67"/>
                </a:lnTo>
                <a:cubicBezTo>
                  <a:pt x="239" y="67"/>
                  <a:pt x="251" y="81"/>
                  <a:pt x="251" y="97"/>
                </a:cubicBezTo>
                <a:lnTo>
                  <a:pt x="251" y="180"/>
                </a:lnTo>
                <a:lnTo>
                  <a:pt x="251" y="180"/>
                </a:lnTo>
                <a:cubicBezTo>
                  <a:pt x="251" y="197"/>
                  <a:pt x="239" y="210"/>
                  <a:pt x="222" y="210"/>
                </a:cubicBezTo>
                <a:close/>
                <a:moveTo>
                  <a:pt x="222" y="0"/>
                </a:moveTo>
                <a:lnTo>
                  <a:pt x="222" y="0"/>
                </a:lnTo>
                <a:cubicBezTo>
                  <a:pt x="100" y="0"/>
                  <a:pt x="0" y="100"/>
                  <a:pt x="0" y="223"/>
                </a:cubicBezTo>
                <a:lnTo>
                  <a:pt x="0" y="475"/>
                </a:lnTo>
                <a:lnTo>
                  <a:pt x="0" y="475"/>
                </a:lnTo>
                <a:cubicBezTo>
                  <a:pt x="0" y="597"/>
                  <a:pt x="100" y="697"/>
                  <a:pt x="222" y="697"/>
                </a:cubicBezTo>
                <a:lnTo>
                  <a:pt x="222" y="697"/>
                </a:lnTo>
                <a:cubicBezTo>
                  <a:pt x="344" y="697"/>
                  <a:pt x="444" y="597"/>
                  <a:pt x="444" y="475"/>
                </a:cubicBezTo>
                <a:lnTo>
                  <a:pt x="444" y="223"/>
                </a:lnTo>
                <a:lnTo>
                  <a:pt x="444" y="223"/>
                </a:lnTo>
                <a:cubicBezTo>
                  <a:pt x="444" y="100"/>
                  <a:pt x="344" y="0"/>
                  <a:pt x="2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246" name="Freeform 245">
            <a:extLst>
              <a:ext uri="{FF2B5EF4-FFF2-40B4-BE49-F238E27FC236}">
                <a16:creationId xmlns:a16="http://schemas.microsoft.com/office/drawing/2014/main" id="{0CD859A1-A49D-D740-887F-99CB0D082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1428" y="3388854"/>
            <a:ext cx="1132718" cy="1029524"/>
          </a:xfrm>
          <a:custGeom>
            <a:avLst/>
            <a:gdLst>
              <a:gd name="connsiteX0" fmla="*/ 176895 w 736553"/>
              <a:gd name="connsiteY0" fmla="*/ 422865 h 669451"/>
              <a:gd name="connsiteX1" fmla="*/ 27449 w 736553"/>
              <a:gd name="connsiteY1" fmla="*/ 641882 h 669451"/>
              <a:gd name="connsiteX2" fmla="*/ 709104 w 736553"/>
              <a:gd name="connsiteY2" fmla="*/ 641882 h 669451"/>
              <a:gd name="connsiteX3" fmla="*/ 562708 w 736553"/>
              <a:gd name="connsiteY3" fmla="*/ 422865 h 669451"/>
              <a:gd name="connsiteX4" fmla="*/ 369039 w 736553"/>
              <a:gd name="connsiteY4" fmla="*/ 530076 h 669451"/>
              <a:gd name="connsiteX5" fmla="*/ 176895 w 736553"/>
              <a:gd name="connsiteY5" fmla="*/ 422865 h 669451"/>
              <a:gd name="connsiteX6" fmla="*/ 184710 w 736553"/>
              <a:gd name="connsiteY6" fmla="*/ 392042 h 669451"/>
              <a:gd name="connsiteX7" fmla="*/ 192144 w 736553"/>
              <a:gd name="connsiteY7" fmla="*/ 399891 h 669451"/>
              <a:gd name="connsiteX8" fmla="*/ 369039 w 736553"/>
              <a:gd name="connsiteY8" fmla="*/ 502508 h 669451"/>
              <a:gd name="connsiteX9" fmla="*/ 544409 w 736553"/>
              <a:gd name="connsiteY9" fmla="*/ 399891 h 669451"/>
              <a:gd name="connsiteX10" fmla="*/ 562708 w 736553"/>
              <a:gd name="connsiteY10" fmla="*/ 392233 h 669451"/>
              <a:gd name="connsiteX11" fmla="*/ 736553 w 736553"/>
              <a:gd name="connsiteY11" fmla="*/ 654135 h 669451"/>
              <a:gd name="connsiteX12" fmla="*/ 733503 w 736553"/>
              <a:gd name="connsiteY12" fmla="*/ 663324 h 669451"/>
              <a:gd name="connsiteX13" fmla="*/ 724354 w 736553"/>
              <a:gd name="connsiteY13" fmla="*/ 669451 h 669451"/>
              <a:gd name="connsiteX14" fmla="*/ 13725 w 736553"/>
              <a:gd name="connsiteY14" fmla="*/ 669451 h 669451"/>
              <a:gd name="connsiteX15" fmla="*/ 3050 w 736553"/>
              <a:gd name="connsiteY15" fmla="*/ 663324 h 669451"/>
              <a:gd name="connsiteX16" fmla="*/ 0 w 736553"/>
              <a:gd name="connsiteY16" fmla="*/ 654135 h 669451"/>
              <a:gd name="connsiteX17" fmla="*/ 173845 w 736553"/>
              <a:gd name="connsiteY17" fmla="*/ 392233 h 669451"/>
              <a:gd name="connsiteX18" fmla="*/ 184710 w 736553"/>
              <a:gd name="connsiteY18" fmla="*/ 392042 h 669451"/>
              <a:gd name="connsiteX19" fmla="*/ 369037 w 736553"/>
              <a:gd name="connsiteY19" fmla="*/ 27467 h 669451"/>
              <a:gd name="connsiteX20" fmla="*/ 241946 w 736553"/>
              <a:gd name="connsiteY20" fmla="*/ 155649 h 669451"/>
              <a:gd name="connsiteX21" fmla="*/ 241946 w 736553"/>
              <a:gd name="connsiteY21" fmla="*/ 299091 h 669451"/>
              <a:gd name="connsiteX22" fmla="*/ 369037 w 736553"/>
              <a:gd name="connsiteY22" fmla="*/ 427274 h 669451"/>
              <a:gd name="connsiteX23" fmla="*/ 497641 w 736553"/>
              <a:gd name="connsiteY23" fmla="*/ 299091 h 669451"/>
              <a:gd name="connsiteX24" fmla="*/ 497641 w 736553"/>
              <a:gd name="connsiteY24" fmla="*/ 155649 h 669451"/>
              <a:gd name="connsiteX25" fmla="*/ 369037 w 736553"/>
              <a:gd name="connsiteY25" fmla="*/ 27467 h 669451"/>
              <a:gd name="connsiteX26" fmla="*/ 369037 w 736553"/>
              <a:gd name="connsiteY26" fmla="*/ 0 h 669451"/>
              <a:gd name="connsiteX27" fmla="*/ 521849 w 736553"/>
              <a:gd name="connsiteY27" fmla="*/ 155649 h 669451"/>
              <a:gd name="connsiteX28" fmla="*/ 521849 w 736553"/>
              <a:gd name="connsiteY28" fmla="*/ 299091 h 669451"/>
              <a:gd name="connsiteX29" fmla="*/ 369037 w 736553"/>
              <a:gd name="connsiteY29" fmla="*/ 454741 h 669451"/>
              <a:gd name="connsiteX30" fmla="*/ 214712 w 736553"/>
              <a:gd name="connsiteY30" fmla="*/ 299091 h 669451"/>
              <a:gd name="connsiteX31" fmla="*/ 214712 w 736553"/>
              <a:gd name="connsiteY31" fmla="*/ 155649 h 669451"/>
              <a:gd name="connsiteX32" fmla="*/ 369037 w 736553"/>
              <a:gd name="connsiteY32" fmla="*/ 0 h 669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36553" h="669451">
                <a:moveTo>
                  <a:pt x="176895" y="422865"/>
                </a:moveTo>
                <a:cubicBezTo>
                  <a:pt x="51849" y="485660"/>
                  <a:pt x="30499" y="602061"/>
                  <a:pt x="27449" y="641882"/>
                </a:cubicBezTo>
                <a:lnTo>
                  <a:pt x="709104" y="641882"/>
                </a:lnTo>
                <a:cubicBezTo>
                  <a:pt x="706054" y="602061"/>
                  <a:pt x="684705" y="485660"/>
                  <a:pt x="562708" y="422865"/>
                </a:cubicBezTo>
                <a:cubicBezTo>
                  <a:pt x="521535" y="488723"/>
                  <a:pt x="446812" y="530076"/>
                  <a:pt x="369039" y="530076"/>
                </a:cubicBezTo>
                <a:cubicBezTo>
                  <a:pt x="291266" y="530076"/>
                  <a:pt x="218069" y="488723"/>
                  <a:pt x="176895" y="422865"/>
                </a:cubicBezTo>
                <a:close/>
                <a:moveTo>
                  <a:pt x="184710" y="392042"/>
                </a:moveTo>
                <a:cubicBezTo>
                  <a:pt x="187951" y="393382"/>
                  <a:pt x="190619" y="396062"/>
                  <a:pt x="192144" y="399891"/>
                </a:cubicBezTo>
                <a:cubicBezTo>
                  <a:pt x="228743" y="464218"/>
                  <a:pt x="295841" y="502508"/>
                  <a:pt x="369039" y="502508"/>
                </a:cubicBezTo>
                <a:cubicBezTo>
                  <a:pt x="440712" y="502508"/>
                  <a:pt x="509335" y="464218"/>
                  <a:pt x="544409" y="399891"/>
                </a:cubicBezTo>
                <a:cubicBezTo>
                  <a:pt x="548984" y="392233"/>
                  <a:pt x="556609" y="389170"/>
                  <a:pt x="562708" y="392233"/>
                </a:cubicBezTo>
                <a:cubicBezTo>
                  <a:pt x="735028" y="471876"/>
                  <a:pt x="736553" y="652603"/>
                  <a:pt x="736553" y="654135"/>
                </a:cubicBezTo>
                <a:cubicBezTo>
                  <a:pt x="736553" y="660261"/>
                  <a:pt x="736553" y="661793"/>
                  <a:pt x="733503" y="663324"/>
                </a:cubicBezTo>
                <a:cubicBezTo>
                  <a:pt x="730453" y="666387"/>
                  <a:pt x="727403" y="669451"/>
                  <a:pt x="724354" y="669451"/>
                </a:cubicBezTo>
                <a:lnTo>
                  <a:pt x="13725" y="669451"/>
                </a:lnTo>
                <a:cubicBezTo>
                  <a:pt x="9150" y="669451"/>
                  <a:pt x="6100" y="666387"/>
                  <a:pt x="3050" y="663324"/>
                </a:cubicBezTo>
                <a:cubicBezTo>
                  <a:pt x="1525" y="661793"/>
                  <a:pt x="0" y="660261"/>
                  <a:pt x="0" y="654135"/>
                </a:cubicBezTo>
                <a:cubicBezTo>
                  <a:pt x="0" y="652603"/>
                  <a:pt x="1525" y="471876"/>
                  <a:pt x="173845" y="392233"/>
                </a:cubicBezTo>
                <a:cubicBezTo>
                  <a:pt x="177657" y="390702"/>
                  <a:pt x="181470" y="390702"/>
                  <a:pt x="184710" y="392042"/>
                </a:cubicBezTo>
                <a:close/>
                <a:moveTo>
                  <a:pt x="369037" y="27467"/>
                </a:moveTo>
                <a:cubicBezTo>
                  <a:pt x="297927" y="27467"/>
                  <a:pt x="241946" y="85454"/>
                  <a:pt x="241946" y="155649"/>
                </a:cubicBezTo>
                <a:lnTo>
                  <a:pt x="241946" y="299091"/>
                </a:lnTo>
                <a:cubicBezTo>
                  <a:pt x="241946" y="369286"/>
                  <a:pt x="297927" y="427274"/>
                  <a:pt x="369037" y="427274"/>
                </a:cubicBezTo>
                <a:cubicBezTo>
                  <a:pt x="438635" y="427274"/>
                  <a:pt x="497641" y="369286"/>
                  <a:pt x="497641" y="299091"/>
                </a:cubicBezTo>
                <a:lnTo>
                  <a:pt x="497641" y="155649"/>
                </a:lnTo>
                <a:cubicBezTo>
                  <a:pt x="497641" y="85454"/>
                  <a:pt x="438635" y="27467"/>
                  <a:pt x="369037" y="27467"/>
                </a:cubicBezTo>
                <a:close/>
                <a:moveTo>
                  <a:pt x="369037" y="0"/>
                </a:moveTo>
                <a:cubicBezTo>
                  <a:pt x="453765" y="0"/>
                  <a:pt x="521849" y="70195"/>
                  <a:pt x="521849" y="155649"/>
                </a:cubicBezTo>
                <a:lnTo>
                  <a:pt x="521849" y="299091"/>
                </a:lnTo>
                <a:cubicBezTo>
                  <a:pt x="521849" y="383020"/>
                  <a:pt x="453765" y="454741"/>
                  <a:pt x="369037" y="454741"/>
                </a:cubicBezTo>
                <a:cubicBezTo>
                  <a:pt x="284310" y="454741"/>
                  <a:pt x="214712" y="383020"/>
                  <a:pt x="214712" y="299091"/>
                </a:cubicBezTo>
                <a:lnTo>
                  <a:pt x="214712" y="155649"/>
                </a:lnTo>
                <a:cubicBezTo>
                  <a:pt x="214712" y="70195"/>
                  <a:pt x="284310" y="0"/>
                  <a:pt x="3690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247" name="Freeform 246">
            <a:extLst>
              <a:ext uri="{FF2B5EF4-FFF2-40B4-BE49-F238E27FC236}">
                <a16:creationId xmlns:a16="http://schemas.microsoft.com/office/drawing/2014/main" id="{72AC7B10-9683-534D-AD4F-D0C8B1B13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82187" y="7856800"/>
            <a:ext cx="1042753" cy="986498"/>
          </a:xfrm>
          <a:custGeom>
            <a:avLst/>
            <a:gdLst>
              <a:gd name="connsiteX0" fmla="*/ 569945 w 678053"/>
              <a:gd name="connsiteY0" fmla="*/ 351350 h 641473"/>
              <a:gd name="connsiteX1" fmla="*/ 569945 w 678053"/>
              <a:gd name="connsiteY1" fmla="*/ 413519 h 641473"/>
              <a:gd name="connsiteX2" fmla="*/ 564716 w 678053"/>
              <a:gd name="connsiteY2" fmla="*/ 467054 h 641473"/>
              <a:gd name="connsiteX3" fmla="*/ 562973 w 678053"/>
              <a:gd name="connsiteY3" fmla="*/ 477415 h 641473"/>
              <a:gd name="connsiteX4" fmla="*/ 545544 w 678053"/>
              <a:gd name="connsiteY4" fmla="*/ 525769 h 641473"/>
              <a:gd name="connsiteX5" fmla="*/ 543801 w 678053"/>
              <a:gd name="connsiteY5" fmla="*/ 530950 h 641473"/>
              <a:gd name="connsiteX6" fmla="*/ 552516 w 678053"/>
              <a:gd name="connsiteY6" fmla="*/ 530950 h 641473"/>
              <a:gd name="connsiteX7" fmla="*/ 554259 w 678053"/>
              <a:gd name="connsiteY7" fmla="*/ 530950 h 641473"/>
              <a:gd name="connsiteX8" fmla="*/ 644892 w 678053"/>
              <a:gd name="connsiteY8" fmla="*/ 441150 h 641473"/>
              <a:gd name="connsiteX9" fmla="*/ 569945 w 678053"/>
              <a:gd name="connsiteY9" fmla="*/ 351350 h 641473"/>
              <a:gd name="connsiteX10" fmla="*/ 33116 w 678053"/>
              <a:gd name="connsiteY10" fmla="*/ 270185 h 641473"/>
              <a:gd name="connsiteX11" fmla="*/ 33116 w 678053"/>
              <a:gd name="connsiteY11" fmla="*/ 413519 h 641473"/>
              <a:gd name="connsiteX12" fmla="*/ 130721 w 678053"/>
              <a:gd name="connsiteY12" fmla="*/ 612115 h 641473"/>
              <a:gd name="connsiteX13" fmla="*/ 439224 w 678053"/>
              <a:gd name="connsiteY13" fmla="*/ 612115 h 641473"/>
              <a:gd name="connsiteX14" fmla="*/ 507199 w 678053"/>
              <a:gd name="connsiteY14" fmla="*/ 534404 h 641473"/>
              <a:gd name="connsiteX15" fmla="*/ 535086 w 678053"/>
              <a:gd name="connsiteY15" fmla="*/ 444604 h 641473"/>
              <a:gd name="connsiteX16" fmla="*/ 536829 w 678053"/>
              <a:gd name="connsiteY16" fmla="*/ 413519 h 641473"/>
              <a:gd name="connsiteX17" fmla="*/ 536829 w 678053"/>
              <a:gd name="connsiteY17" fmla="*/ 334081 h 641473"/>
              <a:gd name="connsiteX18" fmla="*/ 536829 w 678053"/>
              <a:gd name="connsiteY18" fmla="*/ 270185 h 641473"/>
              <a:gd name="connsiteX19" fmla="*/ 17430 w 678053"/>
              <a:gd name="connsiteY19" fmla="*/ 237373 h 641473"/>
              <a:gd name="connsiteX20" fmla="*/ 554259 w 678053"/>
              <a:gd name="connsiteY20" fmla="*/ 237373 h 641473"/>
              <a:gd name="connsiteX21" fmla="*/ 569945 w 678053"/>
              <a:gd name="connsiteY21" fmla="*/ 254642 h 641473"/>
              <a:gd name="connsiteX22" fmla="*/ 569945 w 678053"/>
              <a:gd name="connsiteY22" fmla="*/ 320265 h 641473"/>
              <a:gd name="connsiteX23" fmla="*/ 678008 w 678053"/>
              <a:gd name="connsiteY23" fmla="*/ 442877 h 641473"/>
              <a:gd name="connsiteX24" fmla="*/ 554259 w 678053"/>
              <a:gd name="connsiteY24" fmla="*/ 562035 h 641473"/>
              <a:gd name="connsiteX25" fmla="*/ 552516 w 678053"/>
              <a:gd name="connsiteY25" fmla="*/ 562035 h 641473"/>
              <a:gd name="connsiteX26" fmla="*/ 526371 w 678053"/>
              <a:gd name="connsiteY26" fmla="*/ 558581 h 641473"/>
              <a:gd name="connsiteX27" fmla="*/ 453168 w 678053"/>
              <a:gd name="connsiteY27" fmla="*/ 639746 h 641473"/>
              <a:gd name="connsiteX28" fmla="*/ 446196 w 678053"/>
              <a:gd name="connsiteY28" fmla="*/ 641473 h 641473"/>
              <a:gd name="connsiteX29" fmla="*/ 127236 w 678053"/>
              <a:gd name="connsiteY29" fmla="*/ 641473 h 641473"/>
              <a:gd name="connsiteX30" fmla="*/ 116778 w 678053"/>
              <a:gd name="connsiteY30" fmla="*/ 639746 h 641473"/>
              <a:gd name="connsiteX31" fmla="*/ 0 w 678053"/>
              <a:gd name="connsiteY31" fmla="*/ 413519 h 641473"/>
              <a:gd name="connsiteX32" fmla="*/ 0 w 678053"/>
              <a:gd name="connsiteY32" fmla="*/ 254642 h 641473"/>
              <a:gd name="connsiteX33" fmla="*/ 17430 w 678053"/>
              <a:gd name="connsiteY33" fmla="*/ 237373 h 641473"/>
              <a:gd name="connsiteX34" fmla="*/ 412684 w 678053"/>
              <a:gd name="connsiteY34" fmla="*/ 38286 h 641473"/>
              <a:gd name="connsiteX35" fmla="*/ 427192 w 678053"/>
              <a:gd name="connsiteY35" fmla="*/ 54189 h 641473"/>
              <a:gd name="connsiteX36" fmla="*/ 427192 w 678053"/>
              <a:gd name="connsiteY36" fmla="*/ 181415 h 641473"/>
              <a:gd name="connsiteX37" fmla="*/ 412684 w 678053"/>
              <a:gd name="connsiteY37" fmla="*/ 197318 h 641473"/>
              <a:gd name="connsiteX38" fmla="*/ 398175 w 678053"/>
              <a:gd name="connsiteY38" fmla="*/ 181415 h 641473"/>
              <a:gd name="connsiteX39" fmla="*/ 398175 w 678053"/>
              <a:gd name="connsiteY39" fmla="*/ 54189 h 641473"/>
              <a:gd name="connsiteX40" fmla="*/ 412684 w 678053"/>
              <a:gd name="connsiteY40" fmla="*/ 38286 h 641473"/>
              <a:gd name="connsiteX41" fmla="*/ 147405 w 678053"/>
              <a:gd name="connsiteY41" fmla="*/ 38286 h 641473"/>
              <a:gd name="connsiteX42" fmla="*/ 166547 w 678053"/>
              <a:gd name="connsiteY42" fmla="*/ 54189 h 641473"/>
              <a:gd name="connsiteX43" fmla="*/ 166547 w 678053"/>
              <a:gd name="connsiteY43" fmla="*/ 181415 h 641473"/>
              <a:gd name="connsiteX44" fmla="*/ 147405 w 678053"/>
              <a:gd name="connsiteY44" fmla="*/ 197318 h 641473"/>
              <a:gd name="connsiteX45" fmla="*/ 130177 w 678053"/>
              <a:gd name="connsiteY45" fmla="*/ 181415 h 641473"/>
              <a:gd name="connsiteX46" fmla="*/ 130177 w 678053"/>
              <a:gd name="connsiteY46" fmla="*/ 54189 h 641473"/>
              <a:gd name="connsiteX47" fmla="*/ 147405 w 678053"/>
              <a:gd name="connsiteY47" fmla="*/ 38286 h 641473"/>
              <a:gd name="connsiteX48" fmla="*/ 282514 w 678053"/>
              <a:gd name="connsiteY48" fmla="*/ 0 h 641473"/>
              <a:gd name="connsiteX49" fmla="*/ 297022 w 678053"/>
              <a:gd name="connsiteY49" fmla="*/ 15856 h 641473"/>
              <a:gd name="connsiteX50" fmla="*/ 297022 w 678053"/>
              <a:gd name="connsiteY50" fmla="*/ 181469 h 641473"/>
              <a:gd name="connsiteX51" fmla="*/ 282514 w 678053"/>
              <a:gd name="connsiteY51" fmla="*/ 197325 h 641473"/>
              <a:gd name="connsiteX52" fmla="*/ 268005 w 678053"/>
              <a:gd name="connsiteY52" fmla="*/ 181469 h 641473"/>
              <a:gd name="connsiteX53" fmla="*/ 268005 w 678053"/>
              <a:gd name="connsiteY53" fmla="*/ 15856 h 641473"/>
              <a:gd name="connsiteX54" fmla="*/ 282514 w 678053"/>
              <a:gd name="connsiteY54" fmla="*/ 0 h 641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78053" h="641473">
                <a:moveTo>
                  <a:pt x="569945" y="351350"/>
                </a:moveTo>
                <a:lnTo>
                  <a:pt x="569945" y="413519"/>
                </a:lnTo>
                <a:cubicBezTo>
                  <a:pt x="569945" y="432515"/>
                  <a:pt x="568202" y="451512"/>
                  <a:pt x="564716" y="467054"/>
                </a:cubicBezTo>
                <a:cubicBezTo>
                  <a:pt x="562973" y="470508"/>
                  <a:pt x="562973" y="473962"/>
                  <a:pt x="562973" y="477415"/>
                </a:cubicBezTo>
                <a:cubicBezTo>
                  <a:pt x="557745" y="492958"/>
                  <a:pt x="552516" y="510227"/>
                  <a:pt x="545544" y="525769"/>
                </a:cubicBezTo>
                <a:cubicBezTo>
                  <a:pt x="543801" y="527496"/>
                  <a:pt x="543801" y="529223"/>
                  <a:pt x="543801" y="530950"/>
                </a:cubicBezTo>
                <a:cubicBezTo>
                  <a:pt x="547287" y="530950"/>
                  <a:pt x="549030" y="530950"/>
                  <a:pt x="552516" y="530950"/>
                </a:cubicBezTo>
                <a:lnTo>
                  <a:pt x="554259" y="530950"/>
                </a:lnTo>
                <a:cubicBezTo>
                  <a:pt x="604804" y="530950"/>
                  <a:pt x="644892" y="491231"/>
                  <a:pt x="644892" y="441150"/>
                </a:cubicBezTo>
                <a:cubicBezTo>
                  <a:pt x="646635" y="396250"/>
                  <a:pt x="613519" y="359985"/>
                  <a:pt x="569945" y="351350"/>
                </a:cubicBezTo>
                <a:close/>
                <a:moveTo>
                  <a:pt x="33116" y="270185"/>
                </a:moveTo>
                <a:lnTo>
                  <a:pt x="33116" y="413519"/>
                </a:lnTo>
                <a:cubicBezTo>
                  <a:pt x="33116" y="491231"/>
                  <a:pt x="67975" y="562035"/>
                  <a:pt x="130721" y="612115"/>
                </a:cubicBezTo>
                <a:lnTo>
                  <a:pt x="439224" y="612115"/>
                </a:lnTo>
                <a:cubicBezTo>
                  <a:pt x="467111" y="589665"/>
                  <a:pt x="489769" y="563762"/>
                  <a:pt x="507199" y="534404"/>
                </a:cubicBezTo>
                <a:cubicBezTo>
                  <a:pt x="522886" y="505046"/>
                  <a:pt x="533343" y="477415"/>
                  <a:pt x="535086" y="444604"/>
                </a:cubicBezTo>
                <a:cubicBezTo>
                  <a:pt x="536829" y="434242"/>
                  <a:pt x="536829" y="423881"/>
                  <a:pt x="536829" y="413519"/>
                </a:cubicBezTo>
                <a:lnTo>
                  <a:pt x="536829" y="334081"/>
                </a:lnTo>
                <a:lnTo>
                  <a:pt x="536829" y="270185"/>
                </a:lnTo>
                <a:close/>
                <a:moveTo>
                  <a:pt x="17430" y="237373"/>
                </a:moveTo>
                <a:lnTo>
                  <a:pt x="554259" y="237373"/>
                </a:lnTo>
                <a:cubicBezTo>
                  <a:pt x="562973" y="237373"/>
                  <a:pt x="569945" y="246008"/>
                  <a:pt x="569945" y="254642"/>
                </a:cubicBezTo>
                <a:lnTo>
                  <a:pt x="569945" y="320265"/>
                </a:lnTo>
                <a:cubicBezTo>
                  <a:pt x="630949" y="327173"/>
                  <a:pt x="679751" y="380708"/>
                  <a:pt x="678008" y="442877"/>
                </a:cubicBezTo>
                <a:cubicBezTo>
                  <a:pt x="678008" y="508500"/>
                  <a:pt x="620491" y="562035"/>
                  <a:pt x="554259" y="562035"/>
                </a:cubicBezTo>
                <a:lnTo>
                  <a:pt x="552516" y="562035"/>
                </a:lnTo>
                <a:cubicBezTo>
                  <a:pt x="543801" y="562035"/>
                  <a:pt x="535086" y="560308"/>
                  <a:pt x="526371" y="558581"/>
                </a:cubicBezTo>
                <a:cubicBezTo>
                  <a:pt x="508942" y="589665"/>
                  <a:pt x="484541" y="617296"/>
                  <a:pt x="453168" y="639746"/>
                </a:cubicBezTo>
                <a:cubicBezTo>
                  <a:pt x="451425" y="641473"/>
                  <a:pt x="447939" y="641473"/>
                  <a:pt x="446196" y="641473"/>
                </a:cubicBezTo>
                <a:lnTo>
                  <a:pt x="127236" y="641473"/>
                </a:lnTo>
                <a:cubicBezTo>
                  <a:pt x="123750" y="641473"/>
                  <a:pt x="120264" y="641473"/>
                  <a:pt x="116778" y="639746"/>
                </a:cubicBezTo>
                <a:cubicBezTo>
                  <a:pt x="43574" y="586212"/>
                  <a:pt x="0" y="503319"/>
                  <a:pt x="0" y="413519"/>
                </a:cubicBezTo>
                <a:lnTo>
                  <a:pt x="0" y="254642"/>
                </a:lnTo>
                <a:cubicBezTo>
                  <a:pt x="0" y="246008"/>
                  <a:pt x="8715" y="237373"/>
                  <a:pt x="17430" y="237373"/>
                </a:cubicBezTo>
                <a:close/>
                <a:moveTo>
                  <a:pt x="412684" y="38286"/>
                </a:moveTo>
                <a:cubicBezTo>
                  <a:pt x="419132" y="38286"/>
                  <a:pt x="427192" y="45354"/>
                  <a:pt x="427192" y="54189"/>
                </a:cubicBezTo>
                <a:lnTo>
                  <a:pt x="427192" y="181415"/>
                </a:lnTo>
                <a:cubicBezTo>
                  <a:pt x="427192" y="190250"/>
                  <a:pt x="419132" y="197318"/>
                  <a:pt x="412684" y="197318"/>
                </a:cubicBezTo>
                <a:cubicBezTo>
                  <a:pt x="404623" y="197318"/>
                  <a:pt x="398175" y="190250"/>
                  <a:pt x="398175" y="181415"/>
                </a:cubicBezTo>
                <a:lnTo>
                  <a:pt x="398175" y="54189"/>
                </a:lnTo>
                <a:cubicBezTo>
                  <a:pt x="398175" y="45354"/>
                  <a:pt x="404623" y="38286"/>
                  <a:pt x="412684" y="38286"/>
                </a:cubicBezTo>
                <a:close/>
                <a:moveTo>
                  <a:pt x="147405" y="38286"/>
                </a:moveTo>
                <a:cubicBezTo>
                  <a:pt x="158890" y="38286"/>
                  <a:pt x="166547" y="45354"/>
                  <a:pt x="166547" y="54189"/>
                </a:cubicBezTo>
                <a:lnTo>
                  <a:pt x="166547" y="181415"/>
                </a:lnTo>
                <a:cubicBezTo>
                  <a:pt x="166547" y="190250"/>
                  <a:pt x="158890" y="197318"/>
                  <a:pt x="147405" y="197318"/>
                </a:cubicBezTo>
                <a:cubicBezTo>
                  <a:pt x="137834" y="197318"/>
                  <a:pt x="130177" y="190250"/>
                  <a:pt x="130177" y="181415"/>
                </a:cubicBezTo>
                <a:lnTo>
                  <a:pt x="130177" y="54189"/>
                </a:lnTo>
                <a:cubicBezTo>
                  <a:pt x="130177" y="45354"/>
                  <a:pt x="137834" y="38286"/>
                  <a:pt x="147405" y="38286"/>
                </a:cubicBezTo>
                <a:close/>
                <a:moveTo>
                  <a:pt x="282514" y="0"/>
                </a:moveTo>
                <a:cubicBezTo>
                  <a:pt x="288962" y="0"/>
                  <a:pt x="297022" y="7047"/>
                  <a:pt x="297022" y="15856"/>
                </a:cubicBezTo>
                <a:lnTo>
                  <a:pt x="297022" y="181469"/>
                </a:lnTo>
                <a:cubicBezTo>
                  <a:pt x="297022" y="190278"/>
                  <a:pt x="288962" y="197325"/>
                  <a:pt x="282514" y="197325"/>
                </a:cubicBezTo>
                <a:cubicBezTo>
                  <a:pt x="274453" y="197325"/>
                  <a:pt x="268005" y="190278"/>
                  <a:pt x="268005" y="181469"/>
                </a:cubicBezTo>
                <a:lnTo>
                  <a:pt x="268005" y="15856"/>
                </a:lnTo>
                <a:cubicBezTo>
                  <a:pt x="268005" y="7047"/>
                  <a:pt x="274453" y="0"/>
                  <a:pt x="2825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8665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19">
            <a:extLst>
              <a:ext uri="{FF2B5EF4-FFF2-40B4-BE49-F238E27FC236}">
                <a16:creationId xmlns:a16="http://schemas.microsoft.com/office/drawing/2014/main" id="{D455EF41-D6EF-B945-9EE4-4A377491D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59" y="0"/>
            <a:ext cx="11790232" cy="13716000"/>
          </a:xfrm>
          <a:custGeom>
            <a:avLst/>
            <a:gdLst>
              <a:gd name="connsiteX0" fmla="*/ 4186244 w 11790232"/>
              <a:gd name="connsiteY0" fmla="*/ 0 h 13716000"/>
              <a:gd name="connsiteX1" fmla="*/ 5923889 w 11790232"/>
              <a:gd name="connsiteY1" fmla="*/ 0 h 13716000"/>
              <a:gd name="connsiteX2" fmla="*/ 5923889 w 11790232"/>
              <a:gd name="connsiteY2" fmla="*/ 4991514 h 13716000"/>
              <a:gd name="connsiteX3" fmla="*/ 6782503 w 11790232"/>
              <a:gd name="connsiteY3" fmla="*/ 4991514 h 13716000"/>
              <a:gd name="connsiteX4" fmla="*/ 6782503 w 11790232"/>
              <a:gd name="connsiteY4" fmla="*/ 0 h 13716000"/>
              <a:gd name="connsiteX5" fmla="*/ 8520149 w 11790232"/>
              <a:gd name="connsiteY5" fmla="*/ 0 h 13716000"/>
              <a:gd name="connsiteX6" fmla="*/ 8520149 w 11790232"/>
              <a:gd name="connsiteY6" fmla="*/ 4991514 h 13716000"/>
              <a:gd name="connsiteX7" fmla="*/ 9254207 w 11790232"/>
              <a:gd name="connsiteY7" fmla="*/ 4991514 h 13716000"/>
              <a:gd name="connsiteX8" fmla="*/ 11790232 w 11790232"/>
              <a:gd name="connsiteY8" fmla="*/ 7526516 h 13716000"/>
              <a:gd name="connsiteX9" fmla="*/ 11790232 w 11790232"/>
              <a:gd name="connsiteY9" fmla="*/ 13716000 h 13716000"/>
              <a:gd name="connsiteX10" fmla="*/ 10052585 w 11790232"/>
              <a:gd name="connsiteY10" fmla="*/ 13716000 h 13716000"/>
              <a:gd name="connsiteX11" fmla="*/ 10052585 w 11790232"/>
              <a:gd name="connsiteY11" fmla="*/ 7526516 h 13716000"/>
              <a:gd name="connsiteX12" fmla="*/ 9254207 w 11790232"/>
              <a:gd name="connsiteY12" fmla="*/ 6730180 h 13716000"/>
              <a:gd name="connsiteX13" fmla="*/ 5923889 w 11790232"/>
              <a:gd name="connsiteY13" fmla="*/ 6730180 h 13716000"/>
              <a:gd name="connsiteX14" fmla="*/ 5923889 w 11790232"/>
              <a:gd name="connsiteY14" fmla="*/ 9439764 h 13716000"/>
              <a:gd name="connsiteX15" fmla="*/ 3269437 w 11790232"/>
              <a:gd name="connsiteY15" fmla="*/ 11975788 h 13716000"/>
              <a:gd name="connsiteX16" fmla="*/ 0 w 11790232"/>
              <a:gd name="connsiteY16" fmla="*/ 11975788 h 13716000"/>
              <a:gd name="connsiteX17" fmla="*/ 0 w 11790232"/>
              <a:gd name="connsiteY17" fmla="*/ 10238142 h 13716000"/>
              <a:gd name="connsiteX18" fmla="*/ 3387865 w 11790232"/>
              <a:gd name="connsiteY18" fmla="*/ 10238142 h 13716000"/>
              <a:gd name="connsiteX19" fmla="*/ 4186244 w 11790232"/>
              <a:gd name="connsiteY19" fmla="*/ 9439764 h 13716000"/>
              <a:gd name="connsiteX20" fmla="*/ 4186244 w 11790232"/>
              <a:gd name="connsiteY20" fmla="*/ 6730180 h 13716000"/>
              <a:gd name="connsiteX21" fmla="*/ 0 w 11790232"/>
              <a:gd name="connsiteY21" fmla="*/ 6730180 h 13716000"/>
              <a:gd name="connsiteX22" fmla="*/ 0 w 11790232"/>
              <a:gd name="connsiteY22" fmla="*/ 4991514 h 13716000"/>
              <a:gd name="connsiteX23" fmla="*/ 4186244 w 11790232"/>
              <a:gd name="connsiteY23" fmla="*/ 4991514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790232" h="13716000">
                <a:moveTo>
                  <a:pt x="4186244" y="0"/>
                </a:moveTo>
                <a:lnTo>
                  <a:pt x="5923889" y="0"/>
                </a:lnTo>
                <a:lnTo>
                  <a:pt x="5923889" y="4991514"/>
                </a:lnTo>
                <a:lnTo>
                  <a:pt x="6782503" y="4991514"/>
                </a:lnTo>
                <a:lnTo>
                  <a:pt x="6782503" y="0"/>
                </a:lnTo>
                <a:lnTo>
                  <a:pt x="8520149" y="0"/>
                </a:lnTo>
                <a:lnTo>
                  <a:pt x="8520149" y="4991514"/>
                </a:lnTo>
                <a:lnTo>
                  <a:pt x="9254207" y="4991514"/>
                </a:lnTo>
                <a:cubicBezTo>
                  <a:pt x="10653921" y="4991514"/>
                  <a:pt x="11790232" y="6126804"/>
                  <a:pt x="11790232" y="7526516"/>
                </a:cubicBezTo>
                <a:lnTo>
                  <a:pt x="11790232" y="13716000"/>
                </a:lnTo>
                <a:lnTo>
                  <a:pt x="10052585" y="13716000"/>
                </a:lnTo>
                <a:lnTo>
                  <a:pt x="10052585" y="7526516"/>
                </a:lnTo>
                <a:cubicBezTo>
                  <a:pt x="10052585" y="7086490"/>
                  <a:pt x="9695255" y="6730180"/>
                  <a:pt x="9254207" y="6730180"/>
                </a:cubicBezTo>
                <a:lnTo>
                  <a:pt x="5923889" y="6730180"/>
                </a:lnTo>
                <a:lnTo>
                  <a:pt x="5923889" y="9439764"/>
                </a:lnTo>
                <a:cubicBezTo>
                  <a:pt x="5923889" y="10840499"/>
                  <a:pt x="4670170" y="11975788"/>
                  <a:pt x="3269437" y="11975788"/>
                </a:cubicBezTo>
                <a:lnTo>
                  <a:pt x="0" y="11975788"/>
                </a:lnTo>
                <a:lnTo>
                  <a:pt x="0" y="10238142"/>
                </a:lnTo>
                <a:lnTo>
                  <a:pt x="3387865" y="10238142"/>
                </a:lnTo>
                <a:cubicBezTo>
                  <a:pt x="3828913" y="10238142"/>
                  <a:pt x="4186244" y="9880812"/>
                  <a:pt x="4186244" y="9439764"/>
                </a:cubicBezTo>
                <a:lnTo>
                  <a:pt x="4186244" y="6730180"/>
                </a:lnTo>
                <a:lnTo>
                  <a:pt x="0" y="6730180"/>
                </a:lnTo>
                <a:lnTo>
                  <a:pt x="0" y="4991514"/>
                </a:lnTo>
                <a:lnTo>
                  <a:pt x="4186244" y="4991514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D38179C-06CB-DC4E-9485-2F1F6B536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079" y="0"/>
            <a:ext cx="1739226" cy="6466982"/>
          </a:xfrm>
          <a:custGeom>
            <a:avLst/>
            <a:gdLst>
              <a:gd name="connsiteX0" fmla="*/ 0 w 1739226"/>
              <a:gd name="connsiteY0" fmla="*/ 0 h 6466982"/>
              <a:gd name="connsiteX1" fmla="*/ 1739226 w 1739226"/>
              <a:gd name="connsiteY1" fmla="*/ 0 h 6466982"/>
              <a:gd name="connsiteX2" fmla="*/ 1739226 w 1739226"/>
              <a:gd name="connsiteY2" fmla="*/ 6466982 h 6466982"/>
              <a:gd name="connsiteX3" fmla="*/ 0 w 1739226"/>
              <a:gd name="connsiteY3" fmla="*/ 6466982 h 6466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9226" h="6466982">
                <a:moveTo>
                  <a:pt x="0" y="0"/>
                </a:moveTo>
                <a:lnTo>
                  <a:pt x="1739226" y="0"/>
                </a:lnTo>
                <a:lnTo>
                  <a:pt x="1739226" y="6466982"/>
                </a:lnTo>
                <a:lnTo>
                  <a:pt x="0" y="6466982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7236249A-AD13-2C4F-ABE6-DFA0E8EA3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432" y="10484"/>
            <a:ext cx="0" cy="5029200"/>
          </a:xfrm>
          <a:custGeom>
            <a:avLst/>
            <a:gdLst>
              <a:gd name="T0" fmla="*/ 0 w 2"/>
              <a:gd name="T1" fmla="*/ 0 h 8771"/>
              <a:gd name="T2" fmla="*/ 0 w 2"/>
              <a:gd name="T3" fmla="*/ 0 h 8771"/>
              <a:gd name="T4" fmla="*/ 1 w 2"/>
              <a:gd name="T5" fmla="*/ 8770 h 8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" h="8771">
                <a:moveTo>
                  <a:pt x="0" y="0"/>
                </a:moveTo>
                <a:lnTo>
                  <a:pt x="0" y="0"/>
                </a:lnTo>
                <a:cubicBezTo>
                  <a:pt x="1" y="2926"/>
                  <a:pt x="1" y="5843"/>
                  <a:pt x="1" y="8770"/>
                </a:cubicBezTo>
              </a:path>
            </a:pathLst>
          </a:custGeom>
          <a:noFill/>
          <a:ln w="38100" cap="flat">
            <a:solidFill>
              <a:srgbClr val="FFFF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5" name="Line 5">
            <a:extLst>
              <a:ext uri="{FF2B5EF4-FFF2-40B4-BE49-F238E27FC236}">
                <a16:creationId xmlns:a16="http://schemas.microsoft.com/office/drawing/2014/main" id="{7C9E347A-0320-3D4E-BAD1-8DF6CE6EFECF}"/>
              </a:ext>
            </a:extLst>
          </p:cNvPr>
          <p:cNvSpPr>
            <a:spLocks noChangeShapeType="1"/>
          </p:cNvSpPr>
          <p:nvPr/>
        </p:nvSpPr>
        <p:spPr bwMode="auto">
          <a:xfrm>
            <a:off x="7770932" y="6368958"/>
            <a:ext cx="4500" cy="99045"/>
          </a:xfrm>
          <a:prstGeom prst="line">
            <a:avLst/>
          </a:prstGeom>
          <a:noFill/>
          <a:ln w="248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2D3E2C6C-3FEF-D948-BCB6-D7278BC0E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7275" y="-2692"/>
            <a:ext cx="0" cy="5029200"/>
          </a:xfrm>
          <a:custGeom>
            <a:avLst/>
            <a:gdLst>
              <a:gd name="T0" fmla="*/ 0 w 3"/>
              <a:gd name="T1" fmla="*/ 0 h 9249"/>
              <a:gd name="T2" fmla="*/ 0 w 3"/>
              <a:gd name="T3" fmla="*/ 0 h 9249"/>
              <a:gd name="T4" fmla="*/ 2 w 3"/>
              <a:gd name="T5" fmla="*/ 9248 h 9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9249">
                <a:moveTo>
                  <a:pt x="0" y="0"/>
                </a:moveTo>
                <a:lnTo>
                  <a:pt x="0" y="0"/>
                </a:lnTo>
                <a:cubicBezTo>
                  <a:pt x="1" y="3086"/>
                  <a:pt x="1" y="6162"/>
                  <a:pt x="2" y="9248"/>
                </a:cubicBez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01499B00-FD31-994C-9508-98DC300A0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588" y="-6769"/>
            <a:ext cx="0" cy="5029200"/>
          </a:xfrm>
          <a:custGeom>
            <a:avLst/>
            <a:gdLst>
              <a:gd name="T0" fmla="*/ 2 w 3"/>
              <a:gd name="T1" fmla="*/ 0 h 9250"/>
              <a:gd name="T2" fmla="*/ 2 w 3"/>
              <a:gd name="T3" fmla="*/ 0 h 9250"/>
              <a:gd name="T4" fmla="*/ 2 w 3"/>
              <a:gd name="T5" fmla="*/ 9249 h 9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" h="9250">
                <a:moveTo>
                  <a:pt x="2" y="0"/>
                </a:moveTo>
                <a:lnTo>
                  <a:pt x="2" y="0"/>
                </a:lnTo>
                <a:cubicBezTo>
                  <a:pt x="0" y="3087"/>
                  <a:pt x="0" y="6163"/>
                  <a:pt x="2" y="9249"/>
                </a:cubicBez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41EB43B8-2F39-5045-95FD-D3D8D9C2A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874282"/>
            <a:ext cx="11911787" cy="8841719"/>
          </a:xfrm>
          <a:custGeom>
            <a:avLst/>
            <a:gdLst>
              <a:gd name="connsiteX0" fmla="*/ 0 w 11911787"/>
              <a:gd name="connsiteY0" fmla="*/ 0 h 8841719"/>
              <a:gd name="connsiteX1" fmla="*/ 9375724 w 11911787"/>
              <a:gd name="connsiteY1" fmla="*/ 0 h 8841719"/>
              <a:gd name="connsiteX2" fmla="*/ 11911787 w 11911787"/>
              <a:gd name="connsiteY2" fmla="*/ 2535256 h 8841719"/>
              <a:gd name="connsiteX3" fmla="*/ 11911787 w 11911787"/>
              <a:gd name="connsiteY3" fmla="*/ 8841719 h 8841719"/>
              <a:gd name="connsiteX4" fmla="*/ 10173094 w 11911787"/>
              <a:gd name="connsiteY4" fmla="*/ 8841719 h 8841719"/>
              <a:gd name="connsiteX5" fmla="*/ 10173094 w 11911787"/>
              <a:gd name="connsiteY5" fmla="*/ 2535256 h 8841719"/>
              <a:gd name="connsiteX6" fmla="*/ 9375724 w 11911787"/>
              <a:gd name="connsiteY6" fmla="*/ 1737820 h 8841719"/>
              <a:gd name="connsiteX7" fmla="*/ 0 w 11911787"/>
              <a:gd name="connsiteY7" fmla="*/ 1737820 h 8841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11787" h="8841719">
                <a:moveTo>
                  <a:pt x="0" y="0"/>
                </a:moveTo>
                <a:lnTo>
                  <a:pt x="9375724" y="0"/>
                </a:lnTo>
                <a:cubicBezTo>
                  <a:pt x="10775459" y="0"/>
                  <a:pt x="11911787" y="1134381"/>
                  <a:pt x="11911787" y="2535256"/>
                </a:cubicBezTo>
                <a:lnTo>
                  <a:pt x="11911787" y="8841719"/>
                </a:lnTo>
                <a:lnTo>
                  <a:pt x="10173094" y="8841719"/>
                </a:lnTo>
                <a:lnTo>
                  <a:pt x="10173094" y="2535256"/>
                </a:lnTo>
                <a:cubicBezTo>
                  <a:pt x="10173094" y="2095186"/>
                  <a:pt x="9816779" y="1737820"/>
                  <a:pt x="9375724" y="1737820"/>
                </a:cubicBezTo>
                <a:lnTo>
                  <a:pt x="0" y="173782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30E25FAF-14D9-B442-B6AA-B0D03F6809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006" y="5743171"/>
            <a:ext cx="10818408" cy="10912949"/>
          </a:xfrm>
          <a:custGeom>
            <a:avLst/>
            <a:gdLst>
              <a:gd name="T0" fmla="*/ 0 w 10598"/>
              <a:gd name="T1" fmla="*/ 0 h 10691"/>
              <a:gd name="T2" fmla="*/ 8899 w 10598"/>
              <a:gd name="T3" fmla="*/ 0 h 10691"/>
              <a:gd name="T4" fmla="*/ 8899 w 10598"/>
              <a:gd name="T5" fmla="*/ 0 h 10691"/>
              <a:gd name="T6" fmla="*/ 10597 w 10598"/>
              <a:gd name="T7" fmla="*/ 1696 h 10691"/>
              <a:gd name="T8" fmla="*/ 10597 w 10598"/>
              <a:gd name="T9" fmla="*/ 10690 h 10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98" h="10691">
                <a:moveTo>
                  <a:pt x="0" y="0"/>
                </a:moveTo>
                <a:lnTo>
                  <a:pt x="8899" y="0"/>
                </a:lnTo>
                <a:lnTo>
                  <a:pt x="8899" y="0"/>
                </a:lnTo>
                <a:cubicBezTo>
                  <a:pt x="9837" y="0"/>
                  <a:pt x="10597" y="760"/>
                  <a:pt x="10597" y="1696"/>
                </a:cubicBezTo>
                <a:lnTo>
                  <a:pt x="10597" y="10690"/>
                </a:lnTo>
              </a:path>
            </a:pathLst>
          </a:custGeom>
          <a:noFill/>
          <a:ln w="38100" cap="flat">
            <a:solidFill>
              <a:srgbClr val="FFFF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0" name="Freeform 12">
            <a:extLst>
              <a:ext uri="{FF2B5EF4-FFF2-40B4-BE49-F238E27FC236}">
                <a16:creationId xmlns:a16="http://schemas.microsoft.com/office/drawing/2014/main" id="{66706401-8E66-F14F-90DA-B1EFB034D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7125" y="4986827"/>
            <a:ext cx="11867382" cy="11867382"/>
          </a:xfrm>
          <a:custGeom>
            <a:avLst/>
            <a:gdLst>
              <a:gd name="T0" fmla="*/ 0 w 11624"/>
              <a:gd name="T1" fmla="*/ 0 h 11624"/>
              <a:gd name="T2" fmla="*/ 9146 w 11624"/>
              <a:gd name="T3" fmla="*/ 0 h 11624"/>
              <a:gd name="T4" fmla="*/ 9146 w 11624"/>
              <a:gd name="T5" fmla="*/ 0 h 11624"/>
              <a:gd name="T6" fmla="*/ 11623 w 11624"/>
              <a:gd name="T7" fmla="*/ 2476 h 11624"/>
              <a:gd name="T8" fmla="*/ 11623 w 11624"/>
              <a:gd name="T9" fmla="*/ 11623 h 11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24" h="11624">
                <a:moveTo>
                  <a:pt x="0" y="0"/>
                </a:moveTo>
                <a:lnTo>
                  <a:pt x="9146" y="0"/>
                </a:lnTo>
                <a:lnTo>
                  <a:pt x="9146" y="0"/>
                </a:lnTo>
                <a:cubicBezTo>
                  <a:pt x="10513" y="0"/>
                  <a:pt x="11623" y="1110"/>
                  <a:pt x="11623" y="2476"/>
                </a:cubicBezTo>
                <a:lnTo>
                  <a:pt x="11623" y="11623"/>
                </a:ln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1" name="Freeform 13">
            <a:extLst>
              <a:ext uri="{FF2B5EF4-FFF2-40B4-BE49-F238E27FC236}">
                <a16:creationId xmlns:a16="http://schemas.microsoft.com/office/drawing/2014/main" id="{869B1F7B-5129-5A43-9D51-D9D2572C5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7127" y="6495014"/>
            <a:ext cx="10359200" cy="10359197"/>
          </a:xfrm>
          <a:custGeom>
            <a:avLst/>
            <a:gdLst>
              <a:gd name="T0" fmla="*/ 0 w 10145"/>
              <a:gd name="T1" fmla="*/ 0 h 10145"/>
              <a:gd name="T2" fmla="*/ 9277 w 10145"/>
              <a:gd name="T3" fmla="*/ 0 h 10145"/>
              <a:gd name="T4" fmla="*/ 9277 w 10145"/>
              <a:gd name="T5" fmla="*/ 0 h 10145"/>
              <a:gd name="T6" fmla="*/ 10144 w 10145"/>
              <a:gd name="T7" fmla="*/ 866 h 10145"/>
              <a:gd name="T8" fmla="*/ 10144 w 10145"/>
              <a:gd name="T9" fmla="*/ 10144 h 10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5" h="10145">
                <a:moveTo>
                  <a:pt x="0" y="0"/>
                </a:moveTo>
                <a:lnTo>
                  <a:pt x="9277" y="0"/>
                </a:lnTo>
                <a:lnTo>
                  <a:pt x="9277" y="0"/>
                </a:lnTo>
                <a:cubicBezTo>
                  <a:pt x="9756" y="0"/>
                  <a:pt x="10144" y="389"/>
                  <a:pt x="10144" y="866"/>
                </a:cubicBezTo>
                <a:lnTo>
                  <a:pt x="10144" y="10144"/>
                </a:ln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1440661D-0539-B844-B36D-1AA6126C5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6279734" cy="11860426"/>
          </a:xfrm>
          <a:custGeom>
            <a:avLst/>
            <a:gdLst>
              <a:gd name="connsiteX0" fmla="*/ 4541041 w 6279734"/>
              <a:gd name="connsiteY0" fmla="*/ 0 h 11860426"/>
              <a:gd name="connsiteX1" fmla="*/ 6279734 w 6279734"/>
              <a:gd name="connsiteY1" fmla="*/ 0 h 11860426"/>
              <a:gd name="connsiteX2" fmla="*/ 6279734 w 6279734"/>
              <a:gd name="connsiteY2" fmla="*/ 9324363 h 11860426"/>
              <a:gd name="connsiteX3" fmla="*/ 3743673 w 6279734"/>
              <a:gd name="connsiteY3" fmla="*/ 11860426 h 11860426"/>
              <a:gd name="connsiteX4" fmla="*/ 0 w 6279734"/>
              <a:gd name="connsiteY4" fmla="*/ 11860426 h 11860426"/>
              <a:gd name="connsiteX5" fmla="*/ 0 w 6279734"/>
              <a:gd name="connsiteY5" fmla="*/ 10122754 h 11860426"/>
              <a:gd name="connsiteX6" fmla="*/ 3743673 w 6279734"/>
              <a:gd name="connsiteY6" fmla="*/ 10122754 h 11860426"/>
              <a:gd name="connsiteX7" fmla="*/ 4541041 w 6279734"/>
              <a:gd name="connsiteY7" fmla="*/ 9324363 h 11860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79734" h="11860426">
                <a:moveTo>
                  <a:pt x="4541041" y="0"/>
                </a:moveTo>
                <a:lnTo>
                  <a:pt x="6279734" y="0"/>
                </a:lnTo>
                <a:lnTo>
                  <a:pt x="6279734" y="9324363"/>
                </a:lnTo>
                <a:cubicBezTo>
                  <a:pt x="6279734" y="10725119"/>
                  <a:pt x="5143407" y="11860426"/>
                  <a:pt x="3743673" y="11860426"/>
                </a:cubicBezTo>
                <a:lnTo>
                  <a:pt x="0" y="11860426"/>
                </a:lnTo>
                <a:lnTo>
                  <a:pt x="0" y="10122754"/>
                </a:lnTo>
                <a:lnTo>
                  <a:pt x="3743673" y="10122754"/>
                </a:lnTo>
                <a:cubicBezTo>
                  <a:pt x="4184726" y="10122754"/>
                  <a:pt x="4541041" y="9765418"/>
                  <a:pt x="4541041" y="9324363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5E938A23-526B-2C4A-AB4B-18E3BC770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505593" y="169644"/>
            <a:ext cx="10917452" cy="10818408"/>
          </a:xfrm>
          <a:custGeom>
            <a:avLst/>
            <a:gdLst>
              <a:gd name="T0" fmla="*/ 10691 w 10692"/>
              <a:gd name="T1" fmla="*/ 0 h 10598"/>
              <a:gd name="T2" fmla="*/ 10691 w 10692"/>
              <a:gd name="T3" fmla="*/ 8899 h 10598"/>
              <a:gd name="T4" fmla="*/ 10691 w 10692"/>
              <a:gd name="T5" fmla="*/ 8899 h 10598"/>
              <a:gd name="T6" fmla="*/ 8993 w 10692"/>
              <a:gd name="T7" fmla="*/ 10597 h 10598"/>
              <a:gd name="T8" fmla="*/ 0 w 10692"/>
              <a:gd name="T9" fmla="*/ 10597 h 10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92" h="10598">
                <a:moveTo>
                  <a:pt x="10691" y="0"/>
                </a:moveTo>
                <a:lnTo>
                  <a:pt x="10691" y="8899"/>
                </a:lnTo>
                <a:lnTo>
                  <a:pt x="10691" y="8899"/>
                </a:lnTo>
                <a:cubicBezTo>
                  <a:pt x="10691" y="9837"/>
                  <a:pt x="9931" y="10597"/>
                  <a:pt x="8993" y="10597"/>
                </a:cubicBezTo>
                <a:lnTo>
                  <a:pt x="0" y="10597"/>
                </a:lnTo>
              </a:path>
            </a:pathLst>
          </a:custGeom>
          <a:noFill/>
          <a:ln w="38100" cap="flat">
            <a:solidFill>
              <a:srgbClr val="FFFF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4" name="Freeform 18">
            <a:extLst>
              <a:ext uri="{FF2B5EF4-FFF2-40B4-BE49-F238E27FC236}">
                <a16:creationId xmlns:a16="http://schemas.microsoft.com/office/drawing/2014/main" id="{8895A733-F02E-DA49-8E8D-7555720AD8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699179" y="-118486"/>
            <a:ext cx="11867382" cy="11867382"/>
          </a:xfrm>
          <a:custGeom>
            <a:avLst/>
            <a:gdLst>
              <a:gd name="T0" fmla="*/ 11623 w 11624"/>
              <a:gd name="T1" fmla="*/ 0 h 11624"/>
              <a:gd name="T2" fmla="*/ 11623 w 11624"/>
              <a:gd name="T3" fmla="*/ 9146 h 11624"/>
              <a:gd name="T4" fmla="*/ 11623 w 11624"/>
              <a:gd name="T5" fmla="*/ 9146 h 11624"/>
              <a:gd name="T6" fmla="*/ 9146 w 11624"/>
              <a:gd name="T7" fmla="*/ 11623 h 11624"/>
              <a:gd name="T8" fmla="*/ 0 w 11624"/>
              <a:gd name="T9" fmla="*/ 11623 h 11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24" h="11624">
                <a:moveTo>
                  <a:pt x="11623" y="0"/>
                </a:moveTo>
                <a:lnTo>
                  <a:pt x="11623" y="9146"/>
                </a:lnTo>
                <a:lnTo>
                  <a:pt x="11623" y="9146"/>
                </a:lnTo>
                <a:cubicBezTo>
                  <a:pt x="11623" y="10514"/>
                  <a:pt x="10513" y="11623"/>
                  <a:pt x="9146" y="11623"/>
                </a:cubicBezTo>
                <a:lnTo>
                  <a:pt x="0" y="11623"/>
                </a:ln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15" name="Freeform 19">
            <a:extLst>
              <a:ext uri="{FF2B5EF4-FFF2-40B4-BE49-F238E27FC236}">
                <a16:creationId xmlns:a16="http://schemas.microsoft.com/office/drawing/2014/main" id="{4F2EDFA8-18FB-0F4E-9B43-58A056C59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699177" y="-118488"/>
            <a:ext cx="10359197" cy="10359200"/>
          </a:xfrm>
          <a:custGeom>
            <a:avLst/>
            <a:gdLst>
              <a:gd name="T0" fmla="*/ 10144 w 10145"/>
              <a:gd name="T1" fmla="*/ 0 h 10145"/>
              <a:gd name="T2" fmla="*/ 10144 w 10145"/>
              <a:gd name="T3" fmla="*/ 9277 h 10145"/>
              <a:gd name="T4" fmla="*/ 10144 w 10145"/>
              <a:gd name="T5" fmla="*/ 9277 h 10145"/>
              <a:gd name="T6" fmla="*/ 9277 w 10145"/>
              <a:gd name="T7" fmla="*/ 10144 h 10145"/>
              <a:gd name="T8" fmla="*/ 0 w 10145"/>
              <a:gd name="T9" fmla="*/ 10144 h 10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45" h="10145">
                <a:moveTo>
                  <a:pt x="10144" y="0"/>
                </a:moveTo>
                <a:lnTo>
                  <a:pt x="10144" y="9277"/>
                </a:lnTo>
                <a:lnTo>
                  <a:pt x="10144" y="9277"/>
                </a:lnTo>
                <a:cubicBezTo>
                  <a:pt x="10144" y="9756"/>
                  <a:pt x="9756" y="10144"/>
                  <a:pt x="9277" y="10144"/>
                </a:cubicBezTo>
                <a:lnTo>
                  <a:pt x="0" y="10144"/>
                </a:lnTo>
              </a:path>
            </a:pathLst>
          </a:custGeom>
          <a:noFill/>
          <a:ln w="3810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A6CB16-E831-1046-961F-9FE295D19564}"/>
              </a:ext>
            </a:extLst>
          </p:cNvPr>
          <p:cNvSpPr txBox="1"/>
          <p:nvPr/>
        </p:nvSpPr>
        <p:spPr>
          <a:xfrm>
            <a:off x="15797854" y="3182343"/>
            <a:ext cx="19575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uctur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1A78E4A0-E4AA-0943-AFAA-0DD9F5E92B6A}"/>
              </a:ext>
            </a:extLst>
          </p:cNvPr>
          <p:cNvSpPr txBox="1">
            <a:spLocks/>
          </p:cNvSpPr>
          <p:nvPr/>
        </p:nvSpPr>
        <p:spPr>
          <a:xfrm>
            <a:off x="15723885" y="3802529"/>
            <a:ext cx="7136115" cy="1080937"/>
          </a:xfrm>
          <a:prstGeom prst="rect">
            <a:avLst/>
          </a:prstGeom>
        </p:spPr>
        <p:txBody>
          <a:bodyPr vert="horz" wrap="square" lIns="182880" tIns="91440" rIns="182880" bIns="9144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C86BA94-0806-314B-A38D-2D5C73B431A0}"/>
              </a:ext>
            </a:extLst>
          </p:cNvPr>
          <p:cNvSpPr txBox="1"/>
          <p:nvPr/>
        </p:nvSpPr>
        <p:spPr>
          <a:xfrm>
            <a:off x="15797854" y="6099910"/>
            <a:ext cx="2117887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trategies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C277429A-FC69-1345-A078-D39D8D018367}"/>
              </a:ext>
            </a:extLst>
          </p:cNvPr>
          <p:cNvSpPr txBox="1">
            <a:spLocks/>
          </p:cNvSpPr>
          <p:nvPr/>
        </p:nvSpPr>
        <p:spPr>
          <a:xfrm>
            <a:off x="15723885" y="6720096"/>
            <a:ext cx="7136115" cy="1080937"/>
          </a:xfrm>
          <a:prstGeom prst="rect">
            <a:avLst/>
          </a:prstGeom>
        </p:spPr>
        <p:txBody>
          <a:bodyPr vert="horz" wrap="square" lIns="182880" tIns="91440" rIns="182880" bIns="9144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53C529-BCD7-DC48-BB47-252F999132E2}"/>
              </a:ext>
            </a:extLst>
          </p:cNvPr>
          <p:cNvSpPr txBox="1"/>
          <p:nvPr/>
        </p:nvSpPr>
        <p:spPr>
          <a:xfrm>
            <a:off x="15797854" y="9093861"/>
            <a:ext cx="1965603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tions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E30AC3B0-D0E1-D144-81CE-E928E59E62F0}"/>
              </a:ext>
            </a:extLst>
          </p:cNvPr>
          <p:cNvSpPr txBox="1">
            <a:spLocks/>
          </p:cNvSpPr>
          <p:nvPr/>
        </p:nvSpPr>
        <p:spPr>
          <a:xfrm>
            <a:off x="15723885" y="9714047"/>
            <a:ext cx="7136115" cy="1080937"/>
          </a:xfrm>
          <a:prstGeom prst="rect">
            <a:avLst/>
          </a:prstGeom>
        </p:spPr>
        <p:txBody>
          <a:bodyPr vert="horz" wrap="square" lIns="182880" tIns="91440" rIns="182880" bIns="9144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 good business plan starts with an executive summary of the business goals</a:t>
            </a:r>
          </a:p>
        </p:txBody>
      </p:sp>
      <p:sp>
        <p:nvSpPr>
          <p:cNvPr id="55" name="Freeform 248">
            <a:extLst>
              <a:ext uri="{FF2B5EF4-FFF2-40B4-BE49-F238E27FC236}">
                <a16:creationId xmlns:a16="http://schemas.microsoft.com/office/drawing/2014/main" id="{621F5235-0F0F-8144-86CE-DE3232E0D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6553" y="3525224"/>
            <a:ext cx="629484" cy="984742"/>
          </a:xfrm>
          <a:custGeom>
            <a:avLst/>
            <a:gdLst>
              <a:gd name="T0" fmla="*/ 419 w 445"/>
              <a:gd name="T1" fmla="*/ 253 h 698"/>
              <a:gd name="T2" fmla="*/ 234 w 445"/>
              <a:gd name="T3" fmla="*/ 253 h 698"/>
              <a:gd name="T4" fmla="*/ 234 w 445"/>
              <a:gd name="T5" fmla="*/ 232 h 698"/>
              <a:gd name="T6" fmla="*/ 234 w 445"/>
              <a:gd name="T7" fmla="*/ 232 h 698"/>
              <a:gd name="T8" fmla="*/ 276 w 445"/>
              <a:gd name="T9" fmla="*/ 180 h 698"/>
              <a:gd name="T10" fmla="*/ 276 w 445"/>
              <a:gd name="T11" fmla="*/ 97 h 698"/>
              <a:gd name="T12" fmla="*/ 276 w 445"/>
              <a:gd name="T13" fmla="*/ 97 h 698"/>
              <a:gd name="T14" fmla="*/ 234 w 445"/>
              <a:gd name="T15" fmla="*/ 46 h 698"/>
              <a:gd name="T16" fmla="*/ 234 w 445"/>
              <a:gd name="T17" fmla="*/ 27 h 698"/>
              <a:gd name="T18" fmla="*/ 234 w 445"/>
              <a:gd name="T19" fmla="*/ 27 h 698"/>
              <a:gd name="T20" fmla="*/ 419 w 445"/>
              <a:gd name="T21" fmla="*/ 223 h 698"/>
              <a:gd name="T22" fmla="*/ 419 w 445"/>
              <a:gd name="T23" fmla="*/ 253 h 698"/>
              <a:gd name="T24" fmla="*/ 222 w 445"/>
              <a:gd name="T25" fmla="*/ 673 h 698"/>
              <a:gd name="T26" fmla="*/ 222 w 445"/>
              <a:gd name="T27" fmla="*/ 673 h 698"/>
              <a:gd name="T28" fmla="*/ 24 w 445"/>
              <a:gd name="T29" fmla="*/ 475 h 698"/>
              <a:gd name="T30" fmla="*/ 24 w 445"/>
              <a:gd name="T31" fmla="*/ 277 h 698"/>
              <a:gd name="T32" fmla="*/ 419 w 445"/>
              <a:gd name="T33" fmla="*/ 277 h 698"/>
              <a:gd name="T34" fmla="*/ 419 w 445"/>
              <a:gd name="T35" fmla="*/ 475 h 698"/>
              <a:gd name="T36" fmla="*/ 419 w 445"/>
              <a:gd name="T37" fmla="*/ 475 h 698"/>
              <a:gd name="T38" fmla="*/ 222 w 445"/>
              <a:gd name="T39" fmla="*/ 673 h 698"/>
              <a:gd name="T40" fmla="*/ 209 w 445"/>
              <a:gd name="T41" fmla="*/ 27 h 698"/>
              <a:gd name="T42" fmla="*/ 209 w 445"/>
              <a:gd name="T43" fmla="*/ 46 h 698"/>
              <a:gd name="T44" fmla="*/ 209 w 445"/>
              <a:gd name="T45" fmla="*/ 46 h 698"/>
              <a:gd name="T46" fmla="*/ 167 w 445"/>
              <a:gd name="T47" fmla="*/ 97 h 698"/>
              <a:gd name="T48" fmla="*/ 167 w 445"/>
              <a:gd name="T49" fmla="*/ 180 h 698"/>
              <a:gd name="T50" fmla="*/ 167 w 445"/>
              <a:gd name="T51" fmla="*/ 180 h 698"/>
              <a:gd name="T52" fmla="*/ 209 w 445"/>
              <a:gd name="T53" fmla="*/ 232 h 698"/>
              <a:gd name="T54" fmla="*/ 209 w 445"/>
              <a:gd name="T55" fmla="*/ 253 h 698"/>
              <a:gd name="T56" fmla="*/ 24 w 445"/>
              <a:gd name="T57" fmla="*/ 253 h 698"/>
              <a:gd name="T58" fmla="*/ 24 w 445"/>
              <a:gd name="T59" fmla="*/ 223 h 698"/>
              <a:gd name="T60" fmla="*/ 24 w 445"/>
              <a:gd name="T61" fmla="*/ 223 h 698"/>
              <a:gd name="T62" fmla="*/ 209 w 445"/>
              <a:gd name="T63" fmla="*/ 27 h 698"/>
              <a:gd name="T64" fmla="*/ 222 w 445"/>
              <a:gd name="T65" fmla="*/ 210 h 698"/>
              <a:gd name="T66" fmla="*/ 222 w 445"/>
              <a:gd name="T67" fmla="*/ 210 h 698"/>
              <a:gd name="T68" fmla="*/ 192 w 445"/>
              <a:gd name="T69" fmla="*/ 180 h 698"/>
              <a:gd name="T70" fmla="*/ 192 w 445"/>
              <a:gd name="T71" fmla="*/ 97 h 698"/>
              <a:gd name="T72" fmla="*/ 192 w 445"/>
              <a:gd name="T73" fmla="*/ 97 h 698"/>
              <a:gd name="T74" fmla="*/ 222 w 445"/>
              <a:gd name="T75" fmla="*/ 67 h 698"/>
              <a:gd name="T76" fmla="*/ 222 w 445"/>
              <a:gd name="T77" fmla="*/ 67 h 698"/>
              <a:gd name="T78" fmla="*/ 251 w 445"/>
              <a:gd name="T79" fmla="*/ 97 h 698"/>
              <a:gd name="T80" fmla="*/ 251 w 445"/>
              <a:gd name="T81" fmla="*/ 180 h 698"/>
              <a:gd name="T82" fmla="*/ 251 w 445"/>
              <a:gd name="T83" fmla="*/ 180 h 698"/>
              <a:gd name="T84" fmla="*/ 222 w 445"/>
              <a:gd name="T85" fmla="*/ 210 h 698"/>
              <a:gd name="T86" fmla="*/ 222 w 445"/>
              <a:gd name="T87" fmla="*/ 0 h 698"/>
              <a:gd name="T88" fmla="*/ 222 w 445"/>
              <a:gd name="T89" fmla="*/ 0 h 698"/>
              <a:gd name="T90" fmla="*/ 0 w 445"/>
              <a:gd name="T91" fmla="*/ 223 h 698"/>
              <a:gd name="T92" fmla="*/ 0 w 445"/>
              <a:gd name="T93" fmla="*/ 475 h 698"/>
              <a:gd name="T94" fmla="*/ 0 w 445"/>
              <a:gd name="T95" fmla="*/ 475 h 698"/>
              <a:gd name="T96" fmla="*/ 222 w 445"/>
              <a:gd name="T97" fmla="*/ 697 h 698"/>
              <a:gd name="T98" fmla="*/ 222 w 445"/>
              <a:gd name="T99" fmla="*/ 697 h 698"/>
              <a:gd name="T100" fmla="*/ 444 w 445"/>
              <a:gd name="T101" fmla="*/ 475 h 698"/>
              <a:gd name="T102" fmla="*/ 444 w 445"/>
              <a:gd name="T103" fmla="*/ 223 h 698"/>
              <a:gd name="T104" fmla="*/ 444 w 445"/>
              <a:gd name="T105" fmla="*/ 223 h 698"/>
              <a:gd name="T106" fmla="*/ 222 w 445"/>
              <a:gd name="T107" fmla="*/ 0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5" h="698">
                <a:moveTo>
                  <a:pt x="419" y="253"/>
                </a:moveTo>
                <a:lnTo>
                  <a:pt x="234" y="253"/>
                </a:lnTo>
                <a:lnTo>
                  <a:pt x="234" y="232"/>
                </a:lnTo>
                <a:lnTo>
                  <a:pt x="234" y="232"/>
                </a:lnTo>
                <a:cubicBezTo>
                  <a:pt x="258" y="227"/>
                  <a:pt x="276" y="207"/>
                  <a:pt x="276" y="180"/>
                </a:cubicBezTo>
                <a:lnTo>
                  <a:pt x="276" y="97"/>
                </a:lnTo>
                <a:lnTo>
                  <a:pt x="276" y="97"/>
                </a:lnTo>
                <a:cubicBezTo>
                  <a:pt x="276" y="71"/>
                  <a:pt x="258" y="50"/>
                  <a:pt x="234" y="46"/>
                </a:cubicBezTo>
                <a:lnTo>
                  <a:pt x="234" y="27"/>
                </a:lnTo>
                <a:lnTo>
                  <a:pt x="234" y="27"/>
                </a:lnTo>
                <a:cubicBezTo>
                  <a:pt x="337" y="34"/>
                  <a:pt x="419" y="119"/>
                  <a:pt x="419" y="223"/>
                </a:cubicBezTo>
                <a:lnTo>
                  <a:pt x="419" y="253"/>
                </a:lnTo>
                <a:close/>
                <a:moveTo>
                  <a:pt x="222" y="673"/>
                </a:moveTo>
                <a:lnTo>
                  <a:pt x="222" y="673"/>
                </a:lnTo>
                <a:cubicBezTo>
                  <a:pt x="113" y="673"/>
                  <a:pt x="24" y="583"/>
                  <a:pt x="24" y="475"/>
                </a:cubicBezTo>
                <a:lnTo>
                  <a:pt x="24" y="277"/>
                </a:lnTo>
                <a:lnTo>
                  <a:pt x="419" y="277"/>
                </a:lnTo>
                <a:lnTo>
                  <a:pt x="419" y="475"/>
                </a:lnTo>
                <a:lnTo>
                  <a:pt x="419" y="475"/>
                </a:lnTo>
                <a:cubicBezTo>
                  <a:pt x="419" y="583"/>
                  <a:pt x="331" y="673"/>
                  <a:pt x="222" y="673"/>
                </a:cubicBezTo>
                <a:close/>
                <a:moveTo>
                  <a:pt x="209" y="27"/>
                </a:moveTo>
                <a:lnTo>
                  <a:pt x="209" y="46"/>
                </a:lnTo>
                <a:lnTo>
                  <a:pt x="209" y="46"/>
                </a:lnTo>
                <a:cubicBezTo>
                  <a:pt x="185" y="50"/>
                  <a:pt x="167" y="71"/>
                  <a:pt x="167" y="97"/>
                </a:cubicBezTo>
                <a:lnTo>
                  <a:pt x="167" y="180"/>
                </a:lnTo>
                <a:lnTo>
                  <a:pt x="167" y="180"/>
                </a:lnTo>
                <a:cubicBezTo>
                  <a:pt x="167" y="207"/>
                  <a:pt x="185" y="227"/>
                  <a:pt x="209" y="232"/>
                </a:cubicBezTo>
                <a:lnTo>
                  <a:pt x="209" y="253"/>
                </a:lnTo>
                <a:lnTo>
                  <a:pt x="24" y="253"/>
                </a:lnTo>
                <a:lnTo>
                  <a:pt x="24" y="223"/>
                </a:lnTo>
                <a:lnTo>
                  <a:pt x="24" y="223"/>
                </a:lnTo>
                <a:cubicBezTo>
                  <a:pt x="24" y="119"/>
                  <a:pt x="106" y="34"/>
                  <a:pt x="209" y="27"/>
                </a:cubicBezTo>
                <a:close/>
                <a:moveTo>
                  <a:pt x="222" y="210"/>
                </a:moveTo>
                <a:lnTo>
                  <a:pt x="222" y="210"/>
                </a:lnTo>
                <a:cubicBezTo>
                  <a:pt x="205" y="210"/>
                  <a:pt x="192" y="197"/>
                  <a:pt x="192" y="180"/>
                </a:cubicBezTo>
                <a:lnTo>
                  <a:pt x="192" y="97"/>
                </a:lnTo>
                <a:lnTo>
                  <a:pt x="192" y="97"/>
                </a:lnTo>
                <a:cubicBezTo>
                  <a:pt x="192" y="81"/>
                  <a:pt x="205" y="67"/>
                  <a:pt x="222" y="67"/>
                </a:cubicBezTo>
                <a:lnTo>
                  <a:pt x="222" y="67"/>
                </a:lnTo>
                <a:cubicBezTo>
                  <a:pt x="239" y="67"/>
                  <a:pt x="251" y="81"/>
                  <a:pt x="251" y="97"/>
                </a:cubicBezTo>
                <a:lnTo>
                  <a:pt x="251" y="180"/>
                </a:lnTo>
                <a:lnTo>
                  <a:pt x="251" y="180"/>
                </a:lnTo>
                <a:cubicBezTo>
                  <a:pt x="251" y="197"/>
                  <a:pt x="239" y="210"/>
                  <a:pt x="222" y="210"/>
                </a:cubicBezTo>
                <a:close/>
                <a:moveTo>
                  <a:pt x="222" y="0"/>
                </a:moveTo>
                <a:lnTo>
                  <a:pt x="222" y="0"/>
                </a:lnTo>
                <a:cubicBezTo>
                  <a:pt x="100" y="0"/>
                  <a:pt x="0" y="100"/>
                  <a:pt x="0" y="223"/>
                </a:cubicBezTo>
                <a:lnTo>
                  <a:pt x="0" y="475"/>
                </a:lnTo>
                <a:lnTo>
                  <a:pt x="0" y="475"/>
                </a:lnTo>
                <a:cubicBezTo>
                  <a:pt x="0" y="597"/>
                  <a:pt x="100" y="697"/>
                  <a:pt x="222" y="697"/>
                </a:cubicBezTo>
                <a:lnTo>
                  <a:pt x="222" y="697"/>
                </a:lnTo>
                <a:cubicBezTo>
                  <a:pt x="344" y="697"/>
                  <a:pt x="444" y="597"/>
                  <a:pt x="444" y="475"/>
                </a:cubicBezTo>
                <a:lnTo>
                  <a:pt x="444" y="223"/>
                </a:lnTo>
                <a:lnTo>
                  <a:pt x="444" y="223"/>
                </a:lnTo>
                <a:cubicBezTo>
                  <a:pt x="444" y="100"/>
                  <a:pt x="344" y="0"/>
                  <a:pt x="2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A0375F10-2BD3-534C-9D43-4CE5ED3F0A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11828" y="6639439"/>
            <a:ext cx="995156" cy="904493"/>
          </a:xfrm>
          <a:custGeom>
            <a:avLst/>
            <a:gdLst>
              <a:gd name="connsiteX0" fmla="*/ 239002 w 995156"/>
              <a:gd name="connsiteY0" fmla="*/ 571332 h 904493"/>
              <a:gd name="connsiteX1" fmla="*/ 37087 w 995156"/>
              <a:gd name="connsiteY1" fmla="*/ 867245 h 904493"/>
              <a:gd name="connsiteX2" fmla="*/ 958069 w 995156"/>
              <a:gd name="connsiteY2" fmla="*/ 867245 h 904493"/>
              <a:gd name="connsiteX3" fmla="*/ 760274 w 995156"/>
              <a:gd name="connsiteY3" fmla="*/ 571332 h 904493"/>
              <a:gd name="connsiteX4" fmla="*/ 498608 w 995156"/>
              <a:gd name="connsiteY4" fmla="*/ 716185 h 904493"/>
              <a:gd name="connsiteX5" fmla="*/ 239002 w 995156"/>
              <a:gd name="connsiteY5" fmla="*/ 571332 h 904493"/>
              <a:gd name="connsiteX6" fmla="*/ 249561 w 995156"/>
              <a:gd name="connsiteY6" fmla="*/ 529687 h 904493"/>
              <a:gd name="connsiteX7" fmla="*/ 259606 w 995156"/>
              <a:gd name="connsiteY7" fmla="*/ 540292 h 904493"/>
              <a:gd name="connsiteX8" fmla="*/ 498608 w 995156"/>
              <a:gd name="connsiteY8" fmla="*/ 678937 h 904493"/>
              <a:gd name="connsiteX9" fmla="*/ 735550 w 995156"/>
              <a:gd name="connsiteY9" fmla="*/ 540292 h 904493"/>
              <a:gd name="connsiteX10" fmla="*/ 760274 w 995156"/>
              <a:gd name="connsiteY10" fmla="*/ 529946 h 904493"/>
              <a:gd name="connsiteX11" fmla="*/ 995156 w 995156"/>
              <a:gd name="connsiteY11" fmla="*/ 883800 h 904493"/>
              <a:gd name="connsiteX12" fmla="*/ 991035 w 995156"/>
              <a:gd name="connsiteY12" fmla="*/ 896216 h 904493"/>
              <a:gd name="connsiteX13" fmla="*/ 978673 w 995156"/>
              <a:gd name="connsiteY13" fmla="*/ 904493 h 904493"/>
              <a:gd name="connsiteX14" fmla="*/ 18543 w 995156"/>
              <a:gd name="connsiteY14" fmla="*/ 904493 h 904493"/>
              <a:gd name="connsiteX15" fmla="*/ 4121 w 995156"/>
              <a:gd name="connsiteY15" fmla="*/ 896216 h 904493"/>
              <a:gd name="connsiteX16" fmla="*/ 0 w 995156"/>
              <a:gd name="connsiteY16" fmla="*/ 883800 h 904493"/>
              <a:gd name="connsiteX17" fmla="*/ 234881 w 995156"/>
              <a:gd name="connsiteY17" fmla="*/ 529946 h 904493"/>
              <a:gd name="connsiteX18" fmla="*/ 249561 w 995156"/>
              <a:gd name="connsiteY18" fmla="*/ 529687 h 904493"/>
              <a:gd name="connsiteX19" fmla="*/ 498607 w 995156"/>
              <a:gd name="connsiteY19" fmla="*/ 37112 h 904493"/>
              <a:gd name="connsiteX20" fmla="*/ 326894 w 995156"/>
              <a:gd name="connsiteY20" fmla="*/ 210298 h 904493"/>
              <a:gd name="connsiteX21" fmla="*/ 326894 w 995156"/>
              <a:gd name="connsiteY21" fmla="*/ 404102 h 904493"/>
              <a:gd name="connsiteX22" fmla="*/ 498607 w 995156"/>
              <a:gd name="connsiteY22" fmla="*/ 577289 h 904493"/>
              <a:gd name="connsiteX23" fmla="*/ 672364 w 995156"/>
              <a:gd name="connsiteY23" fmla="*/ 404102 h 904493"/>
              <a:gd name="connsiteX24" fmla="*/ 672364 w 995156"/>
              <a:gd name="connsiteY24" fmla="*/ 210298 h 904493"/>
              <a:gd name="connsiteX25" fmla="*/ 498607 w 995156"/>
              <a:gd name="connsiteY25" fmla="*/ 37112 h 904493"/>
              <a:gd name="connsiteX26" fmla="*/ 498607 w 995156"/>
              <a:gd name="connsiteY26" fmla="*/ 0 h 904493"/>
              <a:gd name="connsiteX27" fmla="*/ 705071 w 995156"/>
              <a:gd name="connsiteY27" fmla="*/ 210298 h 904493"/>
              <a:gd name="connsiteX28" fmla="*/ 705071 w 995156"/>
              <a:gd name="connsiteY28" fmla="*/ 404102 h 904493"/>
              <a:gd name="connsiteX29" fmla="*/ 498607 w 995156"/>
              <a:gd name="connsiteY29" fmla="*/ 614400 h 904493"/>
              <a:gd name="connsiteX30" fmla="*/ 290098 w 995156"/>
              <a:gd name="connsiteY30" fmla="*/ 404102 h 904493"/>
              <a:gd name="connsiteX31" fmla="*/ 290098 w 995156"/>
              <a:gd name="connsiteY31" fmla="*/ 210298 h 904493"/>
              <a:gd name="connsiteX32" fmla="*/ 498607 w 995156"/>
              <a:gd name="connsiteY32" fmla="*/ 0 h 904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995156" h="904493">
                <a:moveTo>
                  <a:pt x="239002" y="571332"/>
                </a:moveTo>
                <a:cubicBezTo>
                  <a:pt x="70052" y="656174"/>
                  <a:pt x="41207" y="813443"/>
                  <a:pt x="37087" y="867245"/>
                </a:cubicBezTo>
                <a:lnTo>
                  <a:pt x="958069" y="867245"/>
                </a:lnTo>
                <a:cubicBezTo>
                  <a:pt x="953948" y="813443"/>
                  <a:pt x="925103" y="656174"/>
                  <a:pt x="760274" y="571332"/>
                </a:cubicBezTo>
                <a:cubicBezTo>
                  <a:pt x="704644" y="660313"/>
                  <a:pt x="603687" y="716185"/>
                  <a:pt x="498608" y="716185"/>
                </a:cubicBezTo>
                <a:cubicBezTo>
                  <a:pt x="393529" y="716185"/>
                  <a:pt x="294632" y="660313"/>
                  <a:pt x="239002" y="571332"/>
                </a:cubicBezTo>
                <a:close/>
                <a:moveTo>
                  <a:pt x="249561" y="529687"/>
                </a:moveTo>
                <a:cubicBezTo>
                  <a:pt x="253940" y="531498"/>
                  <a:pt x="257546" y="535119"/>
                  <a:pt x="259606" y="540292"/>
                </a:cubicBezTo>
                <a:cubicBezTo>
                  <a:pt x="309055" y="627204"/>
                  <a:pt x="399711" y="678937"/>
                  <a:pt x="498608" y="678937"/>
                </a:cubicBezTo>
                <a:cubicBezTo>
                  <a:pt x="595445" y="678937"/>
                  <a:pt x="688161" y="627204"/>
                  <a:pt x="735550" y="540292"/>
                </a:cubicBezTo>
                <a:cubicBezTo>
                  <a:pt x="741731" y="529946"/>
                  <a:pt x="752033" y="525807"/>
                  <a:pt x="760274" y="529946"/>
                </a:cubicBezTo>
                <a:cubicBezTo>
                  <a:pt x="993095" y="637551"/>
                  <a:pt x="995156" y="881730"/>
                  <a:pt x="995156" y="883800"/>
                </a:cubicBezTo>
                <a:cubicBezTo>
                  <a:pt x="995156" y="892077"/>
                  <a:pt x="995156" y="894146"/>
                  <a:pt x="991035" y="896216"/>
                </a:cubicBezTo>
                <a:cubicBezTo>
                  <a:pt x="986914" y="900354"/>
                  <a:pt x="982793" y="904493"/>
                  <a:pt x="978673" y="904493"/>
                </a:cubicBezTo>
                <a:lnTo>
                  <a:pt x="18543" y="904493"/>
                </a:lnTo>
                <a:cubicBezTo>
                  <a:pt x="12362" y="904493"/>
                  <a:pt x="8241" y="900354"/>
                  <a:pt x="4121" y="896216"/>
                </a:cubicBezTo>
                <a:cubicBezTo>
                  <a:pt x="2060" y="894146"/>
                  <a:pt x="0" y="892077"/>
                  <a:pt x="0" y="883800"/>
                </a:cubicBezTo>
                <a:cubicBezTo>
                  <a:pt x="0" y="881730"/>
                  <a:pt x="2060" y="637551"/>
                  <a:pt x="234881" y="529946"/>
                </a:cubicBezTo>
                <a:cubicBezTo>
                  <a:pt x="240032" y="527876"/>
                  <a:pt x="245183" y="527876"/>
                  <a:pt x="249561" y="529687"/>
                </a:cubicBezTo>
                <a:close/>
                <a:moveTo>
                  <a:pt x="498607" y="37112"/>
                </a:moveTo>
                <a:cubicBezTo>
                  <a:pt x="402529" y="37112"/>
                  <a:pt x="326894" y="115458"/>
                  <a:pt x="326894" y="210298"/>
                </a:cubicBezTo>
                <a:lnTo>
                  <a:pt x="326894" y="404102"/>
                </a:lnTo>
                <a:cubicBezTo>
                  <a:pt x="326894" y="498943"/>
                  <a:pt x="402529" y="577289"/>
                  <a:pt x="498607" y="577289"/>
                </a:cubicBezTo>
                <a:cubicBezTo>
                  <a:pt x="592640" y="577289"/>
                  <a:pt x="672364" y="498943"/>
                  <a:pt x="672364" y="404102"/>
                </a:cubicBezTo>
                <a:lnTo>
                  <a:pt x="672364" y="210298"/>
                </a:lnTo>
                <a:cubicBezTo>
                  <a:pt x="672364" y="115458"/>
                  <a:pt x="592640" y="37112"/>
                  <a:pt x="498607" y="37112"/>
                </a:cubicBezTo>
                <a:close/>
                <a:moveTo>
                  <a:pt x="498607" y="0"/>
                </a:moveTo>
                <a:cubicBezTo>
                  <a:pt x="613082" y="0"/>
                  <a:pt x="705071" y="94841"/>
                  <a:pt x="705071" y="210298"/>
                </a:cubicBezTo>
                <a:lnTo>
                  <a:pt x="705071" y="404102"/>
                </a:lnTo>
                <a:cubicBezTo>
                  <a:pt x="705071" y="517498"/>
                  <a:pt x="613082" y="614400"/>
                  <a:pt x="498607" y="614400"/>
                </a:cubicBezTo>
                <a:cubicBezTo>
                  <a:pt x="384131" y="614400"/>
                  <a:pt x="290098" y="517498"/>
                  <a:pt x="290098" y="404102"/>
                </a:cubicBezTo>
                <a:lnTo>
                  <a:pt x="290098" y="210298"/>
                </a:lnTo>
                <a:cubicBezTo>
                  <a:pt x="290098" y="94841"/>
                  <a:pt x="384131" y="0"/>
                  <a:pt x="49860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B011D0F5-1321-9C44-8745-1FC95D102F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29059" y="9534421"/>
            <a:ext cx="916114" cy="866693"/>
          </a:xfrm>
          <a:custGeom>
            <a:avLst/>
            <a:gdLst>
              <a:gd name="connsiteX0" fmla="*/ 770050 w 916114"/>
              <a:gd name="connsiteY0" fmla="*/ 474708 h 866693"/>
              <a:gd name="connsiteX1" fmla="*/ 770050 w 916114"/>
              <a:gd name="connsiteY1" fmla="*/ 558705 h 866693"/>
              <a:gd name="connsiteX2" fmla="*/ 762985 w 916114"/>
              <a:gd name="connsiteY2" fmla="*/ 631035 h 866693"/>
              <a:gd name="connsiteX3" fmla="*/ 760630 w 916114"/>
              <a:gd name="connsiteY3" fmla="*/ 645035 h 866693"/>
              <a:gd name="connsiteX4" fmla="*/ 737081 w 916114"/>
              <a:gd name="connsiteY4" fmla="*/ 710365 h 866693"/>
              <a:gd name="connsiteX5" fmla="*/ 734727 w 916114"/>
              <a:gd name="connsiteY5" fmla="*/ 717365 h 866693"/>
              <a:gd name="connsiteX6" fmla="*/ 746501 w 916114"/>
              <a:gd name="connsiteY6" fmla="*/ 717365 h 866693"/>
              <a:gd name="connsiteX7" fmla="*/ 748856 w 916114"/>
              <a:gd name="connsiteY7" fmla="*/ 717365 h 866693"/>
              <a:gd name="connsiteX8" fmla="*/ 871310 w 916114"/>
              <a:gd name="connsiteY8" fmla="*/ 596037 h 866693"/>
              <a:gd name="connsiteX9" fmla="*/ 770050 w 916114"/>
              <a:gd name="connsiteY9" fmla="*/ 474708 h 866693"/>
              <a:gd name="connsiteX10" fmla="*/ 44743 w 916114"/>
              <a:gd name="connsiteY10" fmla="*/ 365046 h 866693"/>
              <a:gd name="connsiteX11" fmla="*/ 44743 w 916114"/>
              <a:gd name="connsiteY11" fmla="*/ 558705 h 866693"/>
              <a:gd name="connsiteX12" fmla="*/ 176617 w 916114"/>
              <a:gd name="connsiteY12" fmla="*/ 827028 h 866693"/>
              <a:gd name="connsiteX13" fmla="*/ 593433 w 916114"/>
              <a:gd name="connsiteY13" fmla="*/ 827028 h 866693"/>
              <a:gd name="connsiteX14" fmla="*/ 685274 w 916114"/>
              <a:gd name="connsiteY14" fmla="*/ 722032 h 866693"/>
              <a:gd name="connsiteX15" fmla="*/ 722952 w 916114"/>
              <a:gd name="connsiteY15" fmla="*/ 600703 h 866693"/>
              <a:gd name="connsiteX16" fmla="*/ 725307 w 916114"/>
              <a:gd name="connsiteY16" fmla="*/ 558705 h 866693"/>
              <a:gd name="connsiteX17" fmla="*/ 725307 w 916114"/>
              <a:gd name="connsiteY17" fmla="*/ 451376 h 866693"/>
              <a:gd name="connsiteX18" fmla="*/ 725307 w 916114"/>
              <a:gd name="connsiteY18" fmla="*/ 365046 h 866693"/>
              <a:gd name="connsiteX19" fmla="*/ 23549 w 916114"/>
              <a:gd name="connsiteY19" fmla="*/ 320714 h 866693"/>
              <a:gd name="connsiteX20" fmla="*/ 748856 w 916114"/>
              <a:gd name="connsiteY20" fmla="*/ 320714 h 866693"/>
              <a:gd name="connsiteX21" fmla="*/ 770050 w 916114"/>
              <a:gd name="connsiteY21" fmla="*/ 344046 h 866693"/>
              <a:gd name="connsiteX22" fmla="*/ 770050 w 916114"/>
              <a:gd name="connsiteY22" fmla="*/ 432710 h 866693"/>
              <a:gd name="connsiteX23" fmla="*/ 916053 w 916114"/>
              <a:gd name="connsiteY23" fmla="*/ 598370 h 866693"/>
              <a:gd name="connsiteX24" fmla="*/ 748856 w 916114"/>
              <a:gd name="connsiteY24" fmla="*/ 759364 h 866693"/>
              <a:gd name="connsiteX25" fmla="*/ 746501 w 916114"/>
              <a:gd name="connsiteY25" fmla="*/ 759364 h 866693"/>
              <a:gd name="connsiteX26" fmla="*/ 711178 w 916114"/>
              <a:gd name="connsiteY26" fmla="*/ 754697 h 866693"/>
              <a:gd name="connsiteX27" fmla="*/ 612272 w 916114"/>
              <a:gd name="connsiteY27" fmla="*/ 864359 h 866693"/>
              <a:gd name="connsiteX28" fmla="*/ 602853 w 916114"/>
              <a:gd name="connsiteY28" fmla="*/ 866693 h 866693"/>
              <a:gd name="connsiteX29" fmla="*/ 171907 w 916114"/>
              <a:gd name="connsiteY29" fmla="*/ 866693 h 866693"/>
              <a:gd name="connsiteX30" fmla="*/ 157778 w 916114"/>
              <a:gd name="connsiteY30" fmla="*/ 864359 h 866693"/>
              <a:gd name="connsiteX31" fmla="*/ 0 w 916114"/>
              <a:gd name="connsiteY31" fmla="*/ 558705 h 866693"/>
              <a:gd name="connsiteX32" fmla="*/ 0 w 916114"/>
              <a:gd name="connsiteY32" fmla="*/ 344046 h 866693"/>
              <a:gd name="connsiteX33" fmla="*/ 23549 w 916114"/>
              <a:gd name="connsiteY33" fmla="*/ 320714 h 866693"/>
              <a:gd name="connsiteX34" fmla="*/ 557575 w 916114"/>
              <a:gd name="connsiteY34" fmla="*/ 51727 h 866693"/>
              <a:gd name="connsiteX35" fmla="*/ 577178 w 916114"/>
              <a:gd name="connsiteY35" fmla="*/ 73214 h 866693"/>
              <a:gd name="connsiteX36" fmla="*/ 577178 w 916114"/>
              <a:gd name="connsiteY36" fmla="*/ 245108 h 866693"/>
              <a:gd name="connsiteX37" fmla="*/ 557575 w 916114"/>
              <a:gd name="connsiteY37" fmla="*/ 266595 h 866693"/>
              <a:gd name="connsiteX38" fmla="*/ 537973 w 916114"/>
              <a:gd name="connsiteY38" fmla="*/ 245108 h 866693"/>
              <a:gd name="connsiteX39" fmla="*/ 537973 w 916114"/>
              <a:gd name="connsiteY39" fmla="*/ 73214 h 866693"/>
              <a:gd name="connsiteX40" fmla="*/ 557575 w 916114"/>
              <a:gd name="connsiteY40" fmla="*/ 51727 h 866693"/>
              <a:gd name="connsiteX41" fmla="*/ 199157 w 916114"/>
              <a:gd name="connsiteY41" fmla="*/ 51727 h 866693"/>
              <a:gd name="connsiteX42" fmla="*/ 225020 w 916114"/>
              <a:gd name="connsiteY42" fmla="*/ 73214 h 866693"/>
              <a:gd name="connsiteX43" fmla="*/ 225020 w 916114"/>
              <a:gd name="connsiteY43" fmla="*/ 245108 h 866693"/>
              <a:gd name="connsiteX44" fmla="*/ 199157 w 916114"/>
              <a:gd name="connsiteY44" fmla="*/ 266595 h 866693"/>
              <a:gd name="connsiteX45" fmla="*/ 175881 w 916114"/>
              <a:gd name="connsiteY45" fmla="*/ 245108 h 866693"/>
              <a:gd name="connsiteX46" fmla="*/ 175881 w 916114"/>
              <a:gd name="connsiteY46" fmla="*/ 73214 h 866693"/>
              <a:gd name="connsiteX47" fmla="*/ 199157 w 916114"/>
              <a:gd name="connsiteY47" fmla="*/ 51727 h 866693"/>
              <a:gd name="connsiteX48" fmla="*/ 381702 w 916114"/>
              <a:gd name="connsiteY48" fmla="*/ 0 h 866693"/>
              <a:gd name="connsiteX49" fmla="*/ 401305 w 916114"/>
              <a:gd name="connsiteY49" fmla="*/ 21424 h 866693"/>
              <a:gd name="connsiteX50" fmla="*/ 401305 w 916114"/>
              <a:gd name="connsiteY50" fmla="*/ 245182 h 866693"/>
              <a:gd name="connsiteX51" fmla="*/ 381702 w 916114"/>
              <a:gd name="connsiteY51" fmla="*/ 266606 h 866693"/>
              <a:gd name="connsiteX52" fmla="*/ 362100 w 916114"/>
              <a:gd name="connsiteY52" fmla="*/ 245182 h 866693"/>
              <a:gd name="connsiteX53" fmla="*/ 362100 w 916114"/>
              <a:gd name="connsiteY53" fmla="*/ 21424 h 866693"/>
              <a:gd name="connsiteX54" fmla="*/ 381702 w 916114"/>
              <a:gd name="connsiteY54" fmla="*/ 0 h 86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916114" h="866693">
                <a:moveTo>
                  <a:pt x="770050" y="474708"/>
                </a:moveTo>
                <a:lnTo>
                  <a:pt x="770050" y="558705"/>
                </a:lnTo>
                <a:cubicBezTo>
                  <a:pt x="770050" y="584370"/>
                  <a:pt x="767695" y="610036"/>
                  <a:pt x="762985" y="631035"/>
                </a:cubicBezTo>
                <a:cubicBezTo>
                  <a:pt x="760630" y="635702"/>
                  <a:pt x="760630" y="640368"/>
                  <a:pt x="760630" y="645035"/>
                </a:cubicBezTo>
                <a:cubicBezTo>
                  <a:pt x="753566" y="666034"/>
                  <a:pt x="746501" y="689366"/>
                  <a:pt x="737081" y="710365"/>
                </a:cubicBezTo>
                <a:cubicBezTo>
                  <a:pt x="734727" y="712699"/>
                  <a:pt x="734727" y="715032"/>
                  <a:pt x="734727" y="717365"/>
                </a:cubicBezTo>
                <a:cubicBezTo>
                  <a:pt x="739436" y="717365"/>
                  <a:pt x="741791" y="717365"/>
                  <a:pt x="746501" y="717365"/>
                </a:cubicBezTo>
                <a:lnTo>
                  <a:pt x="748856" y="717365"/>
                </a:lnTo>
                <a:cubicBezTo>
                  <a:pt x="817148" y="717365"/>
                  <a:pt x="871310" y="663701"/>
                  <a:pt x="871310" y="596037"/>
                </a:cubicBezTo>
                <a:cubicBezTo>
                  <a:pt x="873665" y="535372"/>
                  <a:pt x="828922" y="486374"/>
                  <a:pt x="770050" y="474708"/>
                </a:cubicBezTo>
                <a:close/>
                <a:moveTo>
                  <a:pt x="44743" y="365046"/>
                </a:moveTo>
                <a:lnTo>
                  <a:pt x="44743" y="558705"/>
                </a:lnTo>
                <a:cubicBezTo>
                  <a:pt x="44743" y="663701"/>
                  <a:pt x="91841" y="759364"/>
                  <a:pt x="176617" y="827028"/>
                </a:cubicBezTo>
                <a:lnTo>
                  <a:pt x="593433" y="827028"/>
                </a:lnTo>
                <a:cubicBezTo>
                  <a:pt x="631111" y="796695"/>
                  <a:pt x="661725" y="761697"/>
                  <a:pt x="685274" y="722032"/>
                </a:cubicBezTo>
                <a:cubicBezTo>
                  <a:pt x="706468" y="682367"/>
                  <a:pt x="720597" y="645035"/>
                  <a:pt x="722952" y="600703"/>
                </a:cubicBezTo>
                <a:cubicBezTo>
                  <a:pt x="725307" y="586704"/>
                  <a:pt x="725307" y="572704"/>
                  <a:pt x="725307" y="558705"/>
                </a:cubicBezTo>
                <a:lnTo>
                  <a:pt x="725307" y="451376"/>
                </a:lnTo>
                <a:lnTo>
                  <a:pt x="725307" y="365046"/>
                </a:lnTo>
                <a:close/>
                <a:moveTo>
                  <a:pt x="23549" y="320714"/>
                </a:moveTo>
                <a:lnTo>
                  <a:pt x="748856" y="320714"/>
                </a:lnTo>
                <a:cubicBezTo>
                  <a:pt x="760630" y="320714"/>
                  <a:pt x="770050" y="332380"/>
                  <a:pt x="770050" y="344046"/>
                </a:cubicBezTo>
                <a:lnTo>
                  <a:pt x="770050" y="432710"/>
                </a:lnTo>
                <a:cubicBezTo>
                  <a:pt x="852471" y="442043"/>
                  <a:pt x="918408" y="514373"/>
                  <a:pt x="916053" y="598370"/>
                </a:cubicBezTo>
                <a:cubicBezTo>
                  <a:pt x="916053" y="687033"/>
                  <a:pt x="838342" y="759364"/>
                  <a:pt x="748856" y="759364"/>
                </a:cubicBezTo>
                <a:lnTo>
                  <a:pt x="746501" y="759364"/>
                </a:lnTo>
                <a:cubicBezTo>
                  <a:pt x="734727" y="759364"/>
                  <a:pt x="722952" y="757030"/>
                  <a:pt x="711178" y="754697"/>
                </a:cubicBezTo>
                <a:cubicBezTo>
                  <a:pt x="687629" y="796695"/>
                  <a:pt x="654660" y="834027"/>
                  <a:pt x="612272" y="864359"/>
                </a:cubicBezTo>
                <a:cubicBezTo>
                  <a:pt x="609917" y="866693"/>
                  <a:pt x="605207" y="866693"/>
                  <a:pt x="602853" y="866693"/>
                </a:cubicBezTo>
                <a:lnTo>
                  <a:pt x="171907" y="866693"/>
                </a:lnTo>
                <a:cubicBezTo>
                  <a:pt x="167197" y="866693"/>
                  <a:pt x="162488" y="866693"/>
                  <a:pt x="157778" y="864359"/>
                </a:cubicBezTo>
                <a:cubicBezTo>
                  <a:pt x="58872" y="792029"/>
                  <a:pt x="0" y="680033"/>
                  <a:pt x="0" y="558705"/>
                </a:cubicBezTo>
                <a:lnTo>
                  <a:pt x="0" y="344046"/>
                </a:lnTo>
                <a:cubicBezTo>
                  <a:pt x="0" y="332380"/>
                  <a:pt x="11774" y="320714"/>
                  <a:pt x="23549" y="320714"/>
                </a:cubicBezTo>
                <a:close/>
                <a:moveTo>
                  <a:pt x="557575" y="51727"/>
                </a:moveTo>
                <a:cubicBezTo>
                  <a:pt x="566288" y="51727"/>
                  <a:pt x="577178" y="61277"/>
                  <a:pt x="577178" y="73214"/>
                </a:cubicBezTo>
                <a:lnTo>
                  <a:pt x="577178" y="245108"/>
                </a:lnTo>
                <a:cubicBezTo>
                  <a:pt x="577178" y="257045"/>
                  <a:pt x="566288" y="266595"/>
                  <a:pt x="557575" y="266595"/>
                </a:cubicBezTo>
                <a:cubicBezTo>
                  <a:pt x="546685" y="266595"/>
                  <a:pt x="537973" y="257045"/>
                  <a:pt x="537973" y="245108"/>
                </a:cubicBezTo>
                <a:lnTo>
                  <a:pt x="537973" y="73214"/>
                </a:lnTo>
                <a:cubicBezTo>
                  <a:pt x="537973" y="61277"/>
                  <a:pt x="546685" y="51727"/>
                  <a:pt x="557575" y="51727"/>
                </a:cubicBezTo>
                <a:close/>
                <a:moveTo>
                  <a:pt x="199157" y="51727"/>
                </a:moveTo>
                <a:cubicBezTo>
                  <a:pt x="214675" y="51727"/>
                  <a:pt x="225020" y="61277"/>
                  <a:pt x="225020" y="73214"/>
                </a:cubicBezTo>
                <a:lnTo>
                  <a:pt x="225020" y="245108"/>
                </a:lnTo>
                <a:cubicBezTo>
                  <a:pt x="225020" y="257045"/>
                  <a:pt x="214675" y="266595"/>
                  <a:pt x="199157" y="266595"/>
                </a:cubicBezTo>
                <a:cubicBezTo>
                  <a:pt x="186226" y="266595"/>
                  <a:pt x="175881" y="257045"/>
                  <a:pt x="175881" y="245108"/>
                </a:cubicBezTo>
                <a:lnTo>
                  <a:pt x="175881" y="73214"/>
                </a:lnTo>
                <a:cubicBezTo>
                  <a:pt x="175881" y="61277"/>
                  <a:pt x="186226" y="51727"/>
                  <a:pt x="199157" y="51727"/>
                </a:cubicBezTo>
                <a:close/>
                <a:moveTo>
                  <a:pt x="381702" y="0"/>
                </a:moveTo>
                <a:cubicBezTo>
                  <a:pt x="390415" y="0"/>
                  <a:pt x="401305" y="9522"/>
                  <a:pt x="401305" y="21424"/>
                </a:cubicBezTo>
                <a:lnTo>
                  <a:pt x="401305" y="245182"/>
                </a:lnTo>
                <a:cubicBezTo>
                  <a:pt x="401305" y="257084"/>
                  <a:pt x="390415" y="266606"/>
                  <a:pt x="381702" y="266606"/>
                </a:cubicBezTo>
                <a:cubicBezTo>
                  <a:pt x="370812" y="266606"/>
                  <a:pt x="362100" y="257084"/>
                  <a:pt x="362100" y="245182"/>
                </a:cubicBezTo>
                <a:lnTo>
                  <a:pt x="362100" y="21424"/>
                </a:lnTo>
                <a:cubicBezTo>
                  <a:pt x="362100" y="9522"/>
                  <a:pt x="370812" y="0"/>
                  <a:pt x="38170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7197" dirty="0">
              <a:solidFill>
                <a:schemeClr val="tx2"/>
              </a:solidFill>
              <a:latin typeface="Fira Sans Light" panose="020B04030500000200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C4ECF3F-51D6-2B40-9684-09D6FB40BB67}"/>
              </a:ext>
            </a:extLst>
          </p:cNvPr>
          <p:cNvSpPr txBox="1"/>
          <p:nvPr/>
        </p:nvSpPr>
        <p:spPr>
          <a:xfrm>
            <a:off x="13483850" y="554099"/>
            <a:ext cx="855875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INFOGRAPHIC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B8A0777-CD14-724A-A454-D5E3DC309632}"/>
              </a:ext>
            </a:extLst>
          </p:cNvPr>
          <p:cNvCxnSpPr/>
          <p:nvPr/>
        </p:nvCxnSpPr>
        <p:spPr>
          <a:xfrm>
            <a:off x="17049537" y="1695450"/>
            <a:ext cx="1371600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ED24BDD-1CD9-2040-A8AC-4D95FE86CFFF}"/>
              </a:ext>
            </a:extLst>
          </p:cNvPr>
          <p:cNvGrpSpPr/>
          <p:nvPr/>
        </p:nvGrpSpPr>
        <p:grpSpPr>
          <a:xfrm>
            <a:off x="1788584" y="7648344"/>
            <a:ext cx="2156218" cy="3139200"/>
            <a:chOff x="2609850" y="1857375"/>
            <a:chExt cx="647700" cy="942975"/>
          </a:xfrm>
        </p:grpSpPr>
        <p:sp>
          <p:nvSpPr>
            <p:cNvPr id="69" name="Freeform 464">
              <a:extLst>
                <a:ext uri="{FF2B5EF4-FFF2-40B4-BE49-F238E27FC236}">
                  <a16:creationId xmlns:a16="http://schemas.microsoft.com/office/drawing/2014/main" id="{220597F4-0CC4-3E41-BCF0-84E8032FA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70" name="Freeform 465">
              <a:extLst>
                <a:ext uri="{FF2B5EF4-FFF2-40B4-BE49-F238E27FC236}">
                  <a16:creationId xmlns:a16="http://schemas.microsoft.com/office/drawing/2014/main" id="{B342C329-D0CB-154D-B4B5-81C21C964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71" name="Freeform 466">
              <a:extLst>
                <a:ext uri="{FF2B5EF4-FFF2-40B4-BE49-F238E27FC236}">
                  <a16:creationId xmlns:a16="http://schemas.microsoft.com/office/drawing/2014/main" id="{FE926E9F-05FE-5747-A7AC-E0C31F753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582D370-6E5D-AC49-98C9-33514D9BF6C4}"/>
              </a:ext>
            </a:extLst>
          </p:cNvPr>
          <p:cNvGrpSpPr/>
          <p:nvPr/>
        </p:nvGrpSpPr>
        <p:grpSpPr>
          <a:xfrm>
            <a:off x="7132533" y="980989"/>
            <a:ext cx="2156218" cy="3139200"/>
            <a:chOff x="3998913" y="2914650"/>
            <a:chExt cx="647700" cy="942975"/>
          </a:xfrm>
        </p:grpSpPr>
        <p:sp>
          <p:nvSpPr>
            <p:cNvPr id="73" name="Freeform 472">
              <a:extLst>
                <a:ext uri="{FF2B5EF4-FFF2-40B4-BE49-F238E27FC236}">
                  <a16:creationId xmlns:a16="http://schemas.microsoft.com/office/drawing/2014/main" id="{A7DA9CE0-E9B2-1D43-958D-4EBCC06B1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74" name="Freeform 473">
              <a:extLst>
                <a:ext uri="{FF2B5EF4-FFF2-40B4-BE49-F238E27FC236}">
                  <a16:creationId xmlns:a16="http://schemas.microsoft.com/office/drawing/2014/main" id="{EFF325E2-0964-A946-8F0C-9C352C18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75" name="Freeform 474">
              <a:extLst>
                <a:ext uri="{FF2B5EF4-FFF2-40B4-BE49-F238E27FC236}">
                  <a16:creationId xmlns:a16="http://schemas.microsoft.com/office/drawing/2014/main" id="{9F5BE669-6CAB-544E-9B3A-F0C7424FF43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AFABAEAF-CC5A-FB48-87CD-E7B49D358E3B}"/>
              </a:ext>
            </a:extLst>
          </p:cNvPr>
          <p:cNvSpPr txBox="1"/>
          <p:nvPr/>
        </p:nvSpPr>
        <p:spPr>
          <a:xfrm>
            <a:off x="2623504" y="8215979"/>
            <a:ext cx="54213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2"/>
                </a:solidFill>
                <a:latin typeface="Fira Sans" panose="020B0503050000020004" pitchFamily="34" charset="0"/>
              </a:rPr>
              <a:t>1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2E4DE00-F907-5142-B339-0E5114B91F6B}"/>
              </a:ext>
            </a:extLst>
          </p:cNvPr>
          <p:cNvSpPr txBox="1"/>
          <p:nvPr/>
        </p:nvSpPr>
        <p:spPr>
          <a:xfrm>
            <a:off x="7914249" y="1552938"/>
            <a:ext cx="5822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3"/>
                </a:solidFill>
                <a:latin typeface="Fira Sans" panose="020B0503050000020004" pitchFamily="34" charset="0"/>
              </a:rPr>
              <a:t>2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52B69B8-8612-3444-B31D-E4A71059E763}"/>
              </a:ext>
            </a:extLst>
          </p:cNvPr>
          <p:cNvGrpSpPr/>
          <p:nvPr/>
        </p:nvGrpSpPr>
        <p:grpSpPr>
          <a:xfrm>
            <a:off x="10418598" y="9090466"/>
            <a:ext cx="2156217" cy="3139202"/>
            <a:chOff x="12798465" y="6515445"/>
            <a:chExt cx="2156217" cy="3139202"/>
          </a:xfrm>
        </p:grpSpPr>
        <p:sp>
          <p:nvSpPr>
            <p:cNvPr id="79" name="Freeform 476">
              <a:extLst>
                <a:ext uri="{FF2B5EF4-FFF2-40B4-BE49-F238E27FC236}">
                  <a16:creationId xmlns:a16="http://schemas.microsoft.com/office/drawing/2014/main" id="{E094C987-61FB-F44B-A91E-2B1940CD2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80" name="Freeform 477">
              <a:extLst>
                <a:ext uri="{FF2B5EF4-FFF2-40B4-BE49-F238E27FC236}">
                  <a16:creationId xmlns:a16="http://schemas.microsoft.com/office/drawing/2014/main" id="{2F09DAB4-2B66-DD49-8440-D9F8065DD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81" name="Freeform 478">
              <a:extLst>
                <a:ext uri="{FF2B5EF4-FFF2-40B4-BE49-F238E27FC236}">
                  <a16:creationId xmlns:a16="http://schemas.microsoft.com/office/drawing/2014/main" id="{F14C624E-ED59-284B-959E-B2FFA80949F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91DA7BD-29DE-F74F-B0D7-D37B2CF8323E}"/>
                </a:ext>
              </a:extLst>
            </p:cNvPr>
            <p:cNvSpPr txBox="1"/>
            <p:nvPr/>
          </p:nvSpPr>
          <p:spPr>
            <a:xfrm>
              <a:off x="13581225" y="7011622"/>
              <a:ext cx="58541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000" b="1" dirty="0">
                  <a:solidFill>
                    <a:schemeClr val="accent4"/>
                  </a:solidFill>
                  <a:latin typeface="Fira Sans" panose="020B0503050000020004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7621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cyotCWh_67Xbbk4gZ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0L03lUldj8N8ur146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TIFY - Mercury - Light">
      <a:dk1>
        <a:srgbClr val="3E3E3E"/>
      </a:dk1>
      <a:lt1>
        <a:srgbClr val="FFFFFF"/>
      </a:lt1>
      <a:dk2>
        <a:srgbClr val="1F1F1F"/>
      </a:dk2>
      <a:lt2>
        <a:srgbClr val="FFFFFF"/>
      </a:lt2>
      <a:accent1>
        <a:srgbClr val="2D3F63"/>
      </a:accent1>
      <a:accent2>
        <a:srgbClr val="179B98"/>
      </a:accent2>
      <a:accent3>
        <a:srgbClr val="713852"/>
      </a:accent3>
      <a:accent4>
        <a:srgbClr val="F57A7B"/>
      </a:accent4>
      <a:accent5>
        <a:srgbClr val="F8B2A2"/>
      </a:accent5>
      <a:accent6>
        <a:srgbClr val="606060"/>
      </a:accent6>
      <a:hlink>
        <a:srgbClr val="58ACC0"/>
      </a:hlink>
      <a:folHlink>
        <a:srgbClr val="315F6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4C5A50796F43499B37EDDB1E582CB1" ma:contentTypeVersion="0" ma:contentTypeDescription="Crie um novo documento." ma:contentTypeScope="" ma:versionID="9641a6b48687011cad138511b3fb69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8f746c3a1c47dbaea02d3be93aa9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3FAA03-2459-4579-ADE4-AA19FFBACD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97022AC-283A-48BB-B170-EF4ED542FE1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BCF1CEE-39F5-4C61-B8BC-E811346573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BB6B025-EE7B-B14D-8EC8-5D2DE61B865A}tf16401378</Template>
  <TotalTime>83931</TotalTime>
  <Words>711</Words>
  <Application>Microsoft Office PowerPoint</Application>
  <PresentationFormat>Personalizar</PresentationFormat>
  <Paragraphs>144</Paragraphs>
  <Slides>12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Fira Sans</vt:lpstr>
      <vt:lpstr>Fira Sans Light</vt:lpstr>
      <vt:lpstr>Segoe Light</vt:lpstr>
      <vt:lpstr>Segoe UI</vt:lpstr>
      <vt:lpstr>Segoe UI Light</vt:lpstr>
      <vt:lpstr>Office Theme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Ivan Ormenesse</cp:lastModifiedBy>
  <cp:revision>15065</cp:revision>
  <dcterms:created xsi:type="dcterms:W3CDTF">2014-11-12T21:47:38Z</dcterms:created>
  <dcterms:modified xsi:type="dcterms:W3CDTF">2020-06-14T18:33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C5A50796F43499B37EDDB1E582CB1</vt:lpwstr>
  </property>
</Properties>
</file>